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9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1" r:id="rId4"/>
    <p:sldMasterId id="2147483678" r:id="rId5"/>
    <p:sldMasterId id="2147483688" r:id="rId6"/>
    <p:sldMasterId id="2147483705" r:id="rId7"/>
    <p:sldMasterId id="2147483730" r:id="rId8"/>
    <p:sldMasterId id="2147483745" r:id="rId9"/>
    <p:sldMasterId id="2147483766" r:id="rId10"/>
    <p:sldMasterId id="2147483783" r:id="rId11"/>
  </p:sldMasterIdLst>
  <p:notesMasterIdLst>
    <p:notesMasterId r:id="rId58"/>
  </p:notesMasterIdLst>
  <p:handoutMasterIdLst>
    <p:handoutMasterId r:id="rId59"/>
  </p:handoutMasterIdLst>
  <p:sldIdLst>
    <p:sldId id="309" r:id="rId12"/>
    <p:sldId id="305" r:id="rId13"/>
    <p:sldId id="2145706707" r:id="rId14"/>
    <p:sldId id="256" r:id="rId15"/>
    <p:sldId id="257" r:id="rId16"/>
    <p:sldId id="258" r:id="rId17"/>
    <p:sldId id="259" r:id="rId18"/>
    <p:sldId id="260" r:id="rId19"/>
    <p:sldId id="261" r:id="rId20"/>
    <p:sldId id="262" r:id="rId21"/>
    <p:sldId id="263" r:id="rId22"/>
    <p:sldId id="264" r:id="rId23"/>
    <p:sldId id="265" r:id="rId24"/>
    <p:sldId id="266" r:id="rId25"/>
    <p:sldId id="267" r:id="rId26"/>
    <p:sldId id="268" r:id="rId27"/>
    <p:sldId id="269" r:id="rId28"/>
    <p:sldId id="270" r:id="rId29"/>
    <p:sldId id="271" r:id="rId30"/>
    <p:sldId id="272" r:id="rId31"/>
    <p:sldId id="273" r:id="rId32"/>
    <p:sldId id="274" r:id="rId33"/>
    <p:sldId id="275" r:id="rId34"/>
    <p:sldId id="276" r:id="rId35"/>
    <p:sldId id="277" r:id="rId36"/>
    <p:sldId id="278" r:id="rId37"/>
    <p:sldId id="279" r:id="rId38"/>
    <p:sldId id="280" r:id="rId39"/>
    <p:sldId id="281" r:id="rId40"/>
    <p:sldId id="282" r:id="rId41"/>
    <p:sldId id="283" r:id="rId42"/>
    <p:sldId id="284" r:id="rId43"/>
    <p:sldId id="285" r:id="rId44"/>
    <p:sldId id="286" r:id="rId45"/>
    <p:sldId id="2145706708" r:id="rId46"/>
    <p:sldId id="2145706711" r:id="rId47"/>
    <p:sldId id="602" r:id="rId48"/>
    <p:sldId id="2145706699" r:id="rId49"/>
    <p:sldId id="2145706710" r:id="rId50"/>
    <p:sldId id="2145706700" r:id="rId51"/>
    <p:sldId id="2145706703" r:id="rId52"/>
    <p:sldId id="2145706701" r:id="rId53"/>
    <p:sldId id="2145706706" r:id="rId54"/>
    <p:sldId id="2145706709" r:id="rId55"/>
    <p:sldId id="2145706713" r:id="rId56"/>
    <p:sldId id="911" r:id="rId57"/>
  </p:sldIdLst>
  <p:sldSz cx="12192000" cy="6858000"/>
  <p:notesSz cx="6384925" cy="117348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57" userDrawn="1">
          <p15:clr>
            <a:srgbClr val="A4A3A4"/>
          </p15:clr>
        </p15:guide>
        <p15:guide id="2" orient="horz" pos="3294" userDrawn="1">
          <p15:clr>
            <a:srgbClr val="A4A3A4"/>
          </p15:clr>
        </p15:guide>
        <p15:guide id="3" orient="horz" pos="2682" userDrawn="1">
          <p15:clr>
            <a:srgbClr val="A4A3A4"/>
          </p15:clr>
        </p15:guide>
        <p15:guide id="4" orient="horz" pos="2075"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92FEBC-A810-F0A8-3267-2503A2340F2C}" name="Team Postazione 2" initials="TP2" userId="S::infoh20202@fimapsrl.onmicrosoft.com::0c91169b-232b-4233-a13c-bb30b2c71ab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berto Romeo" initials="AR" lastIdx="4" clrIdx="0">
    <p:extLst>
      <p:ext uri="{19B8F6BF-5375-455C-9EA6-DF929625EA0E}">
        <p15:presenceInfo xmlns:p15="http://schemas.microsoft.com/office/powerpoint/2012/main" userId="S-1-5-21-8915387-119489993-1287535205-1376" providerId="AD"/>
      </p:ext>
    </p:extLst>
  </p:cmAuthor>
  <p:cmAuthor id="2" name="Martika Bortolon" initials="MB" lastIdx="4" clrIdx="1">
    <p:extLst>
      <p:ext uri="{19B8F6BF-5375-455C-9EA6-DF929625EA0E}">
        <p15:presenceInfo xmlns:p15="http://schemas.microsoft.com/office/powerpoint/2012/main" userId="S-1-5-21-8915387-119489993-1287535205-81714" providerId="AD"/>
      </p:ext>
    </p:extLst>
  </p:cmAuthor>
  <p:cmAuthor id="3" name="Barbara Buonfiglioli" initials="BB" lastIdx="39" clrIdx="2">
    <p:extLst>
      <p:ext uri="{19B8F6BF-5375-455C-9EA6-DF929625EA0E}">
        <p15:presenceInfo xmlns:p15="http://schemas.microsoft.com/office/powerpoint/2012/main" userId="S-1-5-21-8915387-119489993-1287535205-25723" providerId="AD"/>
      </p:ext>
    </p:extLst>
  </p:cmAuthor>
  <p:cmAuthor id="4" name="Elena Maccelli" initials="EM" lastIdx="19" clrIdx="3">
    <p:extLst>
      <p:ext uri="{19B8F6BF-5375-455C-9EA6-DF929625EA0E}">
        <p15:presenceInfo xmlns:p15="http://schemas.microsoft.com/office/powerpoint/2012/main" userId="S-1-5-21-8915387-119489993-1287535205-81409" providerId="AD"/>
      </p:ext>
    </p:extLst>
  </p:cmAuthor>
  <p:cmAuthor id="5" name="Barbara Buonfiglioli" initials="BB [2]" lastIdx="3" clrIdx="4">
    <p:extLst>
      <p:ext uri="{19B8F6BF-5375-455C-9EA6-DF929625EA0E}">
        <p15:presenceInfo xmlns:p15="http://schemas.microsoft.com/office/powerpoint/2012/main" userId="S::Barbara.Buonfiglioli@it.ey.com::4ea71f22-e31c-4239-803d-fad8f9448b5a" providerId="AD"/>
      </p:ext>
    </p:extLst>
  </p:cmAuthor>
  <p:cmAuthor id="6" name="Antonella De simone" initials="ADs" lastIdx="3" clrIdx="5">
    <p:extLst>
      <p:ext uri="{19B8F6BF-5375-455C-9EA6-DF929625EA0E}">
        <p15:presenceInfo xmlns:p15="http://schemas.microsoft.com/office/powerpoint/2012/main" userId="S::Antonella.De-Simone@it.ey.com::0b80f4d9-b9e7-40a7-ace8-87e2cb72c8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E600"/>
    <a:srgbClr val="000D15"/>
    <a:srgbClr val="FFD200"/>
    <a:srgbClr val="2E2E38"/>
    <a:srgbClr val="585862"/>
    <a:srgbClr val="3D3D47"/>
    <a:srgbClr val="2F4050"/>
    <a:srgbClr val="031013"/>
    <a:srgbClr val="0310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EA3487-04A4-40F2-8EF7-A44FA9BFD5C2}" vWet="4" dt="2024-05-22T07:33:33.816"/>
    <p1510:client id="{82ACE6A8-40CD-4D1C-B19B-F9933EE5F470}" v="65" dt="2024-05-22T08:26:03.1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3" autoAdjust="0"/>
    <p:restoredTop sz="94660"/>
  </p:normalViewPr>
  <p:slideViewPr>
    <p:cSldViewPr snapToGrid="0">
      <p:cViewPr varScale="1">
        <p:scale>
          <a:sx n="81" d="100"/>
          <a:sy n="81" d="100"/>
        </p:scale>
        <p:origin x="710" y="62"/>
      </p:cViewPr>
      <p:guideLst>
        <p:guide orient="horz" pos="1457"/>
        <p:guide orient="horz" pos="3294"/>
        <p:guide orient="horz" pos="2682"/>
        <p:guide orient="horz" pos="2075"/>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borah Walter" userId="c20ebd7f-c79a-41c5-a0bc-0c956912b773" providerId="ADAL" clId="{82ACE6A8-40CD-4D1C-B19B-F9933EE5F470}"/>
    <pc:docChg chg="undo custSel addSld delSld modSld sldOrd">
      <pc:chgData name="Deborah Walter" userId="c20ebd7f-c79a-41c5-a0bc-0c956912b773" providerId="ADAL" clId="{82ACE6A8-40CD-4D1C-B19B-F9933EE5F470}" dt="2024-05-22T08:28:28.914" v="2697" actId="207"/>
      <pc:docMkLst>
        <pc:docMk/>
      </pc:docMkLst>
      <pc:sldChg chg="delSp modSp mod setBg">
        <pc:chgData name="Deborah Walter" userId="c20ebd7f-c79a-41c5-a0bc-0c956912b773" providerId="ADAL" clId="{82ACE6A8-40CD-4D1C-B19B-F9933EE5F470}" dt="2024-05-13T14:46:11.993" v="43"/>
        <pc:sldMkLst>
          <pc:docMk/>
          <pc:sldMk cId="0" sldId="256"/>
        </pc:sldMkLst>
        <pc:spChg chg="del mod">
          <ac:chgData name="Deborah Walter" userId="c20ebd7f-c79a-41c5-a0bc-0c956912b773" providerId="ADAL" clId="{82ACE6A8-40CD-4D1C-B19B-F9933EE5F470}" dt="2024-05-13T14:45:54.365" v="42" actId="478"/>
          <ac:spMkLst>
            <pc:docMk/>
            <pc:sldMk cId="0" sldId="256"/>
            <ac:spMk id="100" creationId="{00000000-0000-0000-0000-000000000000}"/>
          </ac:spMkLst>
        </pc:spChg>
        <pc:spChg chg="del mod">
          <ac:chgData name="Deborah Walter" userId="c20ebd7f-c79a-41c5-a0bc-0c956912b773" providerId="ADAL" clId="{82ACE6A8-40CD-4D1C-B19B-F9933EE5F470}" dt="2024-05-13T14:45:50.054" v="40" actId="478"/>
          <ac:spMkLst>
            <pc:docMk/>
            <pc:sldMk cId="0" sldId="256"/>
            <ac:spMk id="101" creationId="{00000000-0000-0000-0000-000000000000}"/>
          </ac:spMkLst>
        </pc:spChg>
        <pc:spChg chg="del">
          <ac:chgData name="Deborah Walter" userId="c20ebd7f-c79a-41c5-a0bc-0c956912b773" providerId="ADAL" clId="{82ACE6A8-40CD-4D1C-B19B-F9933EE5F470}" dt="2024-05-13T14:45:40.982" v="38" actId="478"/>
          <ac:spMkLst>
            <pc:docMk/>
            <pc:sldMk cId="0" sldId="256"/>
            <ac:spMk id="102" creationId="{00000000-0000-0000-0000-000000000000}"/>
          </ac:spMkLst>
        </pc:spChg>
        <pc:spChg chg="mod">
          <ac:chgData name="Deborah Walter" userId="c20ebd7f-c79a-41c5-a0bc-0c956912b773" providerId="ADAL" clId="{82ACE6A8-40CD-4D1C-B19B-F9933EE5F470}" dt="2024-05-13T14:44:30.126" v="26" actId="207"/>
          <ac:spMkLst>
            <pc:docMk/>
            <pc:sldMk cId="0" sldId="256"/>
            <ac:spMk id="107" creationId="{00000000-0000-0000-0000-000000000000}"/>
          </ac:spMkLst>
        </pc:spChg>
        <pc:spChg chg="mod">
          <ac:chgData name="Deborah Walter" userId="c20ebd7f-c79a-41c5-a0bc-0c956912b773" providerId="ADAL" clId="{82ACE6A8-40CD-4D1C-B19B-F9933EE5F470}" dt="2024-05-13T14:44:33.258" v="27" actId="207"/>
          <ac:spMkLst>
            <pc:docMk/>
            <pc:sldMk cId="0" sldId="256"/>
            <ac:spMk id="110" creationId="{00000000-0000-0000-0000-000000000000}"/>
          </ac:spMkLst>
        </pc:spChg>
        <pc:picChg chg="mod ord">
          <ac:chgData name="Deborah Walter" userId="c20ebd7f-c79a-41c5-a0bc-0c956912b773" providerId="ADAL" clId="{82ACE6A8-40CD-4D1C-B19B-F9933EE5F470}" dt="2024-05-13T14:45:32.451" v="37" actId="14826"/>
          <ac:picMkLst>
            <pc:docMk/>
            <pc:sldMk cId="0" sldId="256"/>
            <ac:picMk id="103" creationId="{00000000-0000-0000-0000-000000000000}"/>
          </ac:picMkLst>
        </pc:picChg>
        <pc:picChg chg="mod">
          <ac:chgData name="Deborah Walter" userId="c20ebd7f-c79a-41c5-a0bc-0c956912b773" providerId="ADAL" clId="{82ACE6A8-40CD-4D1C-B19B-F9933EE5F470}" dt="2024-05-13T14:44:47.787" v="33" actId="1076"/>
          <ac:picMkLst>
            <pc:docMk/>
            <pc:sldMk cId="0" sldId="256"/>
            <ac:picMk id="104" creationId="{00000000-0000-0000-0000-000000000000}"/>
          </ac:picMkLst>
        </pc:picChg>
        <pc:picChg chg="mod">
          <ac:chgData name="Deborah Walter" userId="c20ebd7f-c79a-41c5-a0bc-0c956912b773" providerId="ADAL" clId="{82ACE6A8-40CD-4D1C-B19B-F9933EE5F470}" dt="2024-05-13T14:44:48.318" v="34" actId="1076"/>
          <ac:picMkLst>
            <pc:docMk/>
            <pc:sldMk cId="0" sldId="256"/>
            <ac:picMk id="105" creationId="{00000000-0000-0000-0000-000000000000}"/>
          </ac:picMkLst>
        </pc:picChg>
        <pc:picChg chg="mod">
          <ac:chgData name="Deborah Walter" userId="c20ebd7f-c79a-41c5-a0bc-0c956912b773" providerId="ADAL" clId="{82ACE6A8-40CD-4D1C-B19B-F9933EE5F470}" dt="2024-05-13T14:44:48.773" v="35" actId="1076"/>
          <ac:picMkLst>
            <pc:docMk/>
            <pc:sldMk cId="0" sldId="256"/>
            <ac:picMk id="106" creationId="{00000000-0000-0000-0000-000000000000}"/>
          </ac:picMkLst>
        </pc:picChg>
      </pc:sldChg>
      <pc:sldChg chg="modSp mod setBg">
        <pc:chgData name="Deborah Walter" userId="c20ebd7f-c79a-41c5-a0bc-0c956912b773" providerId="ADAL" clId="{82ACE6A8-40CD-4D1C-B19B-F9933EE5F470}" dt="2024-05-13T14:46:59.307" v="46"/>
        <pc:sldMkLst>
          <pc:docMk/>
          <pc:sldMk cId="0" sldId="257"/>
        </pc:sldMkLst>
        <pc:spChg chg="mod">
          <ac:chgData name="Deborah Walter" userId="c20ebd7f-c79a-41c5-a0bc-0c956912b773" providerId="ADAL" clId="{82ACE6A8-40CD-4D1C-B19B-F9933EE5F470}" dt="2024-05-13T14:46:55.047" v="45" actId="207"/>
          <ac:spMkLst>
            <pc:docMk/>
            <pc:sldMk cId="0" sldId="257"/>
            <ac:spMk id="114" creationId="{00000000-0000-0000-0000-000000000000}"/>
          </ac:spMkLst>
        </pc:spChg>
        <pc:spChg chg="mod">
          <ac:chgData name="Deborah Walter" userId="c20ebd7f-c79a-41c5-a0bc-0c956912b773" providerId="ADAL" clId="{82ACE6A8-40CD-4D1C-B19B-F9933EE5F470}" dt="2024-05-13T14:46:55.047" v="45" actId="207"/>
          <ac:spMkLst>
            <pc:docMk/>
            <pc:sldMk cId="0" sldId="257"/>
            <ac:spMk id="116" creationId="{00000000-0000-0000-0000-000000000000}"/>
          </ac:spMkLst>
        </pc:spChg>
        <pc:picChg chg="mod">
          <ac:chgData name="Deborah Walter" userId="c20ebd7f-c79a-41c5-a0bc-0c956912b773" providerId="ADAL" clId="{82ACE6A8-40CD-4D1C-B19B-F9933EE5F470}" dt="2024-05-13T14:46:45.171" v="44" actId="14826"/>
          <ac:picMkLst>
            <pc:docMk/>
            <pc:sldMk cId="0" sldId="257"/>
            <ac:picMk id="113" creationId="{00000000-0000-0000-0000-000000000000}"/>
          </ac:picMkLst>
        </pc:picChg>
      </pc:sldChg>
      <pc:sldChg chg="addSp delSp modSp mod setBg">
        <pc:chgData name="Deborah Walter" userId="c20ebd7f-c79a-41c5-a0bc-0c956912b773" providerId="ADAL" clId="{82ACE6A8-40CD-4D1C-B19B-F9933EE5F470}" dt="2024-05-13T15:14:15.911" v="548"/>
        <pc:sldMkLst>
          <pc:docMk/>
          <pc:sldMk cId="0" sldId="258"/>
        </pc:sldMkLst>
        <pc:spChg chg="del">
          <ac:chgData name="Deborah Walter" userId="c20ebd7f-c79a-41c5-a0bc-0c956912b773" providerId="ADAL" clId="{82ACE6A8-40CD-4D1C-B19B-F9933EE5F470}" dt="2024-05-13T14:47:05.535" v="47" actId="478"/>
          <ac:spMkLst>
            <pc:docMk/>
            <pc:sldMk cId="0" sldId="258"/>
            <ac:spMk id="117" creationId="{00000000-0000-0000-0000-000000000000}"/>
          </ac:spMkLst>
        </pc:spChg>
        <pc:spChg chg="mod">
          <ac:chgData name="Deborah Walter" userId="c20ebd7f-c79a-41c5-a0bc-0c956912b773" providerId="ADAL" clId="{82ACE6A8-40CD-4D1C-B19B-F9933EE5F470}" dt="2024-05-13T15:02:56.472" v="356" actId="207"/>
          <ac:spMkLst>
            <pc:docMk/>
            <pc:sldMk cId="0" sldId="258"/>
            <ac:spMk id="119" creationId="{00000000-0000-0000-0000-000000000000}"/>
          </ac:spMkLst>
        </pc:spChg>
        <pc:spChg chg="mod">
          <ac:chgData name="Deborah Walter" userId="c20ebd7f-c79a-41c5-a0bc-0c956912b773" providerId="ADAL" clId="{82ACE6A8-40CD-4D1C-B19B-F9933EE5F470}" dt="2024-05-13T15:02:56.472" v="356" actId="207"/>
          <ac:spMkLst>
            <pc:docMk/>
            <pc:sldMk cId="0" sldId="258"/>
            <ac:spMk id="120" creationId="{00000000-0000-0000-0000-000000000000}"/>
          </ac:spMkLst>
        </pc:spChg>
        <pc:spChg chg="mod">
          <ac:chgData name="Deborah Walter" userId="c20ebd7f-c79a-41c5-a0bc-0c956912b773" providerId="ADAL" clId="{82ACE6A8-40CD-4D1C-B19B-F9933EE5F470}" dt="2024-05-13T15:02:56.472" v="356" actId="207"/>
          <ac:spMkLst>
            <pc:docMk/>
            <pc:sldMk cId="0" sldId="258"/>
            <ac:spMk id="121" creationId="{00000000-0000-0000-0000-000000000000}"/>
          </ac:spMkLst>
        </pc:spChg>
        <pc:spChg chg="mod">
          <ac:chgData name="Deborah Walter" userId="c20ebd7f-c79a-41c5-a0bc-0c956912b773" providerId="ADAL" clId="{82ACE6A8-40CD-4D1C-B19B-F9933EE5F470}" dt="2024-05-13T15:02:56.472" v="356" actId="207"/>
          <ac:spMkLst>
            <pc:docMk/>
            <pc:sldMk cId="0" sldId="258"/>
            <ac:spMk id="122" creationId="{00000000-0000-0000-0000-000000000000}"/>
          </ac:spMkLst>
        </pc:spChg>
        <pc:picChg chg="add mod">
          <ac:chgData name="Deborah Walter" userId="c20ebd7f-c79a-41c5-a0bc-0c956912b773" providerId="ADAL" clId="{82ACE6A8-40CD-4D1C-B19B-F9933EE5F470}" dt="2024-05-13T15:14:15.911" v="548"/>
          <ac:picMkLst>
            <pc:docMk/>
            <pc:sldMk cId="0" sldId="258"/>
            <ac:picMk id="2" creationId="{8A0013F8-4A13-2C4C-79BF-CAA1DF112D53}"/>
          </ac:picMkLst>
        </pc:picChg>
        <pc:picChg chg="del">
          <ac:chgData name="Deborah Walter" userId="c20ebd7f-c79a-41c5-a0bc-0c956912b773" providerId="ADAL" clId="{82ACE6A8-40CD-4D1C-B19B-F9933EE5F470}" dt="2024-05-13T15:14:15.025" v="547" actId="478"/>
          <ac:picMkLst>
            <pc:docMk/>
            <pc:sldMk cId="0" sldId="258"/>
            <ac:picMk id="118" creationId="{00000000-0000-0000-0000-000000000000}"/>
          </ac:picMkLst>
        </pc:picChg>
      </pc:sldChg>
      <pc:sldChg chg="addSp delSp modSp mod setBg">
        <pc:chgData name="Deborah Walter" userId="c20ebd7f-c79a-41c5-a0bc-0c956912b773" providerId="ADAL" clId="{82ACE6A8-40CD-4D1C-B19B-F9933EE5F470}" dt="2024-05-13T15:16:46.981" v="602"/>
        <pc:sldMkLst>
          <pc:docMk/>
          <pc:sldMk cId="0" sldId="259"/>
        </pc:sldMkLst>
        <pc:spChg chg="del">
          <ac:chgData name="Deborah Walter" userId="c20ebd7f-c79a-41c5-a0bc-0c956912b773" providerId="ADAL" clId="{82ACE6A8-40CD-4D1C-B19B-F9933EE5F470}" dt="2024-05-13T14:47:17.401" v="49" actId="478"/>
          <ac:spMkLst>
            <pc:docMk/>
            <pc:sldMk cId="0" sldId="259"/>
            <ac:spMk id="124" creationId="{00000000-0000-0000-0000-000000000000}"/>
          </ac:spMkLst>
        </pc:spChg>
        <pc:spChg chg="mod">
          <ac:chgData name="Deborah Walter" userId="c20ebd7f-c79a-41c5-a0bc-0c956912b773" providerId="ADAL" clId="{82ACE6A8-40CD-4D1C-B19B-F9933EE5F470}" dt="2024-05-13T15:03:05.025" v="357" actId="207"/>
          <ac:spMkLst>
            <pc:docMk/>
            <pc:sldMk cId="0" sldId="259"/>
            <ac:spMk id="126" creationId="{00000000-0000-0000-0000-000000000000}"/>
          </ac:spMkLst>
        </pc:spChg>
        <pc:spChg chg="mod">
          <ac:chgData name="Deborah Walter" userId="c20ebd7f-c79a-41c5-a0bc-0c956912b773" providerId="ADAL" clId="{82ACE6A8-40CD-4D1C-B19B-F9933EE5F470}" dt="2024-05-13T15:03:36.028" v="359" actId="207"/>
          <ac:spMkLst>
            <pc:docMk/>
            <pc:sldMk cId="0" sldId="259"/>
            <ac:spMk id="129" creationId="{00000000-0000-0000-0000-000000000000}"/>
          </ac:spMkLst>
        </pc:spChg>
        <pc:picChg chg="add mod">
          <ac:chgData name="Deborah Walter" userId="c20ebd7f-c79a-41c5-a0bc-0c956912b773" providerId="ADAL" clId="{82ACE6A8-40CD-4D1C-B19B-F9933EE5F470}" dt="2024-05-13T15:16:46.981" v="602"/>
          <ac:picMkLst>
            <pc:docMk/>
            <pc:sldMk cId="0" sldId="259"/>
            <ac:picMk id="2" creationId="{D748B9E8-F53F-F4D2-4A04-582BEB1CCAD6}"/>
          </ac:picMkLst>
        </pc:picChg>
        <pc:picChg chg="del">
          <ac:chgData name="Deborah Walter" userId="c20ebd7f-c79a-41c5-a0bc-0c956912b773" providerId="ADAL" clId="{82ACE6A8-40CD-4D1C-B19B-F9933EE5F470}" dt="2024-05-13T15:14:20.841" v="549" actId="478"/>
          <ac:picMkLst>
            <pc:docMk/>
            <pc:sldMk cId="0" sldId="259"/>
            <ac:picMk id="125" creationId="{00000000-0000-0000-0000-000000000000}"/>
          </ac:picMkLst>
        </pc:picChg>
      </pc:sldChg>
      <pc:sldChg chg="addSp delSp modSp mod setBg">
        <pc:chgData name="Deborah Walter" userId="c20ebd7f-c79a-41c5-a0bc-0c956912b773" providerId="ADAL" clId="{82ACE6A8-40CD-4D1C-B19B-F9933EE5F470}" dt="2024-05-13T15:16:44.326" v="601"/>
        <pc:sldMkLst>
          <pc:docMk/>
          <pc:sldMk cId="0" sldId="260"/>
        </pc:sldMkLst>
        <pc:spChg chg="del">
          <ac:chgData name="Deborah Walter" userId="c20ebd7f-c79a-41c5-a0bc-0c956912b773" providerId="ADAL" clId="{82ACE6A8-40CD-4D1C-B19B-F9933EE5F470}" dt="2024-05-13T14:47:24.024" v="51" actId="478"/>
          <ac:spMkLst>
            <pc:docMk/>
            <pc:sldMk cId="0" sldId="260"/>
            <ac:spMk id="130" creationId="{00000000-0000-0000-0000-000000000000}"/>
          </ac:spMkLst>
        </pc:spChg>
        <pc:picChg chg="add mod">
          <ac:chgData name="Deborah Walter" userId="c20ebd7f-c79a-41c5-a0bc-0c956912b773" providerId="ADAL" clId="{82ACE6A8-40CD-4D1C-B19B-F9933EE5F470}" dt="2024-05-13T15:16:44.326" v="601"/>
          <ac:picMkLst>
            <pc:docMk/>
            <pc:sldMk cId="0" sldId="260"/>
            <ac:picMk id="2" creationId="{85F515CA-A069-387C-A3BF-4DD624A28A25}"/>
          </ac:picMkLst>
        </pc:picChg>
        <pc:picChg chg="del">
          <ac:chgData name="Deborah Walter" userId="c20ebd7f-c79a-41c5-a0bc-0c956912b773" providerId="ADAL" clId="{82ACE6A8-40CD-4D1C-B19B-F9933EE5F470}" dt="2024-05-13T15:14:23.424" v="550" actId="478"/>
          <ac:picMkLst>
            <pc:docMk/>
            <pc:sldMk cId="0" sldId="260"/>
            <ac:picMk id="131" creationId="{00000000-0000-0000-0000-000000000000}"/>
          </ac:picMkLst>
        </pc:picChg>
      </pc:sldChg>
      <pc:sldChg chg="addSp delSp modSp mod setBg">
        <pc:chgData name="Deborah Walter" userId="c20ebd7f-c79a-41c5-a0bc-0c956912b773" providerId="ADAL" clId="{82ACE6A8-40CD-4D1C-B19B-F9933EE5F470}" dt="2024-05-13T15:16:42.630" v="600"/>
        <pc:sldMkLst>
          <pc:docMk/>
          <pc:sldMk cId="0" sldId="261"/>
        </pc:sldMkLst>
        <pc:spChg chg="del">
          <ac:chgData name="Deborah Walter" userId="c20ebd7f-c79a-41c5-a0bc-0c956912b773" providerId="ADAL" clId="{82ACE6A8-40CD-4D1C-B19B-F9933EE5F470}" dt="2024-05-13T14:47:33.529" v="53" actId="478"/>
          <ac:spMkLst>
            <pc:docMk/>
            <pc:sldMk cId="0" sldId="261"/>
            <ac:spMk id="135" creationId="{00000000-0000-0000-0000-000000000000}"/>
          </ac:spMkLst>
        </pc:spChg>
        <pc:picChg chg="add mod">
          <ac:chgData name="Deborah Walter" userId="c20ebd7f-c79a-41c5-a0bc-0c956912b773" providerId="ADAL" clId="{82ACE6A8-40CD-4D1C-B19B-F9933EE5F470}" dt="2024-05-13T15:16:42.630" v="600"/>
          <ac:picMkLst>
            <pc:docMk/>
            <pc:sldMk cId="0" sldId="261"/>
            <ac:picMk id="2" creationId="{1720C819-847E-5B37-A487-0957AEC130E2}"/>
          </ac:picMkLst>
        </pc:picChg>
        <pc:picChg chg="del">
          <ac:chgData name="Deborah Walter" userId="c20ebd7f-c79a-41c5-a0bc-0c956912b773" providerId="ADAL" clId="{82ACE6A8-40CD-4D1C-B19B-F9933EE5F470}" dt="2024-05-13T15:14:26.113" v="551" actId="478"/>
          <ac:picMkLst>
            <pc:docMk/>
            <pc:sldMk cId="0" sldId="261"/>
            <ac:picMk id="136" creationId="{00000000-0000-0000-0000-000000000000}"/>
          </ac:picMkLst>
        </pc:picChg>
      </pc:sldChg>
      <pc:sldChg chg="addSp delSp modSp mod setBg">
        <pc:chgData name="Deborah Walter" userId="c20ebd7f-c79a-41c5-a0bc-0c956912b773" providerId="ADAL" clId="{82ACE6A8-40CD-4D1C-B19B-F9933EE5F470}" dt="2024-05-13T15:16:39.209" v="599"/>
        <pc:sldMkLst>
          <pc:docMk/>
          <pc:sldMk cId="0" sldId="262"/>
        </pc:sldMkLst>
        <pc:spChg chg="add mod">
          <ac:chgData name="Deborah Walter" userId="c20ebd7f-c79a-41c5-a0bc-0c956912b773" providerId="ADAL" clId="{82ACE6A8-40CD-4D1C-B19B-F9933EE5F470}" dt="2024-05-13T14:49:38.049" v="89" actId="207"/>
          <ac:spMkLst>
            <pc:docMk/>
            <pc:sldMk cId="0" sldId="262"/>
            <ac:spMk id="3" creationId="{CED6D909-77F6-A618-EC60-27FFE4E8A18D}"/>
          </ac:spMkLst>
        </pc:spChg>
        <pc:spChg chg="del">
          <ac:chgData name="Deborah Walter" userId="c20ebd7f-c79a-41c5-a0bc-0c956912b773" providerId="ADAL" clId="{82ACE6A8-40CD-4D1C-B19B-F9933EE5F470}" dt="2024-05-13T14:47:42.355" v="55" actId="478"/>
          <ac:spMkLst>
            <pc:docMk/>
            <pc:sldMk cId="0" sldId="262"/>
            <ac:spMk id="139"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2"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3"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4" creationId="{00000000-0000-0000-0000-000000000000}"/>
          </ac:spMkLst>
        </pc:spChg>
        <pc:spChg chg="del mod">
          <ac:chgData name="Deborah Walter" userId="c20ebd7f-c79a-41c5-a0bc-0c956912b773" providerId="ADAL" clId="{82ACE6A8-40CD-4D1C-B19B-F9933EE5F470}" dt="2024-05-13T14:48:28.109" v="71" actId="478"/>
          <ac:spMkLst>
            <pc:docMk/>
            <pc:sldMk cId="0" sldId="262"/>
            <ac:spMk id="145"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6"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7"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8"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49"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50"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51" creationId="{00000000-0000-0000-0000-000000000000}"/>
          </ac:spMkLst>
        </pc:spChg>
        <pc:spChg chg="del">
          <ac:chgData name="Deborah Walter" userId="c20ebd7f-c79a-41c5-a0bc-0c956912b773" providerId="ADAL" clId="{82ACE6A8-40CD-4D1C-B19B-F9933EE5F470}" dt="2024-05-13T14:48:28.109" v="71" actId="478"/>
          <ac:spMkLst>
            <pc:docMk/>
            <pc:sldMk cId="0" sldId="262"/>
            <ac:spMk id="152" creationId="{00000000-0000-0000-0000-000000000000}"/>
          </ac:spMkLst>
        </pc:spChg>
        <pc:spChg chg="mod">
          <ac:chgData name="Deborah Walter" userId="c20ebd7f-c79a-41c5-a0bc-0c956912b773" providerId="ADAL" clId="{82ACE6A8-40CD-4D1C-B19B-F9933EE5F470}" dt="2024-05-13T14:54:15.705" v="155" actId="15"/>
          <ac:spMkLst>
            <pc:docMk/>
            <pc:sldMk cId="0" sldId="262"/>
            <ac:spMk id="153" creationId="{00000000-0000-0000-0000-000000000000}"/>
          </ac:spMkLst>
        </pc:spChg>
        <pc:spChg chg="del mod">
          <ac:chgData name="Deborah Walter" userId="c20ebd7f-c79a-41c5-a0bc-0c956912b773" providerId="ADAL" clId="{82ACE6A8-40CD-4D1C-B19B-F9933EE5F470}" dt="2024-05-13T14:48:46.787" v="77" actId="478"/>
          <ac:spMkLst>
            <pc:docMk/>
            <pc:sldMk cId="0" sldId="262"/>
            <ac:spMk id="154" creationId="{00000000-0000-0000-0000-000000000000}"/>
          </ac:spMkLst>
        </pc:spChg>
        <pc:spChg chg="mod">
          <ac:chgData name="Deborah Walter" userId="c20ebd7f-c79a-41c5-a0bc-0c956912b773" providerId="ADAL" clId="{82ACE6A8-40CD-4D1C-B19B-F9933EE5F470}" dt="2024-05-13T14:49:14.068" v="86" actId="1076"/>
          <ac:spMkLst>
            <pc:docMk/>
            <pc:sldMk cId="0" sldId="262"/>
            <ac:spMk id="155" creationId="{00000000-0000-0000-0000-000000000000}"/>
          </ac:spMkLst>
        </pc:spChg>
        <pc:spChg chg="del mod">
          <ac:chgData name="Deborah Walter" userId="c20ebd7f-c79a-41c5-a0bc-0c956912b773" providerId="ADAL" clId="{82ACE6A8-40CD-4D1C-B19B-F9933EE5F470}" dt="2024-05-13T14:48:14.603" v="67"/>
          <ac:spMkLst>
            <pc:docMk/>
            <pc:sldMk cId="0" sldId="262"/>
            <ac:spMk id="157" creationId="{00000000-0000-0000-0000-000000000000}"/>
          </ac:spMkLst>
        </pc:spChg>
        <pc:spChg chg="del mod">
          <ac:chgData name="Deborah Walter" userId="c20ebd7f-c79a-41c5-a0bc-0c956912b773" providerId="ADAL" clId="{82ACE6A8-40CD-4D1C-B19B-F9933EE5F470}" dt="2024-05-13T14:48:46.788" v="79"/>
          <ac:spMkLst>
            <pc:docMk/>
            <pc:sldMk cId="0" sldId="262"/>
            <ac:spMk id="158" creationId="{00000000-0000-0000-0000-000000000000}"/>
          </ac:spMkLst>
        </pc:spChg>
        <pc:picChg chg="add mod">
          <ac:chgData name="Deborah Walter" userId="c20ebd7f-c79a-41c5-a0bc-0c956912b773" providerId="ADAL" clId="{82ACE6A8-40CD-4D1C-B19B-F9933EE5F470}" dt="2024-05-13T15:16:39.209" v="599"/>
          <ac:picMkLst>
            <pc:docMk/>
            <pc:sldMk cId="0" sldId="262"/>
            <ac:picMk id="4" creationId="{8A56C078-AF51-285F-349B-B3F61BC49806}"/>
          </ac:picMkLst>
        </pc:picChg>
        <pc:picChg chg="del mod">
          <ac:chgData name="Deborah Walter" userId="c20ebd7f-c79a-41c5-a0bc-0c956912b773" providerId="ADAL" clId="{82ACE6A8-40CD-4D1C-B19B-F9933EE5F470}" dt="2024-05-13T15:14:28.850" v="552" actId="478"/>
          <ac:picMkLst>
            <pc:docMk/>
            <pc:sldMk cId="0" sldId="262"/>
            <ac:picMk id="140" creationId="{00000000-0000-0000-0000-000000000000}"/>
          </ac:picMkLst>
        </pc:picChg>
        <pc:picChg chg="mod">
          <ac:chgData name="Deborah Walter" userId="c20ebd7f-c79a-41c5-a0bc-0c956912b773" providerId="ADAL" clId="{82ACE6A8-40CD-4D1C-B19B-F9933EE5F470}" dt="2024-05-13T14:49:16.825" v="87" actId="1076"/>
          <ac:picMkLst>
            <pc:docMk/>
            <pc:sldMk cId="0" sldId="262"/>
            <ac:picMk id="141" creationId="{00000000-0000-0000-0000-000000000000}"/>
          </ac:picMkLst>
        </pc:picChg>
      </pc:sldChg>
      <pc:sldChg chg="addSp delSp modSp mod setBg">
        <pc:chgData name="Deborah Walter" userId="c20ebd7f-c79a-41c5-a0bc-0c956912b773" providerId="ADAL" clId="{82ACE6A8-40CD-4D1C-B19B-F9933EE5F470}" dt="2024-05-13T15:16:37.080" v="598"/>
        <pc:sldMkLst>
          <pc:docMk/>
          <pc:sldMk cId="0" sldId="263"/>
        </pc:sldMkLst>
        <pc:spChg chg="del">
          <ac:chgData name="Deborah Walter" userId="c20ebd7f-c79a-41c5-a0bc-0c956912b773" providerId="ADAL" clId="{82ACE6A8-40CD-4D1C-B19B-F9933EE5F470}" dt="2024-05-13T14:49:57.662" v="91" actId="478"/>
          <ac:spMkLst>
            <pc:docMk/>
            <pc:sldMk cId="0" sldId="263"/>
            <ac:spMk id="159"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65"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66"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67"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68"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69"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70" creationId="{00000000-0000-0000-0000-000000000000}"/>
          </ac:spMkLst>
        </pc:spChg>
        <pc:spChg chg="mod">
          <ac:chgData name="Deborah Walter" userId="c20ebd7f-c79a-41c5-a0bc-0c956912b773" providerId="ADAL" clId="{82ACE6A8-40CD-4D1C-B19B-F9933EE5F470}" dt="2024-05-13T14:49:51.460" v="90" actId="207"/>
          <ac:spMkLst>
            <pc:docMk/>
            <pc:sldMk cId="0" sldId="263"/>
            <ac:spMk id="172" creationId="{00000000-0000-0000-0000-000000000000}"/>
          </ac:spMkLst>
        </pc:spChg>
        <pc:picChg chg="add mod">
          <ac:chgData name="Deborah Walter" userId="c20ebd7f-c79a-41c5-a0bc-0c956912b773" providerId="ADAL" clId="{82ACE6A8-40CD-4D1C-B19B-F9933EE5F470}" dt="2024-05-13T15:16:37.080" v="598"/>
          <ac:picMkLst>
            <pc:docMk/>
            <pc:sldMk cId="0" sldId="263"/>
            <ac:picMk id="2" creationId="{4B344F9C-AE83-6CB1-9EF8-B653E1159A2C}"/>
          </ac:picMkLst>
        </pc:picChg>
        <pc:picChg chg="del">
          <ac:chgData name="Deborah Walter" userId="c20ebd7f-c79a-41c5-a0bc-0c956912b773" providerId="ADAL" clId="{82ACE6A8-40CD-4D1C-B19B-F9933EE5F470}" dt="2024-05-13T15:14:32.878" v="553" actId="478"/>
          <ac:picMkLst>
            <pc:docMk/>
            <pc:sldMk cId="0" sldId="263"/>
            <ac:picMk id="160" creationId="{00000000-0000-0000-0000-000000000000}"/>
          </ac:picMkLst>
        </pc:picChg>
      </pc:sldChg>
      <pc:sldChg chg="addSp delSp modSp mod setBg">
        <pc:chgData name="Deborah Walter" userId="c20ebd7f-c79a-41c5-a0bc-0c956912b773" providerId="ADAL" clId="{82ACE6A8-40CD-4D1C-B19B-F9933EE5F470}" dt="2024-05-13T15:16:34.180" v="597"/>
        <pc:sldMkLst>
          <pc:docMk/>
          <pc:sldMk cId="0" sldId="264"/>
        </pc:sldMkLst>
        <pc:spChg chg="del">
          <ac:chgData name="Deborah Walter" userId="c20ebd7f-c79a-41c5-a0bc-0c956912b773" providerId="ADAL" clId="{82ACE6A8-40CD-4D1C-B19B-F9933EE5F470}" dt="2024-05-13T14:50:07.983" v="93" actId="478"/>
          <ac:spMkLst>
            <pc:docMk/>
            <pc:sldMk cId="0" sldId="264"/>
            <ac:spMk id="173" creationId="{00000000-0000-0000-0000-000000000000}"/>
          </ac:spMkLst>
        </pc:spChg>
        <pc:picChg chg="add mod">
          <ac:chgData name="Deborah Walter" userId="c20ebd7f-c79a-41c5-a0bc-0c956912b773" providerId="ADAL" clId="{82ACE6A8-40CD-4D1C-B19B-F9933EE5F470}" dt="2024-05-13T15:16:34.180" v="597"/>
          <ac:picMkLst>
            <pc:docMk/>
            <pc:sldMk cId="0" sldId="264"/>
            <ac:picMk id="2" creationId="{FCB095A6-06A7-C055-B64D-648EAB57072F}"/>
          </ac:picMkLst>
        </pc:picChg>
        <pc:picChg chg="del">
          <ac:chgData name="Deborah Walter" userId="c20ebd7f-c79a-41c5-a0bc-0c956912b773" providerId="ADAL" clId="{82ACE6A8-40CD-4D1C-B19B-F9933EE5F470}" dt="2024-05-13T15:14:35.329" v="554" actId="478"/>
          <ac:picMkLst>
            <pc:docMk/>
            <pc:sldMk cId="0" sldId="264"/>
            <ac:picMk id="175" creationId="{00000000-0000-0000-0000-000000000000}"/>
          </ac:picMkLst>
        </pc:picChg>
      </pc:sldChg>
      <pc:sldChg chg="addSp delSp modSp mod setBg">
        <pc:chgData name="Deborah Walter" userId="c20ebd7f-c79a-41c5-a0bc-0c956912b773" providerId="ADAL" clId="{82ACE6A8-40CD-4D1C-B19B-F9933EE5F470}" dt="2024-05-13T15:16:32.190" v="596"/>
        <pc:sldMkLst>
          <pc:docMk/>
          <pc:sldMk cId="0" sldId="265"/>
        </pc:sldMkLst>
        <pc:spChg chg="del">
          <ac:chgData name="Deborah Walter" userId="c20ebd7f-c79a-41c5-a0bc-0c956912b773" providerId="ADAL" clId="{82ACE6A8-40CD-4D1C-B19B-F9933EE5F470}" dt="2024-05-13T14:50:17.033" v="95" actId="478"/>
          <ac:spMkLst>
            <pc:docMk/>
            <pc:sldMk cId="0" sldId="265"/>
            <ac:spMk id="177" creationId="{00000000-0000-0000-0000-000000000000}"/>
          </ac:spMkLst>
        </pc:spChg>
        <pc:picChg chg="add mod">
          <ac:chgData name="Deborah Walter" userId="c20ebd7f-c79a-41c5-a0bc-0c956912b773" providerId="ADAL" clId="{82ACE6A8-40CD-4D1C-B19B-F9933EE5F470}" dt="2024-05-13T15:16:32.190" v="596"/>
          <ac:picMkLst>
            <pc:docMk/>
            <pc:sldMk cId="0" sldId="265"/>
            <ac:picMk id="2" creationId="{476B096A-E533-6E47-AA59-9E85371963AF}"/>
          </ac:picMkLst>
        </pc:picChg>
        <pc:picChg chg="del">
          <ac:chgData name="Deborah Walter" userId="c20ebd7f-c79a-41c5-a0bc-0c956912b773" providerId="ADAL" clId="{82ACE6A8-40CD-4D1C-B19B-F9933EE5F470}" dt="2024-05-13T15:14:39.084" v="555" actId="478"/>
          <ac:picMkLst>
            <pc:docMk/>
            <pc:sldMk cId="0" sldId="265"/>
            <ac:picMk id="179" creationId="{00000000-0000-0000-0000-000000000000}"/>
          </ac:picMkLst>
        </pc:picChg>
      </pc:sldChg>
      <pc:sldChg chg="addSp delSp modSp mod setBg">
        <pc:chgData name="Deborah Walter" userId="c20ebd7f-c79a-41c5-a0bc-0c956912b773" providerId="ADAL" clId="{82ACE6A8-40CD-4D1C-B19B-F9933EE5F470}" dt="2024-05-13T15:16:29.378" v="595"/>
        <pc:sldMkLst>
          <pc:docMk/>
          <pc:sldMk cId="0" sldId="266"/>
        </pc:sldMkLst>
        <pc:spChg chg="del">
          <ac:chgData name="Deborah Walter" userId="c20ebd7f-c79a-41c5-a0bc-0c956912b773" providerId="ADAL" clId="{82ACE6A8-40CD-4D1C-B19B-F9933EE5F470}" dt="2024-05-13T14:50:34.848" v="98" actId="478"/>
          <ac:spMkLst>
            <pc:docMk/>
            <pc:sldMk cId="0" sldId="266"/>
            <ac:spMk id="181" creationId="{00000000-0000-0000-0000-000000000000}"/>
          </ac:spMkLst>
        </pc:spChg>
        <pc:spChg chg="del">
          <ac:chgData name="Deborah Walter" userId="c20ebd7f-c79a-41c5-a0bc-0c956912b773" providerId="ADAL" clId="{82ACE6A8-40CD-4D1C-B19B-F9933EE5F470}" dt="2024-05-13T14:50:38.017" v="101" actId="478"/>
          <ac:spMkLst>
            <pc:docMk/>
            <pc:sldMk cId="0" sldId="266"/>
            <ac:spMk id="183" creationId="{00000000-0000-0000-0000-000000000000}"/>
          </ac:spMkLst>
        </pc:spChg>
        <pc:spChg chg="del">
          <ac:chgData name="Deborah Walter" userId="c20ebd7f-c79a-41c5-a0bc-0c956912b773" providerId="ADAL" clId="{82ACE6A8-40CD-4D1C-B19B-F9933EE5F470}" dt="2024-05-13T14:50:38.017" v="101" actId="478"/>
          <ac:spMkLst>
            <pc:docMk/>
            <pc:sldMk cId="0" sldId="266"/>
            <ac:spMk id="184" creationId="{00000000-0000-0000-0000-000000000000}"/>
          </ac:spMkLst>
        </pc:spChg>
        <pc:spChg chg="mod">
          <ac:chgData name="Deborah Walter" userId="c20ebd7f-c79a-41c5-a0bc-0c956912b773" providerId="ADAL" clId="{82ACE6A8-40CD-4D1C-B19B-F9933EE5F470}" dt="2024-05-13T14:53:59.899" v="151" actId="14"/>
          <ac:spMkLst>
            <pc:docMk/>
            <pc:sldMk cId="0" sldId="266"/>
            <ac:spMk id="185" creationId="{00000000-0000-0000-0000-000000000000}"/>
          </ac:spMkLst>
        </pc:spChg>
        <pc:spChg chg="del">
          <ac:chgData name="Deborah Walter" userId="c20ebd7f-c79a-41c5-a0bc-0c956912b773" providerId="ADAL" clId="{82ACE6A8-40CD-4D1C-B19B-F9933EE5F470}" dt="2024-05-13T14:50:54.488" v="106" actId="478"/>
          <ac:spMkLst>
            <pc:docMk/>
            <pc:sldMk cId="0" sldId="266"/>
            <ac:spMk id="187" creationId="{00000000-0000-0000-0000-000000000000}"/>
          </ac:spMkLst>
        </pc:spChg>
        <pc:spChg chg="mod">
          <ac:chgData name="Deborah Walter" userId="c20ebd7f-c79a-41c5-a0bc-0c956912b773" providerId="ADAL" clId="{82ACE6A8-40CD-4D1C-B19B-F9933EE5F470}" dt="2024-05-13T14:51:25.392" v="113" actId="207"/>
          <ac:spMkLst>
            <pc:docMk/>
            <pc:sldMk cId="0" sldId="266"/>
            <ac:spMk id="188" creationId="{00000000-0000-0000-0000-000000000000}"/>
          </ac:spMkLst>
        </pc:spChg>
        <pc:spChg chg="del mod">
          <ac:chgData name="Deborah Walter" userId="c20ebd7f-c79a-41c5-a0bc-0c956912b773" providerId="ADAL" clId="{82ACE6A8-40CD-4D1C-B19B-F9933EE5F470}" dt="2024-05-13T14:50:34.849" v="100"/>
          <ac:spMkLst>
            <pc:docMk/>
            <pc:sldMk cId="0" sldId="266"/>
            <ac:spMk id="189" creationId="{00000000-0000-0000-0000-000000000000}"/>
          </ac:spMkLst>
        </pc:spChg>
        <pc:spChg chg="mod">
          <ac:chgData name="Deborah Walter" userId="c20ebd7f-c79a-41c5-a0bc-0c956912b773" providerId="ADAL" clId="{82ACE6A8-40CD-4D1C-B19B-F9933EE5F470}" dt="2024-05-13T14:50:59.707" v="107" actId="1076"/>
          <ac:spMkLst>
            <pc:docMk/>
            <pc:sldMk cId="0" sldId="266"/>
            <ac:spMk id="190" creationId="{00000000-0000-0000-0000-000000000000}"/>
          </ac:spMkLst>
        </pc:spChg>
        <pc:picChg chg="add mod">
          <ac:chgData name="Deborah Walter" userId="c20ebd7f-c79a-41c5-a0bc-0c956912b773" providerId="ADAL" clId="{82ACE6A8-40CD-4D1C-B19B-F9933EE5F470}" dt="2024-05-13T15:16:29.378" v="595"/>
          <ac:picMkLst>
            <pc:docMk/>
            <pc:sldMk cId="0" sldId="266"/>
            <ac:picMk id="2" creationId="{B8427143-9BD2-FB09-F7DF-904BBB50A5DD}"/>
          </ac:picMkLst>
        </pc:picChg>
        <pc:picChg chg="del">
          <ac:chgData name="Deborah Walter" userId="c20ebd7f-c79a-41c5-a0bc-0c956912b773" providerId="ADAL" clId="{82ACE6A8-40CD-4D1C-B19B-F9933EE5F470}" dt="2024-05-13T15:14:42.005" v="556" actId="478"/>
          <ac:picMkLst>
            <pc:docMk/>
            <pc:sldMk cId="0" sldId="266"/>
            <ac:picMk id="182" creationId="{00000000-0000-0000-0000-000000000000}"/>
          </ac:picMkLst>
        </pc:picChg>
        <pc:picChg chg="mod">
          <ac:chgData name="Deborah Walter" userId="c20ebd7f-c79a-41c5-a0bc-0c956912b773" providerId="ADAL" clId="{82ACE6A8-40CD-4D1C-B19B-F9933EE5F470}" dt="2024-05-13T14:51:03.796" v="108" actId="14100"/>
          <ac:picMkLst>
            <pc:docMk/>
            <pc:sldMk cId="0" sldId="266"/>
            <ac:picMk id="186" creationId="{00000000-0000-0000-0000-000000000000}"/>
          </ac:picMkLst>
        </pc:picChg>
      </pc:sldChg>
      <pc:sldChg chg="addSp delSp modSp mod setBg">
        <pc:chgData name="Deborah Walter" userId="c20ebd7f-c79a-41c5-a0bc-0c956912b773" providerId="ADAL" clId="{82ACE6A8-40CD-4D1C-B19B-F9933EE5F470}" dt="2024-05-13T15:16:27.532" v="594"/>
        <pc:sldMkLst>
          <pc:docMk/>
          <pc:sldMk cId="0" sldId="267"/>
        </pc:sldMkLst>
        <pc:spChg chg="del">
          <ac:chgData name="Deborah Walter" userId="c20ebd7f-c79a-41c5-a0bc-0c956912b773" providerId="ADAL" clId="{82ACE6A8-40CD-4D1C-B19B-F9933EE5F470}" dt="2024-05-13T14:51:37.842" v="115" actId="478"/>
          <ac:spMkLst>
            <pc:docMk/>
            <pc:sldMk cId="0" sldId="267"/>
            <ac:spMk id="191"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3"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4"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5"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6"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7"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8"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199"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0"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1"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2"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3"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4"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5"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6"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7" creationId="{00000000-0000-0000-0000-000000000000}"/>
          </ac:spMkLst>
        </pc:spChg>
        <pc:spChg chg="del">
          <ac:chgData name="Deborah Walter" userId="c20ebd7f-c79a-41c5-a0bc-0c956912b773" providerId="ADAL" clId="{82ACE6A8-40CD-4D1C-B19B-F9933EE5F470}" dt="2024-05-13T14:52:07.464" v="124" actId="478"/>
          <ac:spMkLst>
            <pc:docMk/>
            <pc:sldMk cId="0" sldId="267"/>
            <ac:spMk id="208"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09"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0"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1"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2"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3"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4"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5"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6"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7" creationId="{00000000-0000-0000-0000-000000000000}"/>
          </ac:spMkLst>
        </pc:spChg>
        <pc:spChg chg="del">
          <ac:chgData name="Deborah Walter" userId="c20ebd7f-c79a-41c5-a0bc-0c956912b773" providerId="ADAL" clId="{82ACE6A8-40CD-4D1C-B19B-F9933EE5F470}" dt="2024-05-13T14:52:09.707" v="125" actId="478"/>
          <ac:spMkLst>
            <pc:docMk/>
            <pc:sldMk cId="0" sldId="267"/>
            <ac:spMk id="218" creationId="{00000000-0000-0000-0000-000000000000}"/>
          </ac:spMkLst>
        </pc:spChg>
        <pc:spChg chg="del">
          <ac:chgData name="Deborah Walter" userId="c20ebd7f-c79a-41c5-a0bc-0c956912b773" providerId="ADAL" clId="{82ACE6A8-40CD-4D1C-B19B-F9933EE5F470}" dt="2024-05-13T14:52:01.415" v="122" actId="478"/>
          <ac:spMkLst>
            <pc:docMk/>
            <pc:sldMk cId="0" sldId="267"/>
            <ac:spMk id="219" creationId="{00000000-0000-0000-0000-000000000000}"/>
          </ac:spMkLst>
        </pc:spChg>
        <pc:spChg chg="del">
          <ac:chgData name="Deborah Walter" userId="c20ebd7f-c79a-41c5-a0bc-0c956912b773" providerId="ADAL" clId="{82ACE6A8-40CD-4D1C-B19B-F9933EE5F470}" dt="2024-05-13T14:52:01.415" v="122" actId="478"/>
          <ac:spMkLst>
            <pc:docMk/>
            <pc:sldMk cId="0" sldId="267"/>
            <ac:spMk id="220" creationId="{00000000-0000-0000-0000-000000000000}"/>
          </ac:spMkLst>
        </pc:spChg>
        <pc:spChg chg="del">
          <ac:chgData name="Deborah Walter" userId="c20ebd7f-c79a-41c5-a0bc-0c956912b773" providerId="ADAL" clId="{82ACE6A8-40CD-4D1C-B19B-F9933EE5F470}" dt="2024-05-13T14:52:01.415" v="122" actId="478"/>
          <ac:spMkLst>
            <pc:docMk/>
            <pc:sldMk cId="0" sldId="267"/>
            <ac:spMk id="221" creationId="{00000000-0000-0000-0000-000000000000}"/>
          </ac:spMkLst>
        </pc:spChg>
        <pc:spChg chg="del">
          <ac:chgData name="Deborah Walter" userId="c20ebd7f-c79a-41c5-a0bc-0c956912b773" providerId="ADAL" clId="{82ACE6A8-40CD-4D1C-B19B-F9933EE5F470}" dt="2024-05-13T14:52:01.415" v="122" actId="478"/>
          <ac:spMkLst>
            <pc:docMk/>
            <pc:sldMk cId="0" sldId="267"/>
            <ac:spMk id="222" creationId="{00000000-0000-0000-0000-000000000000}"/>
          </ac:spMkLst>
        </pc:spChg>
        <pc:spChg chg="del">
          <ac:chgData name="Deborah Walter" userId="c20ebd7f-c79a-41c5-a0bc-0c956912b773" providerId="ADAL" clId="{82ACE6A8-40CD-4D1C-B19B-F9933EE5F470}" dt="2024-05-13T14:52:01.415" v="122" actId="478"/>
          <ac:spMkLst>
            <pc:docMk/>
            <pc:sldMk cId="0" sldId="267"/>
            <ac:spMk id="223"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24"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25"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26"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27" creationId="{00000000-0000-0000-0000-000000000000}"/>
          </ac:spMkLst>
        </pc:spChg>
        <pc:spChg chg="del">
          <ac:chgData name="Deborah Walter" userId="c20ebd7f-c79a-41c5-a0bc-0c956912b773" providerId="ADAL" clId="{82ACE6A8-40CD-4D1C-B19B-F9933EE5F470}" dt="2024-05-13T14:51:56.498" v="120" actId="478"/>
          <ac:spMkLst>
            <pc:docMk/>
            <pc:sldMk cId="0" sldId="267"/>
            <ac:spMk id="228"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29"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30"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31"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32"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33" creationId="{00000000-0000-0000-0000-000000000000}"/>
          </ac:spMkLst>
        </pc:spChg>
        <pc:spChg chg="del">
          <ac:chgData name="Deborah Walter" userId="c20ebd7f-c79a-41c5-a0bc-0c956912b773" providerId="ADAL" clId="{82ACE6A8-40CD-4D1C-B19B-F9933EE5F470}" dt="2024-05-13T14:51:58.838" v="121" actId="478"/>
          <ac:spMkLst>
            <pc:docMk/>
            <pc:sldMk cId="0" sldId="267"/>
            <ac:spMk id="234" creationId="{00000000-0000-0000-0000-000000000000}"/>
          </ac:spMkLst>
        </pc:spChg>
        <pc:spChg chg="mod">
          <ac:chgData name="Deborah Walter" userId="c20ebd7f-c79a-41c5-a0bc-0c956912b773" providerId="ADAL" clId="{82ACE6A8-40CD-4D1C-B19B-F9933EE5F470}" dt="2024-05-13T14:51:34.829" v="114" actId="207"/>
          <ac:spMkLst>
            <pc:docMk/>
            <pc:sldMk cId="0" sldId="267"/>
            <ac:spMk id="235" creationId="{00000000-0000-0000-0000-000000000000}"/>
          </ac:spMkLst>
        </pc:spChg>
        <pc:spChg chg="mod">
          <ac:chgData name="Deborah Walter" userId="c20ebd7f-c79a-41c5-a0bc-0c956912b773" providerId="ADAL" clId="{82ACE6A8-40CD-4D1C-B19B-F9933EE5F470}" dt="2024-05-13T14:51:34.829" v="114" actId="207"/>
          <ac:spMkLst>
            <pc:docMk/>
            <pc:sldMk cId="0" sldId="267"/>
            <ac:spMk id="236" creationId="{00000000-0000-0000-0000-000000000000}"/>
          </ac:spMkLst>
        </pc:spChg>
        <pc:spChg chg="mod">
          <ac:chgData name="Deborah Walter" userId="c20ebd7f-c79a-41c5-a0bc-0c956912b773" providerId="ADAL" clId="{82ACE6A8-40CD-4D1C-B19B-F9933EE5F470}" dt="2024-05-13T14:51:34.829" v="114" actId="207"/>
          <ac:spMkLst>
            <pc:docMk/>
            <pc:sldMk cId="0" sldId="267"/>
            <ac:spMk id="237" creationId="{00000000-0000-0000-0000-000000000000}"/>
          </ac:spMkLst>
        </pc:spChg>
        <pc:spChg chg="mod">
          <ac:chgData name="Deborah Walter" userId="c20ebd7f-c79a-41c5-a0bc-0c956912b773" providerId="ADAL" clId="{82ACE6A8-40CD-4D1C-B19B-F9933EE5F470}" dt="2024-05-13T14:51:34.829" v="114" actId="207"/>
          <ac:spMkLst>
            <pc:docMk/>
            <pc:sldMk cId="0" sldId="267"/>
            <ac:spMk id="238" creationId="{00000000-0000-0000-0000-000000000000}"/>
          </ac:spMkLst>
        </pc:spChg>
        <pc:spChg chg="mod">
          <ac:chgData name="Deborah Walter" userId="c20ebd7f-c79a-41c5-a0bc-0c956912b773" providerId="ADAL" clId="{82ACE6A8-40CD-4D1C-B19B-F9933EE5F470}" dt="2024-05-13T14:52:16.884" v="126" actId="207"/>
          <ac:spMkLst>
            <pc:docMk/>
            <pc:sldMk cId="0" sldId="267"/>
            <ac:spMk id="239" creationId="{00000000-0000-0000-0000-000000000000}"/>
          </ac:spMkLst>
        </pc:spChg>
        <pc:spChg chg="mod">
          <ac:chgData name="Deborah Walter" userId="c20ebd7f-c79a-41c5-a0bc-0c956912b773" providerId="ADAL" clId="{82ACE6A8-40CD-4D1C-B19B-F9933EE5F470}" dt="2024-05-13T14:52:20.949" v="127" actId="207"/>
          <ac:spMkLst>
            <pc:docMk/>
            <pc:sldMk cId="0" sldId="267"/>
            <ac:spMk id="240" creationId="{00000000-0000-0000-0000-000000000000}"/>
          </ac:spMkLst>
        </pc:spChg>
        <pc:spChg chg="mod">
          <ac:chgData name="Deborah Walter" userId="c20ebd7f-c79a-41c5-a0bc-0c956912b773" providerId="ADAL" clId="{82ACE6A8-40CD-4D1C-B19B-F9933EE5F470}" dt="2024-05-13T14:51:34.829" v="114" actId="207"/>
          <ac:spMkLst>
            <pc:docMk/>
            <pc:sldMk cId="0" sldId="267"/>
            <ac:spMk id="241" creationId="{00000000-0000-0000-0000-000000000000}"/>
          </ac:spMkLst>
        </pc:spChg>
        <pc:picChg chg="add mod">
          <ac:chgData name="Deborah Walter" userId="c20ebd7f-c79a-41c5-a0bc-0c956912b773" providerId="ADAL" clId="{82ACE6A8-40CD-4D1C-B19B-F9933EE5F470}" dt="2024-05-13T15:16:27.532" v="594"/>
          <ac:picMkLst>
            <pc:docMk/>
            <pc:sldMk cId="0" sldId="267"/>
            <ac:picMk id="2" creationId="{EDE06EC5-50A0-1EE2-BCA9-3343932FA5B2}"/>
          </ac:picMkLst>
        </pc:picChg>
        <pc:picChg chg="del">
          <ac:chgData name="Deborah Walter" userId="c20ebd7f-c79a-41c5-a0bc-0c956912b773" providerId="ADAL" clId="{82ACE6A8-40CD-4D1C-B19B-F9933EE5F470}" dt="2024-05-13T15:14:44.735" v="557" actId="478"/>
          <ac:picMkLst>
            <pc:docMk/>
            <pc:sldMk cId="0" sldId="267"/>
            <ac:picMk id="192" creationId="{00000000-0000-0000-0000-000000000000}"/>
          </ac:picMkLst>
        </pc:picChg>
      </pc:sldChg>
      <pc:sldChg chg="addSp delSp modSp mod setBg">
        <pc:chgData name="Deborah Walter" userId="c20ebd7f-c79a-41c5-a0bc-0c956912b773" providerId="ADAL" clId="{82ACE6A8-40CD-4D1C-B19B-F9933EE5F470}" dt="2024-05-13T15:16:24.941" v="593"/>
        <pc:sldMkLst>
          <pc:docMk/>
          <pc:sldMk cId="0" sldId="268"/>
        </pc:sldMkLst>
        <pc:spChg chg="del">
          <ac:chgData name="Deborah Walter" userId="c20ebd7f-c79a-41c5-a0bc-0c956912b773" providerId="ADAL" clId="{82ACE6A8-40CD-4D1C-B19B-F9933EE5F470}" dt="2024-05-13T14:52:25.431" v="128" actId="478"/>
          <ac:spMkLst>
            <pc:docMk/>
            <pc:sldMk cId="0" sldId="268"/>
            <ac:spMk id="242" creationId="{00000000-0000-0000-0000-000000000000}"/>
          </ac:spMkLst>
        </pc:spChg>
        <pc:picChg chg="add mod">
          <ac:chgData name="Deborah Walter" userId="c20ebd7f-c79a-41c5-a0bc-0c956912b773" providerId="ADAL" clId="{82ACE6A8-40CD-4D1C-B19B-F9933EE5F470}" dt="2024-05-13T15:16:24.941" v="593"/>
          <ac:picMkLst>
            <pc:docMk/>
            <pc:sldMk cId="0" sldId="268"/>
            <ac:picMk id="2" creationId="{A0FBA16D-54EF-395D-E531-53C2433771D5}"/>
          </ac:picMkLst>
        </pc:picChg>
        <pc:picChg chg="del">
          <ac:chgData name="Deborah Walter" userId="c20ebd7f-c79a-41c5-a0bc-0c956912b773" providerId="ADAL" clId="{82ACE6A8-40CD-4D1C-B19B-F9933EE5F470}" dt="2024-05-13T15:14:48.305" v="558" actId="478"/>
          <ac:picMkLst>
            <pc:docMk/>
            <pc:sldMk cId="0" sldId="268"/>
            <ac:picMk id="243" creationId="{00000000-0000-0000-0000-000000000000}"/>
          </ac:picMkLst>
        </pc:picChg>
      </pc:sldChg>
      <pc:sldChg chg="addSp delSp modSp mod setBg">
        <pc:chgData name="Deborah Walter" userId="c20ebd7f-c79a-41c5-a0bc-0c956912b773" providerId="ADAL" clId="{82ACE6A8-40CD-4D1C-B19B-F9933EE5F470}" dt="2024-05-13T15:16:23.295" v="592"/>
        <pc:sldMkLst>
          <pc:docMk/>
          <pc:sldMk cId="0" sldId="269"/>
        </pc:sldMkLst>
        <pc:spChg chg="del">
          <ac:chgData name="Deborah Walter" userId="c20ebd7f-c79a-41c5-a0bc-0c956912b773" providerId="ADAL" clId="{82ACE6A8-40CD-4D1C-B19B-F9933EE5F470}" dt="2024-05-13T14:52:35.876" v="130" actId="478"/>
          <ac:spMkLst>
            <pc:docMk/>
            <pc:sldMk cId="0" sldId="269"/>
            <ac:spMk id="246" creationId="{00000000-0000-0000-0000-000000000000}"/>
          </ac:spMkLst>
        </pc:spChg>
        <pc:picChg chg="add mod">
          <ac:chgData name="Deborah Walter" userId="c20ebd7f-c79a-41c5-a0bc-0c956912b773" providerId="ADAL" clId="{82ACE6A8-40CD-4D1C-B19B-F9933EE5F470}" dt="2024-05-13T15:16:23.295" v="592"/>
          <ac:picMkLst>
            <pc:docMk/>
            <pc:sldMk cId="0" sldId="269"/>
            <ac:picMk id="2" creationId="{A4D1B7B3-10EA-C18C-F6B2-C128291F77EA}"/>
          </ac:picMkLst>
        </pc:picChg>
        <pc:picChg chg="del">
          <ac:chgData name="Deborah Walter" userId="c20ebd7f-c79a-41c5-a0bc-0c956912b773" providerId="ADAL" clId="{82ACE6A8-40CD-4D1C-B19B-F9933EE5F470}" dt="2024-05-13T15:14:51.151" v="559" actId="478"/>
          <ac:picMkLst>
            <pc:docMk/>
            <pc:sldMk cId="0" sldId="269"/>
            <ac:picMk id="247" creationId="{00000000-0000-0000-0000-000000000000}"/>
          </ac:picMkLst>
        </pc:picChg>
      </pc:sldChg>
      <pc:sldChg chg="addSp delSp modSp mod setBg">
        <pc:chgData name="Deborah Walter" userId="c20ebd7f-c79a-41c5-a0bc-0c956912b773" providerId="ADAL" clId="{82ACE6A8-40CD-4D1C-B19B-F9933EE5F470}" dt="2024-05-13T15:16:20.880" v="591"/>
        <pc:sldMkLst>
          <pc:docMk/>
          <pc:sldMk cId="0" sldId="270"/>
        </pc:sldMkLst>
        <pc:spChg chg="add mod">
          <ac:chgData name="Deborah Walter" userId="c20ebd7f-c79a-41c5-a0bc-0c956912b773" providerId="ADAL" clId="{82ACE6A8-40CD-4D1C-B19B-F9933EE5F470}" dt="2024-05-13T14:56:31.010" v="312" actId="1038"/>
          <ac:spMkLst>
            <pc:docMk/>
            <pc:sldMk cId="0" sldId="270"/>
            <ac:spMk id="2" creationId="{A0E8DFC7-2CB0-B62C-8532-EAA732B9CBD0}"/>
          </ac:spMkLst>
        </pc:spChg>
        <pc:spChg chg="del">
          <ac:chgData name="Deborah Walter" userId="c20ebd7f-c79a-41c5-a0bc-0c956912b773" providerId="ADAL" clId="{82ACE6A8-40CD-4D1C-B19B-F9933EE5F470}" dt="2024-05-13T14:52:52.699" v="135" actId="478"/>
          <ac:spMkLst>
            <pc:docMk/>
            <pc:sldMk cId="0" sldId="270"/>
            <ac:spMk id="250" creationId="{00000000-0000-0000-0000-000000000000}"/>
          </ac:spMkLst>
        </pc:spChg>
        <pc:spChg chg="del">
          <ac:chgData name="Deborah Walter" userId="c20ebd7f-c79a-41c5-a0bc-0c956912b773" providerId="ADAL" clId="{82ACE6A8-40CD-4D1C-B19B-F9933EE5F470}" dt="2024-05-13T14:52:59.607" v="137" actId="478"/>
          <ac:spMkLst>
            <pc:docMk/>
            <pc:sldMk cId="0" sldId="270"/>
            <ac:spMk id="252" creationId="{00000000-0000-0000-0000-000000000000}"/>
          </ac:spMkLst>
        </pc:spChg>
        <pc:spChg chg="mod">
          <ac:chgData name="Deborah Walter" userId="c20ebd7f-c79a-41c5-a0bc-0c956912b773" providerId="ADAL" clId="{82ACE6A8-40CD-4D1C-B19B-F9933EE5F470}" dt="2024-05-13T14:56:39.190" v="314" actId="14100"/>
          <ac:spMkLst>
            <pc:docMk/>
            <pc:sldMk cId="0" sldId="270"/>
            <ac:spMk id="253" creationId="{00000000-0000-0000-0000-000000000000}"/>
          </ac:spMkLst>
        </pc:spChg>
        <pc:spChg chg="del">
          <ac:chgData name="Deborah Walter" userId="c20ebd7f-c79a-41c5-a0bc-0c956912b773" providerId="ADAL" clId="{82ACE6A8-40CD-4D1C-B19B-F9933EE5F470}" dt="2024-05-13T14:53:23.277" v="144" actId="478"/>
          <ac:spMkLst>
            <pc:docMk/>
            <pc:sldMk cId="0" sldId="270"/>
            <ac:spMk id="255" creationId="{00000000-0000-0000-0000-000000000000}"/>
          </ac:spMkLst>
        </pc:spChg>
        <pc:spChg chg="mod">
          <ac:chgData name="Deborah Walter" userId="c20ebd7f-c79a-41c5-a0bc-0c956912b773" providerId="ADAL" clId="{82ACE6A8-40CD-4D1C-B19B-F9933EE5F470}" dt="2024-05-13T14:56:31.010" v="312" actId="1038"/>
          <ac:spMkLst>
            <pc:docMk/>
            <pc:sldMk cId="0" sldId="270"/>
            <ac:spMk id="257" creationId="{00000000-0000-0000-0000-000000000000}"/>
          </ac:spMkLst>
        </pc:spChg>
        <pc:spChg chg="mod">
          <ac:chgData name="Deborah Walter" userId="c20ebd7f-c79a-41c5-a0bc-0c956912b773" providerId="ADAL" clId="{82ACE6A8-40CD-4D1C-B19B-F9933EE5F470}" dt="2024-05-13T14:56:31.010" v="312" actId="1038"/>
          <ac:spMkLst>
            <pc:docMk/>
            <pc:sldMk cId="0" sldId="270"/>
            <ac:spMk id="258" creationId="{00000000-0000-0000-0000-000000000000}"/>
          </ac:spMkLst>
        </pc:spChg>
        <pc:spChg chg="mod">
          <ac:chgData name="Deborah Walter" userId="c20ebd7f-c79a-41c5-a0bc-0c956912b773" providerId="ADAL" clId="{82ACE6A8-40CD-4D1C-B19B-F9933EE5F470}" dt="2024-05-13T14:53:22.341" v="143" actId="1076"/>
          <ac:spMkLst>
            <pc:docMk/>
            <pc:sldMk cId="0" sldId="270"/>
            <ac:spMk id="259" creationId="{00000000-0000-0000-0000-000000000000}"/>
          </ac:spMkLst>
        </pc:spChg>
        <pc:picChg chg="add mod">
          <ac:chgData name="Deborah Walter" userId="c20ebd7f-c79a-41c5-a0bc-0c956912b773" providerId="ADAL" clId="{82ACE6A8-40CD-4D1C-B19B-F9933EE5F470}" dt="2024-05-13T15:16:20.880" v="591"/>
          <ac:picMkLst>
            <pc:docMk/>
            <pc:sldMk cId="0" sldId="270"/>
            <ac:picMk id="3" creationId="{961EAFAF-D236-ED29-1E66-20B77E06CBA8}"/>
          </ac:picMkLst>
        </pc:picChg>
        <pc:picChg chg="del">
          <ac:chgData name="Deborah Walter" userId="c20ebd7f-c79a-41c5-a0bc-0c956912b773" providerId="ADAL" clId="{82ACE6A8-40CD-4D1C-B19B-F9933EE5F470}" dt="2024-05-13T15:14:54.005" v="560" actId="478"/>
          <ac:picMkLst>
            <pc:docMk/>
            <pc:sldMk cId="0" sldId="270"/>
            <ac:picMk id="251" creationId="{00000000-0000-0000-0000-000000000000}"/>
          </ac:picMkLst>
        </pc:picChg>
        <pc:picChg chg="add del mod ord">
          <ac:chgData name="Deborah Walter" userId="c20ebd7f-c79a-41c5-a0bc-0c956912b773" providerId="ADAL" clId="{82ACE6A8-40CD-4D1C-B19B-F9933EE5F470}" dt="2024-05-13T14:53:16.190" v="142" actId="167"/>
          <ac:picMkLst>
            <pc:docMk/>
            <pc:sldMk cId="0" sldId="270"/>
            <ac:picMk id="254" creationId="{00000000-0000-0000-0000-000000000000}"/>
          </ac:picMkLst>
        </pc:picChg>
        <pc:picChg chg="del mod">
          <ac:chgData name="Deborah Walter" userId="c20ebd7f-c79a-41c5-a0bc-0c956912b773" providerId="ADAL" clId="{82ACE6A8-40CD-4D1C-B19B-F9933EE5F470}" dt="2024-05-13T14:56:01.636" v="295" actId="478"/>
          <ac:picMkLst>
            <pc:docMk/>
            <pc:sldMk cId="0" sldId="270"/>
            <ac:picMk id="256" creationId="{00000000-0000-0000-0000-000000000000}"/>
          </ac:picMkLst>
        </pc:picChg>
      </pc:sldChg>
      <pc:sldChg chg="addSp delSp modSp mod setBg">
        <pc:chgData name="Deborah Walter" userId="c20ebd7f-c79a-41c5-a0bc-0c956912b773" providerId="ADAL" clId="{82ACE6A8-40CD-4D1C-B19B-F9933EE5F470}" dt="2024-05-14T09:55:54.138" v="706" actId="2711"/>
        <pc:sldMkLst>
          <pc:docMk/>
          <pc:sldMk cId="0" sldId="271"/>
        </pc:sldMkLst>
        <pc:spChg chg="del">
          <ac:chgData name="Deborah Walter" userId="c20ebd7f-c79a-41c5-a0bc-0c956912b773" providerId="ADAL" clId="{82ACE6A8-40CD-4D1C-B19B-F9933EE5F470}" dt="2024-05-13T14:56:57.269" v="316" actId="478"/>
          <ac:spMkLst>
            <pc:docMk/>
            <pc:sldMk cId="0" sldId="271"/>
            <ac:spMk id="260" creationId="{00000000-0000-0000-0000-000000000000}"/>
          </ac:spMkLst>
        </pc:spChg>
        <pc:spChg chg="mod">
          <ac:chgData name="Deborah Walter" userId="c20ebd7f-c79a-41c5-a0bc-0c956912b773" providerId="ADAL" clId="{82ACE6A8-40CD-4D1C-B19B-F9933EE5F470}" dt="2024-05-14T09:55:54.138" v="706" actId="2711"/>
          <ac:spMkLst>
            <pc:docMk/>
            <pc:sldMk cId="0" sldId="271"/>
            <ac:spMk id="262" creationId="{00000000-0000-0000-0000-000000000000}"/>
          </ac:spMkLst>
        </pc:spChg>
        <pc:spChg chg="mod">
          <ac:chgData name="Deborah Walter" userId="c20ebd7f-c79a-41c5-a0bc-0c956912b773" providerId="ADAL" clId="{82ACE6A8-40CD-4D1C-B19B-F9933EE5F470}" dt="2024-05-13T14:56:55.510" v="315" actId="207"/>
          <ac:spMkLst>
            <pc:docMk/>
            <pc:sldMk cId="0" sldId="271"/>
            <ac:spMk id="264" creationId="{00000000-0000-0000-0000-000000000000}"/>
          </ac:spMkLst>
        </pc:spChg>
        <pc:picChg chg="add mod">
          <ac:chgData name="Deborah Walter" userId="c20ebd7f-c79a-41c5-a0bc-0c956912b773" providerId="ADAL" clId="{82ACE6A8-40CD-4D1C-B19B-F9933EE5F470}" dt="2024-05-13T15:16:18.743" v="590"/>
          <ac:picMkLst>
            <pc:docMk/>
            <pc:sldMk cId="0" sldId="271"/>
            <ac:picMk id="2" creationId="{9D1358ED-261A-3615-099F-5B0F82362FC2}"/>
          </ac:picMkLst>
        </pc:picChg>
        <pc:picChg chg="del">
          <ac:chgData name="Deborah Walter" userId="c20ebd7f-c79a-41c5-a0bc-0c956912b773" providerId="ADAL" clId="{82ACE6A8-40CD-4D1C-B19B-F9933EE5F470}" dt="2024-05-13T15:14:59.016" v="561" actId="478"/>
          <ac:picMkLst>
            <pc:docMk/>
            <pc:sldMk cId="0" sldId="271"/>
            <ac:picMk id="261" creationId="{00000000-0000-0000-0000-000000000000}"/>
          </ac:picMkLst>
        </pc:picChg>
      </pc:sldChg>
      <pc:sldChg chg="addSp delSp modSp mod setBg">
        <pc:chgData name="Deborah Walter" userId="c20ebd7f-c79a-41c5-a0bc-0c956912b773" providerId="ADAL" clId="{82ACE6A8-40CD-4D1C-B19B-F9933EE5F470}" dt="2024-05-14T09:53:27.533" v="680" actId="255"/>
        <pc:sldMkLst>
          <pc:docMk/>
          <pc:sldMk cId="0" sldId="272"/>
        </pc:sldMkLst>
        <pc:spChg chg="del">
          <ac:chgData name="Deborah Walter" userId="c20ebd7f-c79a-41c5-a0bc-0c956912b773" providerId="ADAL" clId="{82ACE6A8-40CD-4D1C-B19B-F9933EE5F470}" dt="2024-05-13T14:57:12.457" v="319" actId="478"/>
          <ac:spMkLst>
            <pc:docMk/>
            <pc:sldMk cId="0" sldId="272"/>
            <ac:spMk id="265" creationId="{00000000-0000-0000-0000-000000000000}"/>
          </ac:spMkLst>
        </pc:spChg>
        <pc:spChg chg="add del">
          <ac:chgData name="Deborah Walter" userId="c20ebd7f-c79a-41c5-a0bc-0c956912b773" providerId="ADAL" clId="{82ACE6A8-40CD-4D1C-B19B-F9933EE5F470}" dt="2024-05-13T14:57:34.611" v="325" actId="478"/>
          <ac:spMkLst>
            <pc:docMk/>
            <pc:sldMk cId="0" sldId="272"/>
            <ac:spMk id="266" creationId="{00000000-0000-0000-0000-000000000000}"/>
          </ac:spMkLst>
        </pc:spChg>
        <pc:spChg chg="add del">
          <ac:chgData name="Deborah Walter" userId="c20ebd7f-c79a-41c5-a0bc-0c956912b773" providerId="ADAL" clId="{82ACE6A8-40CD-4D1C-B19B-F9933EE5F470}" dt="2024-05-13T14:57:34.611" v="325" actId="478"/>
          <ac:spMkLst>
            <pc:docMk/>
            <pc:sldMk cId="0" sldId="272"/>
            <ac:spMk id="267" creationId="{00000000-0000-0000-0000-000000000000}"/>
          </ac:spMkLst>
        </pc:spChg>
        <pc:spChg chg="add del">
          <ac:chgData name="Deborah Walter" userId="c20ebd7f-c79a-41c5-a0bc-0c956912b773" providerId="ADAL" clId="{82ACE6A8-40CD-4D1C-B19B-F9933EE5F470}" dt="2024-05-13T14:57:34.611" v="325" actId="478"/>
          <ac:spMkLst>
            <pc:docMk/>
            <pc:sldMk cId="0" sldId="272"/>
            <ac:spMk id="268"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69"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0"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1"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2"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3"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4"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5"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6"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7"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8"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79"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80"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81"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82" creationId="{00000000-0000-0000-0000-000000000000}"/>
          </ac:spMkLst>
        </pc:spChg>
        <pc:spChg chg="add del">
          <ac:chgData name="Deborah Walter" userId="c20ebd7f-c79a-41c5-a0bc-0c956912b773" providerId="ADAL" clId="{82ACE6A8-40CD-4D1C-B19B-F9933EE5F470}" dt="2024-05-13T14:57:38.218" v="326" actId="478"/>
          <ac:spMkLst>
            <pc:docMk/>
            <pc:sldMk cId="0" sldId="272"/>
            <ac:spMk id="283"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84"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85"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86"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87"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88"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89"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90" creationId="{00000000-0000-0000-0000-000000000000}"/>
          </ac:spMkLst>
        </pc:spChg>
        <pc:spChg chg="add del">
          <ac:chgData name="Deborah Walter" userId="c20ebd7f-c79a-41c5-a0bc-0c956912b773" providerId="ADAL" clId="{82ACE6A8-40CD-4D1C-B19B-F9933EE5F470}" dt="2024-05-13T14:57:41.193" v="327" actId="478"/>
          <ac:spMkLst>
            <pc:docMk/>
            <pc:sldMk cId="0" sldId="272"/>
            <ac:spMk id="291"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2"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3"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4"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5"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6"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7"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8"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299"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0"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1"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2"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3"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4"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5" creationId="{00000000-0000-0000-0000-000000000000}"/>
          </ac:spMkLst>
        </pc:spChg>
        <pc:spChg chg="del">
          <ac:chgData name="Deborah Walter" userId="c20ebd7f-c79a-41c5-a0bc-0c956912b773" providerId="ADAL" clId="{82ACE6A8-40CD-4D1C-B19B-F9933EE5F470}" dt="2024-05-13T14:57:23.879" v="322" actId="478"/>
          <ac:spMkLst>
            <pc:docMk/>
            <pc:sldMk cId="0" sldId="272"/>
            <ac:spMk id="306"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07"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08"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09"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10"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11"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12"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13"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14" creationId="{00000000-0000-0000-0000-000000000000}"/>
          </ac:spMkLst>
        </pc:spChg>
        <pc:spChg chg="del">
          <ac:chgData name="Deborah Walter" userId="c20ebd7f-c79a-41c5-a0bc-0c956912b773" providerId="ADAL" clId="{82ACE6A8-40CD-4D1C-B19B-F9933EE5F470}" dt="2024-05-13T14:57:20.655" v="321" actId="478"/>
          <ac:spMkLst>
            <pc:docMk/>
            <pc:sldMk cId="0" sldId="272"/>
            <ac:spMk id="315" creationId="{00000000-0000-0000-0000-000000000000}"/>
          </ac:spMkLst>
        </pc:spChg>
        <pc:spChg chg="add del mod">
          <ac:chgData name="Deborah Walter" userId="c20ebd7f-c79a-41c5-a0bc-0c956912b773" providerId="ADAL" clId="{82ACE6A8-40CD-4D1C-B19B-F9933EE5F470}" dt="2024-05-14T09:53:09.556" v="677" actId="255"/>
          <ac:spMkLst>
            <pc:docMk/>
            <pc:sldMk cId="0" sldId="272"/>
            <ac:spMk id="317" creationId="{00000000-0000-0000-0000-000000000000}"/>
          </ac:spMkLst>
        </pc:spChg>
        <pc:spChg chg="mod">
          <ac:chgData name="Deborah Walter" userId="c20ebd7f-c79a-41c5-a0bc-0c956912b773" providerId="ADAL" clId="{82ACE6A8-40CD-4D1C-B19B-F9933EE5F470}" dt="2024-05-14T09:53:27.533" v="680" actId="255"/>
          <ac:spMkLst>
            <pc:docMk/>
            <pc:sldMk cId="0" sldId="272"/>
            <ac:spMk id="318" creationId="{00000000-0000-0000-0000-000000000000}"/>
          </ac:spMkLst>
        </pc:spChg>
        <pc:spChg chg="mod">
          <ac:chgData name="Deborah Walter" userId="c20ebd7f-c79a-41c5-a0bc-0c956912b773" providerId="ADAL" clId="{82ACE6A8-40CD-4D1C-B19B-F9933EE5F470}" dt="2024-05-13T14:57:11.118" v="318" actId="207"/>
          <ac:spMkLst>
            <pc:docMk/>
            <pc:sldMk cId="0" sldId="272"/>
            <ac:spMk id="320" creationId="{00000000-0000-0000-0000-000000000000}"/>
          </ac:spMkLst>
        </pc:spChg>
        <pc:picChg chg="add mod">
          <ac:chgData name="Deborah Walter" userId="c20ebd7f-c79a-41c5-a0bc-0c956912b773" providerId="ADAL" clId="{82ACE6A8-40CD-4D1C-B19B-F9933EE5F470}" dt="2024-05-13T15:16:15.404" v="589"/>
          <ac:picMkLst>
            <pc:docMk/>
            <pc:sldMk cId="0" sldId="272"/>
            <ac:picMk id="2" creationId="{AEB08B72-DD18-0572-9810-478243CEB200}"/>
          </ac:picMkLst>
        </pc:picChg>
        <pc:picChg chg="del">
          <ac:chgData name="Deborah Walter" userId="c20ebd7f-c79a-41c5-a0bc-0c956912b773" providerId="ADAL" clId="{82ACE6A8-40CD-4D1C-B19B-F9933EE5F470}" dt="2024-05-13T15:15:01.756" v="562" actId="478"/>
          <ac:picMkLst>
            <pc:docMk/>
            <pc:sldMk cId="0" sldId="272"/>
            <ac:picMk id="316" creationId="{00000000-0000-0000-0000-000000000000}"/>
          </ac:picMkLst>
        </pc:picChg>
      </pc:sldChg>
      <pc:sldChg chg="addSp delSp modSp mod setBg">
        <pc:chgData name="Deborah Walter" userId="c20ebd7f-c79a-41c5-a0bc-0c956912b773" providerId="ADAL" clId="{82ACE6A8-40CD-4D1C-B19B-F9933EE5F470}" dt="2024-05-14T09:49:05.543" v="638" actId="478"/>
        <pc:sldMkLst>
          <pc:docMk/>
          <pc:sldMk cId="0" sldId="273"/>
        </pc:sldMkLst>
        <pc:spChg chg="add del mod ord">
          <ac:chgData name="Deborah Walter" userId="c20ebd7f-c79a-41c5-a0bc-0c956912b773" providerId="ADAL" clId="{82ACE6A8-40CD-4D1C-B19B-F9933EE5F470}" dt="2024-05-14T09:49:05.543" v="638" actId="478"/>
          <ac:spMkLst>
            <pc:docMk/>
            <pc:sldMk cId="0" sldId="273"/>
            <ac:spMk id="3" creationId="{BEE047A7-F5F6-F3AD-B47B-07FFCBEED824}"/>
          </ac:spMkLst>
        </pc:spChg>
        <pc:spChg chg="del">
          <ac:chgData name="Deborah Walter" userId="c20ebd7f-c79a-41c5-a0bc-0c956912b773" providerId="ADAL" clId="{82ACE6A8-40CD-4D1C-B19B-F9933EE5F470}" dt="2024-05-13T14:57:55.046" v="329" actId="478"/>
          <ac:spMkLst>
            <pc:docMk/>
            <pc:sldMk cId="0" sldId="273"/>
            <ac:spMk id="321" creationId="{00000000-0000-0000-0000-000000000000}"/>
          </ac:spMkLst>
        </pc:spChg>
        <pc:picChg chg="add mod">
          <ac:chgData name="Deborah Walter" userId="c20ebd7f-c79a-41c5-a0bc-0c956912b773" providerId="ADAL" clId="{82ACE6A8-40CD-4D1C-B19B-F9933EE5F470}" dt="2024-05-13T15:16:13.727" v="588"/>
          <ac:picMkLst>
            <pc:docMk/>
            <pc:sldMk cId="0" sldId="273"/>
            <ac:picMk id="2" creationId="{E521C75B-C33A-EA60-E647-6A444D9EDFEE}"/>
          </ac:picMkLst>
        </pc:picChg>
        <pc:picChg chg="del">
          <ac:chgData name="Deborah Walter" userId="c20ebd7f-c79a-41c5-a0bc-0c956912b773" providerId="ADAL" clId="{82ACE6A8-40CD-4D1C-B19B-F9933EE5F470}" dt="2024-05-13T15:15:04.283" v="563" actId="478"/>
          <ac:picMkLst>
            <pc:docMk/>
            <pc:sldMk cId="0" sldId="273"/>
            <ac:picMk id="322" creationId="{00000000-0000-0000-0000-000000000000}"/>
          </ac:picMkLst>
        </pc:picChg>
        <pc:picChg chg="mod">
          <ac:chgData name="Deborah Walter" userId="c20ebd7f-c79a-41c5-a0bc-0c956912b773" providerId="ADAL" clId="{82ACE6A8-40CD-4D1C-B19B-F9933EE5F470}" dt="2024-05-14T09:48:45.824" v="634" actId="1076"/>
          <ac:picMkLst>
            <pc:docMk/>
            <pc:sldMk cId="0" sldId="273"/>
            <ac:picMk id="323" creationId="{00000000-0000-0000-0000-000000000000}"/>
          </ac:picMkLst>
        </pc:picChg>
      </pc:sldChg>
      <pc:sldChg chg="addSp delSp modSp mod setBg">
        <pc:chgData name="Deborah Walter" userId="c20ebd7f-c79a-41c5-a0bc-0c956912b773" providerId="ADAL" clId="{82ACE6A8-40CD-4D1C-B19B-F9933EE5F470}" dt="2024-05-14T09:49:10.956" v="639" actId="1076"/>
        <pc:sldMkLst>
          <pc:docMk/>
          <pc:sldMk cId="0" sldId="274"/>
        </pc:sldMkLst>
        <pc:spChg chg="del">
          <ac:chgData name="Deborah Walter" userId="c20ebd7f-c79a-41c5-a0bc-0c956912b773" providerId="ADAL" clId="{82ACE6A8-40CD-4D1C-B19B-F9933EE5F470}" dt="2024-05-13T14:58:04.622" v="331" actId="478"/>
          <ac:spMkLst>
            <pc:docMk/>
            <pc:sldMk cId="0" sldId="274"/>
            <ac:spMk id="325" creationId="{00000000-0000-0000-0000-000000000000}"/>
          </ac:spMkLst>
        </pc:spChg>
        <pc:picChg chg="add mod">
          <ac:chgData name="Deborah Walter" userId="c20ebd7f-c79a-41c5-a0bc-0c956912b773" providerId="ADAL" clId="{82ACE6A8-40CD-4D1C-B19B-F9933EE5F470}" dt="2024-05-13T15:16:10.427" v="587"/>
          <ac:picMkLst>
            <pc:docMk/>
            <pc:sldMk cId="0" sldId="274"/>
            <ac:picMk id="2" creationId="{A4D2AD9E-8EC5-17B5-639F-3DA8CC6645D2}"/>
          </ac:picMkLst>
        </pc:picChg>
        <pc:picChg chg="del">
          <ac:chgData name="Deborah Walter" userId="c20ebd7f-c79a-41c5-a0bc-0c956912b773" providerId="ADAL" clId="{82ACE6A8-40CD-4D1C-B19B-F9933EE5F470}" dt="2024-05-13T15:15:08.571" v="564" actId="478"/>
          <ac:picMkLst>
            <pc:docMk/>
            <pc:sldMk cId="0" sldId="274"/>
            <ac:picMk id="326" creationId="{00000000-0000-0000-0000-000000000000}"/>
          </ac:picMkLst>
        </pc:picChg>
        <pc:picChg chg="mod">
          <ac:chgData name="Deborah Walter" userId="c20ebd7f-c79a-41c5-a0bc-0c956912b773" providerId="ADAL" clId="{82ACE6A8-40CD-4D1C-B19B-F9933EE5F470}" dt="2024-05-14T09:49:10.956" v="639" actId="1076"/>
          <ac:picMkLst>
            <pc:docMk/>
            <pc:sldMk cId="0" sldId="274"/>
            <ac:picMk id="327" creationId="{00000000-0000-0000-0000-000000000000}"/>
          </ac:picMkLst>
        </pc:picChg>
      </pc:sldChg>
      <pc:sldChg chg="addSp delSp modSp mod setBg">
        <pc:chgData name="Deborah Walter" userId="c20ebd7f-c79a-41c5-a0bc-0c956912b773" providerId="ADAL" clId="{82ACE6A8-40CD-4D1C-B19B-F9933EE5F470}" dt="2024-05-14T09:49:39.879" v="649" actId="207"/>
        <pc:sldMkLst>
          <pc:docMk/>
          <pc:sldMk cId="0" sldId="275"/>
        </pc:sldMkLst>
        <pc:spChg chg="add mod">
          <ac:chgData name="Deborah Walter" userId="c20ebd7f-c79a-41c5-a0bc-0c956912b773" providerId="ADAL" clId="{82ACE6A8-40CD-4D1C-B19B-F9933EE5F470}" dt="2024-05-14T09:49:35.609" v="648" actId="1076"/>
          <ac:spMkLst>
            <pc:docMk/>
            <pc:sldMk cId="0" sldId="275"/>
            <ac:spMk id="2" creationId="{C20F82B5-F993-0FC5-5302-BCFCED2E7BDA}"/>
          </ac:spMkLst>
        </pc:spChg>
        <pc:spChg chg="del">
          <ac:chgData name="Deborah Walter" userId="c20ebd7f-c79a-41c5-a0bc-0c956912b773" providerId="ADAL" clId="{82ACE6A8-40CD-4D1C-B19B-F9933EE5F470}" dt="2024-05-13T14:58:30.165" v="335" actId="478"/>
          <ac:spMkLst>
            <pc:docMk/>
            <pc:sldMk cId="0" sldId="275"/>
            <ac:spMk id="329" creationId="{00000000-0000-0000-0000-000000000000}"/>
          </ac:spMkLst>
        </pc:spChg>
        <pc:spChg chg="del">
          <ac:chgData name="Deborah Walter" userId="c20ebd7f-c79a-41c5-a0bc-0c956912b773" providerId="ADAL" clId="{82ACE6A8-40CD-4D1C-B19B-F9933EE5F470}" dt="2024-05-13T14:59:16.232" v="340" actId="478"/>
          <ac:spMkLst>
            <pc:docMk/>
            <pc:sldMk cId="0" sldId="275"/>
            <ac:spMk id="331" creationId="{00000000-0000-0000-0000-000000000000}"/>
          </ac:spMkLst>
        </pc:spChg>
        <pc:spChg chg="mod">
          <ac:chgData name="Deborah Walter" userId="c20ebd7f-c79a-41c5-a0bc-0c956912b773" providerId="ADAL" clId="{82ACE6A8-40CD-4D1C-B19B-F9933EE5F470}" dt="2024-05-14T09:49:35.609" v="648" actId="1076"/>
          <ac:spMkLst>
            <pc:docMk/>
            <pc:sldMk cId="0" sldId="275"/>
            <ac:spMk id="332" creationId="{00000000-0000-0000-0000-000000000000}"/>
          </ac:spMkLst>
        </pc:spChg>
        <pc:spChg chg="del">
          <ac:chgData name="Deborah Walter" userId="c20ebd7f-c79a-41c5-a0bc-0c956912b773" providerId="ADAL" clId="{82ACE6A8-40CD-4D1C-B19B-F9933EE5F470}" dt="2024-05-13T14:58:27.350" v="334" actId="478"/>
          <ac:spMkLst>
            <pc:docMk/>
            <pc:sldMk cId="0" sldId="275"/>
            <ac:spMk id="335" creationId="{00000000-0000-0000-0000-000000000000}"/>
          </ac:spMkLst>
        </pc:spChg>
        <pc:spChg chg="mod">
          <ac:chgData name="Deborah Walter" userId="c20ebd7f-c79a-41c5-a0bc-0c956912b773" providerId="ADAL" clId="{82ACE6A8-40CD-4D1C-B19B-F9933EE5F470}" dt="2024-05-14T09:49:39.879" v="649" actId="207"/>
          <ac:spMkLst>
            <pc:docMk/>
            <pc:sldMk cId="0" sldId="275"/>
            <ac:spMk id="336" creationId="{00000000-0000-0000-0000-000000000000}"/>
          </ac:spMkLst>
        </pc:spChg>
        <pc:spChg chg="mod">
          <ac:chgData name="Deborah Walter" userId="c20ebd7f-c79a-41c5-a0bc-0c956912b773" providerId="ADAL" clId="{82ACE6A8-40CD-4D1C-B19B-F9933EE5F470}" dt="2024-05-14T09:49:35.609" v="648" actId="1076"/>
          <ac:spMkLst>
            <pc:docMk/>
            <pc:sldMk cId="0" sldId="275"/>
            <ac:spMk id="337" creationId="{00000000-0000-0000-0000-000000000000}"/>
          </ac:spMkLst>
        </pc:spChg>
        <pc:spChg chg="mod">
          <ac:chgData name="Deborah Walter" userId="c20ebd7f-c79a-41c5-a0bc-0c956912b773" providerId="ADAL" clId="{82ACE6A8-40CD-4D1C-B19B-F9933EE5F470}" dt="2024-05-13T14:58:25.139" v="333" actId="1076"/>
          <ac:spMkLst>
            <pc:docMk/>
            <pc:sldMk cId="0" sldId="275"/>
            <ac:spMk id="338" creationId="{00000000-0000-0000-0000-000000000000}"/>
          </ac:spMkLst>
        </pc:spChg>
        <pc:picChg chg="add mod">
          <ac:chgData name="Deborah Walter" userId="c20ebd7f-c79a-41c5-a0bc-0c956912b773" providerId="ADAL" clId="{82ACE6A8-40CD-4D1C-B19B-F9933EE5F470}" dt="2024-05-13T15:16:08.349" v="586"/>
          <ac:picMkLst>
            <pc:docMk/>
            <pc:sldMk cId="0" sldId="275"/>
            <ac:picMk id="3" creationId="{AE19C384-C819-01AA-D360-3A0DE411EC9C}"/>
          </ac:picMkLst>
        </pc:picChg>
        <pc:picChg chg="del">
          <ac:chgData name="Deborah Walter" userId="c20ebd7f-c79a-41c5-a0bc-0c956912b773" providerId="ADAL" clId="{82ACE6A8-40CD-4D1C-B19B-F9933EE5F470}" dt="2024-05-13T15:15:10.978" v="565" actId="478"/>
          <ac:picMkLst>
            <pc:docMk/>
            <pc:sldMk cId="0" sldId="275"/>
            <ac:picMk id="330" creationId="{00000000-0000-0000-0000-000000000000}"/>
          </ac:picMkLst>
        </pc:picChg>
        <pc:picChg chg="mod">
          <ac:chgData name="Deborah Walter" userId="c20ebd7f-c79a-41c5-a0bc-0c956912b773" providerId="ADAL" clId="{82ACE6A8-40CD-4D1C-B19B-F9933EE5F470}" dt="2024-05-14T09:49:24.318" v="647" actId="1037"/>
          <ac:picMkLst>
            <pc:docMk/>
            <pc:sldMk cId="0" sldId="275"/>
            <ac:picMk id="333" creationId="{00000000-0000-0000-0000-000000000000}"/>
          </ac:picMkLst>
        </pc:picChg>
        <pc:picChg chg="del mod">
          <ac:chgData name="Deborah Walter" userId="c20ebd7f-c79a-41c5-a0bc-0c956912b773" providerId="ADAL" clId="{82ACE6A8-40CD-4D1C-B19B-F9933EE5F470}" dt="2024-05-13T15:04:27.022" v="393" actId="478"/>
          <ac:picMkLst>
            <pc:docMk/>
            <pc:sldMk cId="0" sldId="275"/>
            <ac:picMk id="334" creationId="{00000000-0000-0000-0000-000000000000}"/>
          </ac:picMkLst>
        </pc:picChg>
      </pc:sldChg>
      <pc:sldChg chg="addSp delSp modSp mod setBg">
        <pc:chgData name="Deborah Walter" userId="c20ebd7f-c79a-41c5-a0bc-0c956912b773" providerId="ADAL" clId="{82ACE6A8-40CD-4D1C-B19B-F9933EE5F470}" dt="2024-05-14T09:53:40.613" v="681" actId="20577"/>
        <pc:sldMkLst>
          <pc:docMk/>
          <pc:sldMk cId="0" sldId="276"/>
        </pc:sldMkLst>
        <pc:spChg chg="del">
          <ac:chgData name="Deborah Walter" userId="c20ebd7f-c79a-41c5-a0bc-0c956912b773" providerId="ADAL" clId="{82ACE6A8-40CD-4D1C-B19B-F9933EE5F470}" dt="2024-05-13T15:04:41.023" v="396" actId="478"/>
          <ac:spMkLst>
            <pc:docMk/>
            <pc:sldMk cId="0" sldId="276"/>
            <ac:spMk id="339" creationId="{00000000-0000-0000-0000-000000000000}"/>
          </ac:spMkLst>
        </pc:spChg>
        <pc:spChg chg="mod">
          <ac:chgData name="Deborah Walter" userId="c20ebd7f-c79a-41c5-a0bc-0c956912b773" providerId="ADAL" clId="{82ACE6A8-40CD-4D1C-B19B-F9933EE5F470}" dt="2024-05-14T09:53:40.613" v="681" actId="20577"/>
          <ac:spMkLst>
            <pc:docMk/>
            <pc:sldMk cId="0" sldId="276"/>
            <ac:spMk id="341" creationId="{00000000-0000-0000-0000-000000000000}"/>
          </ac:spMkLst>
        </pc:spChg>
        <pc:spChg chg="mod">
          <ac:chgData name="Deborah Walter" userId="c20ebd7f-c79a-41c5-a0bc-0c956912b773" providerId="ADAL" clId="{82ACE6A8-40CD-4D1C-B19B-F9933EE5F470}" dt="2024-05-14T09:50:23.671" v="655" actId="14100"/>
          <ac:spMkLst>
            <pc:docMk/>
            <pc:sldMk cId="0" sldId="276"/>
            <ac:spMk id="343" creationId="{00000000-0000-0000-0000-000000000000}"/>
          </ac:spMkLst>
        </pc:spChg>
        <pc:spChg chg="mod">
          <ac:chgData name="Deborah Walter" userId="c20ebd7f-c79a-41c5-a0bc-0c956912b773" providerId="ADAL" clId="{82ACE6A8-40CD-4D1C-B19B-F9933EE5F470}" dt="2024-05-14T09:50:00.058" v="652" actId="403"/>
          <ac:spMkLst>
            <pc:docMk/>
            <pc:sldMk cId="0" sldId="276"/>
            <ac:spMk id="344" creationId="{00000000-0000-0000-0000-000000000000}"/>
          </ac:spMkLst>
        </pc:spChg>
        <pc:spChg chg="mod">
          <ac:chgData name="Deborah Walter" userId="c20ebd7f-c79a-41c5-a0bc-0c956912b773" providerId="ADAL" clId="{82ACE6A8-40CD-4D1C-B19B-F9933EE5F470}" dt="2024-05-14T09:50:00.058" v="652" actId="403"/>
          <ac:spMkLst>
            <pc:docMk/>
            <pc:sldMk cId="0" sldId="276"/>
            <ac:spMk id="345" creationId="{00000000-0000-0000-0000-000000000000}"/>
          </ac:spMkLst>
        </pc:spChg>
        <pc:spChg chg="mod">
          <ac:chgData name="Deborah Walter" userId="c20ebd7f-c79a-41c5-a0bc-0c956912b773" providerId="ADAL" clId="{82ACE6A8-40CD-4D1C-B19B-F9933EE5F470}" dt="2024-05-14T09:52:50.802" v="675" actId="14100"/>
          <ac:spMkLst>
            <pc:docMk/>
            <pc:sldMk cId="0" sldId="276"/>
            <ac:spMk id="346" creationId="{00000000-0000-0000-0000-000000000000}"/>
          </ac:spMkLst>
        </pc:spChg>
        <pc:spChg chg="mod">
          <ac:chgData name="Deborah Walter" userId="c20ebd7f-c79a-41c5-a0bc-0c956912b773" providerId="ADAL" clId="{82ACE6A8-40CD-4D1C-B19B-F9933EE5F470}" dt="2024-05-13T15:04:46.839" v="397" actId="207"/>
          <ac:spMkLst>
            <pc:docMk/>
            <pc:sldMk cId="0" sldId="276"/>
            <ac:spMk id="348" creationId="{00000000-0000-0000-0000-000000000000}"/>
          </ac:spMkLst>
        </pc:spChg>
        <pc:picChg chg="add mod">
          <ac:chgData name="Deborah Walter" userId="c20ebd7f-c79a-41c5-a0bc-0c956912b773" providerId="ADAL" clId="{82ACE6A8-40CD-4D1C-B19B-F9933EE5F470}" dt="2024-05-13T15:16:06.624" v="585"/>
          <ac:picMkLst>
            <pc:docMk/>
            <pc:sldMk cId="0" sldId="276"/>
            <ac:picMk id="2" creationId="{1A374560-4706-00E5-5B17-BFBDE92108C7}"/>
          </ac:picMkLst>
        </pc:picChg>
        <pc:picChg chg="del">
          <ac:chgData name="Deborah Walter" userId="c20ebd7f-c79a-41c5-a0bc-0c956912b773" providerId="ADAL" clId="{82ACE6A8-40CD-4D1C-B19B-F9933EE5F470}" dt="2024-05-13T15:15:13.675" v="566" actId="478"/>
          <ac:picMkLst>
            <pc:docMk/>
            <pc:sldMk cId="0" sldId="276"/>
            <ac:picMk id="340" creationId="{00000000-0000-0000-0000-000000000000}"/>
          </ac:picMkLst>
        </pc:picChg>
      </pc:sldChg>
      <pc:sldChg chg="addSp delSp modSp mod setBg">
        <pc:chgData name="Deborah Walter" userId="c20ebd7f-c79a-41c5-a0bc-0c956912b773" providerId="ADAL" clId="{82ACE6A8-40CD-4D1C-B19B-F9933EE5F470}" dt="2024-05-14T09:50:39.789" v="656" actId="1076"/>
        <pc:sldMkLst>
          <pc:docMk/>
          <pc:sldMk cId="0" sldId="277"/>
        </pc:sldMkLst>
        <pc:spChg chg="del">
          <ac:chgData name="Deborah Walter" userId="c20ebd7f-c79a-41c5-a0bc-0c956912b773" providerId="ADAL" clId="{82ACE6A8-40CD-4D1C-B19B-F9933EE5F470}" dt="2024-05-13T15:05:42.375" v="408" actId="478"/>
          <ac:spMkLst>
            <pc:docMk/>
            <pc:sldMk cId="0" sldId="277"/>
            <ac:spMk id="349" creationId="{00000000-0000-0000-0000-000000000000}"/>
          </ac:spMkLst>
        </pc:spChg>
        <pc:spChg chg="del mod">
          <ac:chgData name="Deborah Walter" userId="c20ebd7f-c79a-41c5-a0bc-0c956912b773" providerId="ADAL" clId="{82ACE6A8-40CD-4D1C-B19B-F9933EE5F470}" dt="2024-05-13T15:06:37.755" v="413" actId="478"/>
          <ac:spMkLst>
            <pc:docMk/>
            <pc:sldMk cId="0" sldId="277"/>
            <ac:spMk id="352" creationId="{00000000-0000-0000-0000-000000000000}"/>
          </ac:spMkLst>
        </pc:spChg>
        <pc:spChg chg="mod">
          <ac:chgData name="Deborah Walter" userId="c20ebd7f-c79a-41c5-a0bc-0c956912b773" providerId="ADAL" clId="{82ACE6A8-40CD-4D1C-B19B-F9933EE5F470}" dt="2024-05-13T15:06:47.084" v="415" actId="1076"/>
          <ac:spMkLst>
            <pc:docMk/>
            <pc:sldMk cId="0" sldId="277"/>
            <ac:spMk id="353" creationId="{00000000-0000-0000-0000-000000000000}"/>
          </ac:spMkLst>
        </pc:spChg>
        <pc:picChg chg="add mod">
          <ac:chgData name="Deborah Walter" userId="c20ebd7f-c79a-41c5-a0bc-0c956912b773" providerId="ADAL" clId="{82ACE6A8-40CD-4D1C-B19B-F9933EE5F470}" dt="2024-05-13T15:16:04.672" v="584"/>
          <ac:picMkLst>
            <pc:docMk/>
            <pc:sldMk cId="0" sldId="277"/>
            <ac:picMk id="2" creationId="{BC6BC34E-8D0A-05FC-E493-66C790740FB9}"/>
          </ac:picMkLst>
        </pc:picChg>
        <pc:picChg chg="del">
          <ac:chgData name="Deborah Walter" userId="c20ebd7f-c79a-41c5-a0bc-0c956912b773" providerId="ADAL" clId="{82ACE6A8-40CD-4D1C-B19B-F9933EE5F470}" dt="2024-05-13T15:15:16.190" v="567" actId="478"/>
          <ac:picMkLst>
            <pc:docMk/>
            <pc:sldMk cId="0" sldId="277"/>
            <ac:picMk id="350" creationId="{00000000-0000-0000-0000-000000000000}"/>
          </ac:picMkLst>
        </pc:picChg>
        <pc:picChg chg="mod">
          <ac:chgData name="Deborah Walter" userId="c20ebd7f-c79a-41c5-a0bc-0c956912b773" providerId="ADAL" clId="{82ACE6A8-40CD-4D1C-B19B-F9933EE5F470}" dt="2024-05-14T09:50:39.789" v="656" actId="1076"/>
          <ac:picMkLst>
            <pc:docMk/>
            <pc:sldMk cId="0" sldId="277"/>
            <ac:picMk id="351" creationId="{00000000-0000-0000-0000-000000000000}"/>
          </ac:picMkLst>
        </pc:picChg>
      </pc:sldChg>
      <pc:sldChg chg="addSp delSp modSp mod setBg">
        <pc:chgData name="Deborah Walter" userId="c20ebd7f-c79a-41c5-a0bc-0c956912b773" providerId="ADAL" clId="{82ACE6A8-40CD-4D1C-B19B-F9933EE5F470}" dt="2024-05-14T09:51:10.254" v="657" actId="1076"/>
        <pc:sldMkLst>
          <pc:docMk/>
          <pc:sldMk cId="0" sldId="278"/>
        </pc:sldMkLst>
        <pc:spChg chg="del">
          <ac:chgData name="Deborah Walter" userId="c20ebd7f-c79a-41c5-a0bc-0c956912b773" providerId="ADAL" clId="{82ACE6A8-40CD-4D1C-B19B-F9933EE5F470}" dt="2024-05-13T15:06:17.240" v="410" actId="478"/>
          <ac:spMkLst>
            <pc:docMk/>
            <pc:sldMk cId="0" sldId="278"/>
            <ac:spMk id="354" creationId="{00000000-0000-0000-0000-000000000000}"/>
          </ac:spMkLst>
        </pc:spChg>
        <pc:spChg chg="del">
          <ac:chgData name="Deborah Walter" userId="c20ebd7f-c79a-41c5-a0bc-0c956912b773" providerId="ADAL" clId="{82ACE6A8-40CD-4D1C-B19B-F9933EE5F470}" dt="2024-05-13T15:07:00.859" v="417" actId="478"/>
          <ac:spMkLst>
            <pc:docMk/>
            <pc:sldMk cId="0" sldId="278"/>
            <ac:spMk id="357" creationId="{00000000-0000-0000-0000-000000000000}"/>
          </ac:spMkLst>
        </pc:spChg>
        <pc:spChg chg="mod">
          <ac:chgData name="Deborah Walter" userId="c20ebd7f-c79a-41c5-a0bc-0c956912b773" providerId="ADAL" clId="{82ACE6A8-40CD-4D1C-B19B-F9933EE5F470}" dt="2024-05-13T15:07:05.045" v="418" actId="1076"/>
          <ac:spMkLst>
            <pc:docMk/>
            <pc:sldMk cId="0" sldId="278"/>
            <ac:spMk id="358" creationId="{00000000-0000-0000-0000-000000000000}"/>
          </ac:spMkLst>
        </pc:spChg>
        <pc:picChg chg="add mod">
          <ac:chgData name="Deborah Walter" userId="c20ebd7f-c79a-41c5-a0bc-0c956912b773" providerId="ADAL" clId="{82ACE6A8-40CD-4D1C-B19B-F9933EE5F470}" dt="2024-05-13T15:16:03.161" v="583"/>
          <ac:picMkLst>
            <pc:docMk/>
            <pc:sldMk cId="0" sldId="278"/>
            <ac:picMk id="2" creationId="{FDB98BA3-DD0F-B12D-0BF9-34A44385C185}"/>
          </ac:picMkLst>
        </pc:picChg>
        <pc:picChg chg="del">
          <ac:chgData name="Deborah Walter" userId="c20ebd7f-c79a-41c5-a0bc-0c956912b773" providerId="ADAL" clId="{82ACE6A8-40CD-4D1C-B19B-F9933EE5F470}" dt="2024-05-13T15:15:18.902" v="568" actId="478"/>
          <ac:picMkLst>
            <pc:docMk/>
            <pc:sldMk cId="0" sldId="278"/>
            <ac:picMk id="355" creationId="{00000000-0000-0000-0000-000000000000}"/>
          </ac:picMkLst>
        </pc:picChg>
        <pc:picChg chg="mod">
          <ac:chgData name="Deborah Walter" userId="c20ebd7f-c79a-41c5-a0bc-0c956912b773" providerId="ADAL" clId="{82ACE6A8-40CD-4D1C-B19B-F9933EE5F470}" dt="2024-05-14T09:51:10.254" v="657" actId="1076"/>
          <ac:picMkLst>
            <pc:docMk/>
            <pc:sldMk cId="0" sldId="278"/>
            <ac:picMk id="356" creationId="{00000000-0000-0000-0000-000000000000}"/>
          </ac:picMkLst>
        </pc:picChg>
      </pc:sldChg>
      <pc:sldChg chg="addSp delSp modSp mod setBg">
        <pc:chgData name="Deborah Walter" userId="c20ebd7f-c79a-41c5-a0bc-0c956912b773" providerId="ADAL" clId="{82ACE6A8-40CD-4D1C-B19B-F9933EE5F470}" dt="2024-05-14T09:51:26.783" v="658" actId="1076"/>
        <pc:sldMkLst>
          <pc:docMk/>
          <pc:sldMk cId="0" sldId="279"/>
        </pc:sldMkLst>
        <pc:spChg chg="add mod">
          <ac:chgData name="Deborah Walter" userId="c20ebd7f-c79a-41c5-a0bc-0c956912b773" providerId="ADAL" clId="{82ACE6A8-40CD-4D1C-B19B-F9933EE5F470}" dt="2024-05-14T09:51:26.783" v="658" actId="1076"/>
          <ac:spMkLst>
            <pc:docMk/>
            <pc:sldMk cId="0" sldId="279"/>
            <ac:spMk id="2" creationId="{7CC79CE5-A369-3D0A-00C9-93CC98462AE3}"/>
          </ac:spMkLst>
        </pc:spChg>
        <pc:spChg chg="del">
          <ac:chgData name="Deborah Walter" userId="c20ebd7f-c79a-41c5-a0bc-0c956912b773" providerId="ADAL" clId="{82ACE6A8-40CD-4D1C-B19B-F9933EE5F470}" dt="2024-05-13T15:07:28.082" v="422" actId="478"/>
          <ac:spMkLst>
            <pc:docMk/>
            <pc:sldMk cId="0" sldId="279"/>
            <ac:spMk id="359" creationId="{00000000-0000-0000-0000-000000000000}"/>
          </ac:spMkLst>
        </pc:spChg>
        <pc:spChg chg="del">
          <ac:chgData name="Deborah Walter" userId="c20ebd7f-c79a-41c5-a0bc-0c956912b773" providerId="ADAL" clId="{82ACE6A8-40CD-4D1C-B19B-F9933EE5F470}" dt="2024-05-13T15:07:33.280" v="423" actId="478"/>
          <ac:spMkLst>
            <pc:docMk/>
            <pc:sldMk cId="0" sldId="279"/>
            <ac:spMk id="361" creationId="{00000000-0000-0000-0000-000000000000}"/>
          </ac:spMkLst>
        </pc:spChg>
        <pc:spChg chg="mod">
          <ac:chgData name="Deborah Walter" userId="c20ebd7f-c79a-41c5-a0bc-0c956912b773" providerId="ADAL" clId="{82ACE6A8-40CD-4D1C-B19B-F9933EE5F470}" dt="2024-05-14T09:51:26.783" v="658" actId="1076"/>
          <ac:spMkLst>
            <pc:docMk/>
            <pc:sldMk cId="0" sldId="279"/>
            <ac:spMk id="362" creationId="{00000000-0000-0000-0000-000000000000}"/>
          </ac:spMkLst>
        </pc:spChg>
        <pc:spChg chg="del">
          <ac:chgData name="Deborah Walter" userId="c20ebd7f-c79a-41c5-a0bc-0c956912b773" providerId="ADAL" clId="{82ACE6A8-40CD-4D1C-B19B-F9933EE5F470}" dt="2024-05-13T15:07:46.206" v="427" actId="478"/>
          <ac:spMkLst>
            <pc:docMk/>
            <pc:sldMk cId="0" sldId="279"/>
            <ac:spMk id="365" creationId="{00000000-0000-0000-0000-000000000000}"/>
          </ac:spMkLst>
        </pc:spChg>
        <pc:spChg chg="mod">
          <ac:chgData name="Deborah Walter" userId="c20ebd7f-c79a-41c5-a0bc-0c956912b773" providerId="ADAL" clId="{82ACE6A8-40CD-4D1C-B19B-F9933EE5F470}" dt="2024-05-14T09:51:26.783" v="658" actId="1076"/>
          <ac:spMkLst>
            <pc:docMk/>
            <pc:sldMk cId="0" sldId="279"/>
            <ac:spMk id="366" creationId="{00000000-0000-0000-0000-000000000000}"/>
          </ac:spMkLst>
        </pc:spChg>
        <pc:spChg chg="mod">
          <ac:chgData name="Deborah Walter" userId="c20ebd7f-c79a-41c5-a0bc-0c956912b773" providerId="ADAL" clId="{82ACE6A8-40CD-4D1C-B19B-F9933EE5F470}" dt="2024-05-14T09:51:26.783" v="658" actId="1076"/>
          <ac:spMkLst>
            <pc:docMk/>
            <pc:sldMk cId="0" sldId="279"/>
            <ac:spMk id="367" creationId="{00000000-0000-0000-0000-000000000000}"/>
          </ac:spMkLst>
        </pc:spChg>
        <pc:spChg chg="mod">
          <ac:chgData name="Deborah Walter" userId="c20ebd7f-c79a-41c5-a0bc-0c956912b773" providerId="ADAL" clId="{82ACE6A8-40CD-4D1C-B19B-F9933EE5F470}" dt="2024-05-13T15:07:44.141" v="426" actId="1076"/>
          <ac:spMkLst>
            <pc:docMk/>
            <pc:sldMk cId="0" sldId="279"/>
            <ac:spMk id="368" creationId="{00000000-0000-0000-0000-000000000000}"/>
          </ac:spMkLst>
        </pc:spChg>
        <pc:picChg chg="add mod">
          <ac:chgData name="Deborah Walter" userId="c20ebd7f-c79a-41c5-a0bc-0c956912b773" providerId="ADAL" clId="{82ACE6A8-40CD-4D1C-B19B-F9933EE5F470}" dt="2024-05-13T15:16:01.512" v="582"/>
          <ac:picMkLst>
            <pc:docMk/>
            <pc:sldMk cId="0" sldId="279"/>
            <ac:picMk id="3" creationId="{98F2B8D1-D6AE-5029-B6DF-72C6260B6496}"/>
          </ac:picMkLst>
        </pc:picChg>
        <pc:picChg chg="del">
          <ac:chgData name="Deborah Walter" userId="c20ebd7f-c79a-41c5-a0bc-0c956912b773" providerId="ADAL" clId="{82ACE6A8-40CD-4D1C-B19B-F9933EE5F470}" dt="2024-05-13T15:15:21.978" v="569" actId="478"/>
          <ac:picMkLst>
            <pc:docMk/>
            <pc:sldMk cId="0" sldId="279"/>
            <ac:picMk id="360" creationId="{00000000-0000-0000-0000-000000000000}"/>
          </ac:picMkLst>
        </pc:picChg>
        <pc:picChg chg="mod">
          <ac:chgData name="Deborah Walter" userId="c20ebd7f-c79a-41c5-a0bc-0c956912b773" providerId="ADAL" clId="{82ACE6A8-40CD-4D1C-B19B-F9933EE5F470}" dt="2024-05-14T09:51:26.783" v="658" actId="1076"/>
          <ac:picMkLst>
            <pc:docMk/>
            <pc:sldMk cId="0" sldId="279"/>
            <ac:picMk id="363" creationId="{00000000-0000-0000-0000-000000000000}"/>
          </ac:picMkLst>
        </pc:picChg>
        <pc:picChg chg="del mod">
          <ac:chgData name="Deborah Walter" userId="c20ebd7f-c79a-41c5-a0bc-0c956912b773" providerId="ADAL" clId="{82ACE6A8-40CD-4D1C-B19B-F9933EE5F470}" dt="2024-05-13T15:08:57.513" v="458" actId="478"/>
          <ac:picMkLst>
            <pc:docMk/>
            <pc:sldMk cId="0" sldId="279"/>
            <ac:picMk id="364" creationId="{00000000-0000-0000-0000-000000000000}"/>
          </ac:picMkLst>
        </pc:picChg>
      </pc:sldChg>
      <pc:sldChg chg="addSp delSp modSp mod setBg">
        <pc:chgData name="Deborah Walter" userId="c20ebd7f-c79a-41c5-a0bc-0c956912b773" providerId="ADAL" clId="{82ACE6A8-40CD-4D1C-B19B-F9933EE5F470}" dt="2024-05-14T09:52:40.019" v="672" actId="14100"/>
        <pc:sldMkLst>
          <pc:docMk/>
          <pc:sldMk cId="0" sldId="280"/>
        </pc:sldMkLst>
        <pc:spChg chg="del">
          <ac:chgData name="Deborah Walter" userId="c20ebd7f-c79a-41c5-a0bc-0c956912b773" providerId="ADAL" clId="{82ACE6A8-40CD-4D1C-B19B-F9933EE5F470}" dt="2024-05-13T15:09:18.735" v="461" actId="478"/>
          <ac:spMkLst>
            <pc:docMk/>
            <pc:sldMk cId="0" sldId="280"/>
            <ac:spMk id="369" creationId="{00000000-0000-0000-0000-000000000000}"/>
          </ac:spMkLst>
        </pc:spChg>
        <pc:spChg chg="del">
          <ac:chgData name="Deborah Walter" userId="c20ebd7f-c79a-41c5-a0bc-0c956912b773" providerId="ADAL" clId="{82ACE6A8-40CD-4D1C-B19B-F9933EE5F470}" dt="2024-05-14T09:51:52.056" v="661" actId="478"/>
          <ac:spMkLst>
            <pc:docMk/>
            <pc:sldMk cId="0" sldId="280"/>
            <ac:spMk id="370" creationId="{00000000-0000-0000-0000-000000000000}"/>
          </ac:spMkLst>
        </pc:spChg>
        <pc:spChg chg="mod">
          <ac:chgData name="Deborah Walter" userId="c20ebd7f-c79a-41c5-a0bc-0c956912b773" providerId="ADAL" clId="{82ACE6A8-40CD-4D1C-B19B-F9933EE5F470}" dt="2024-05-14T09:51:40.150" v="659" actId="403"/>
          <ac:spMkLst>
            <pc:docMk/>
            <pc:sldMk cId="0" sldId="280"/>
            <ac:spMk id="373" creationId="{00000000-0000-0000-0000-000000000000}"/>
          </ac:spMkLst>
        </pc:spChg>
        <pc:spChg chg="mod">
          <ac:chgData name="Deborah Walter" userId="c20ebd7f-c79a-41c5-a0bc-0c956912b773" providerId="ADAL" clId="{82ACE6A8-40CD-4D1C-B19B-F9933EE5F470}" dt="2024-05-14T09:51:40.150" v="659" actId="403"/>
          <ac:spMkLst>
            <pc:docMk/>
            <pc:sldMk cId="0" sldId="280"/>
            <ac:spMk id="374" creationId="{00000000-0000-0000-0000-000000000000}"/>
          </ac:spMkLst>
        </pc:spChg>
        <pc:spChg chg="mod">
          <ac:chgData name="Deborah Walter" userId="c20ebd7f-c79a-41c5-a0bc-0c956912b773" providerId="ADAL" clId="{82ACE6A8-40CD-4D1C-B19B-F9933EE5F470}" dt="2024-05-14T09:51:40.150" v="659" actId="403"/>
          <ac:spMkLst>
            <pc:docMk/>
            <pc:sldMk cId="0" sldId="280"/>
            <ac:spMk id="375" creationId="{00000000-0000-0000-0000-000000000000}"/>
          </ac:spMkLst>
        </pc:spChg>
        <pc:spChg chg="mod">
          <ac:chgData name="Deborah Walter" userId="c20ebd7f-c79a-41c5-a0bc-0c956912b773" providerId="ADAL" clId="{82ACE6A8-40CD-4D1C-B19B-F9933EE5F470}" dt="2024-05-14T09:51:40.150" v="659" actId="403"/>
          <ac:spMkLst>
            <pc:docMk/>
            <pc:sldMk cId="0" sldId="280"/>
            <ac:spMk id="376" creationId="{00000000-0000-0000-0000-000000000000}"/>
          </ac:spMkLst>
        </pc:spChg>
        <pc:spChg chg="mod">
          <ac:chgData name="Deborah Walter" userId="c20ebd7f-c79a-41c5-a0bc-0c956912b773" providerId="ADAL" clId="{82ACE6A8-40CD-4D1C-B19B-F9933EE5F470}" dt="2024-05-14T09:51:40.150" v="659" actId="403"/>
          <ac:spMkLst>
            <pc:docMk/>
            <pc:sldMk cId="0" sldId="280"/>
            <ac:spMk id="377" creationId="{00000000-0000-0000-0000-000000000000}"/>
          </ac:spMkLst>
        </pc:spChg>
        <pc:spChg chg="mod">
          <ac:chgData name="Deborah Walter" userId="c20ebd7f-c79a-41c5-a0bc-0c956912b773" providerId="ADAL" clId="{82ACE6A8-40CD-4D1C-B19B-F9933EE5F470}" dt="2024-05-14T09:52:24.671" v="669" actId="14100"/>
          <ac:spMkLst>
            <pc:docMk/>
            <pc:sldMk cId="0" sldId="280"/>
            <ac:spMk id="378" creationId="{00000000-0000-0000-0000-000000000000}"/>
          </ac:spMkLst>
        </pc:spChg>
        <pc:spChg chg="mod">
          <ac:chgData name="Deborah Walter" userId="c20ebd7f-c79a-41c5-a0bc-0c956912b773" providerId="ADAL" clId="{82ACE6A8-40CD-4D1C-B19B-F9933EE5F470}" dt="2024-05-14T09:52:29.282" v="670" actId="1076"/>
          <ac:spMkLst>
            <pc:docMk/>
            <pc:sldMk cId="0" sldId="280"/>
            <ac:spMk id="379" creationId="{00000000-0000-0000-0000-000000000000}"/>
          </ac:spMkLst>
        </pc:spChg>
        <pc:spChg chg="mod">
          <ac:chgData name="Deborah Walter" userId="c20ebd7f-c79a-41c5-a0bc-0c956912b773" providerId="ADAL" clId="{82ACE6A8-40CD-4D1C-B19B-F9933EE5F470}" dt="2024-05-14T09:51:50.479" v="660" actId="1076"/>
          <ac:spMkLst>
            <pc:docMk/>
            <pc:sldMk cId="0" sldId="280"/>
            <ac:spMk id="380" creationId="{00000000-0000-0000-0000-000000000000}"/>
          </ac:spMkLst>
        </pc:spChg>
        <pc:spChg chg="mod">
          <ac:chgData name="Deborah Walter" userId="c20ebd7f-c79a-41c5-a0bc-0c956912b773" providerId="ADAL" clId="{82ACE6A8-40CD-4D1C-B19B-F9933EE5F470}" dt="2024-05-13T15:09:21.524" v="462" actId="207"/>
          <ac:spMkLst>
            <pc:docMk/>
            <pc:sldMk cId="0" sldId="280"/>
            <ac:spMk id="381" creationId="{00000000-0000-0000-0000-000000000000}"/>
          </ac:spMkLst>
        </pc:spChg>
        <pc:picChg chg="add mod">
          <ac:chgData name="Deborah Walter" userId="c20ebd7f-c79a-41c5-a0bc-0c956912b773" providerId="ADAL" clId="{82ACE6A8-40CD-4D1C-B19B-F9933EE5F470}" dt="2024-05-13T15:15:53.963" v="581"/>
          <ac:picMkLst>
            <pc:docMk/>
            <pc:sldMk cId="0" sldId="280"/>
            <ac:picMk id="2" creationId="{D26E730C-97CC-E6A7-CAB3-92BDD0381266}"/>
          </ac:picMkLst>
        </pc:picChg>
        <pc:picChg chg="del">
          <ac:chgData name="Deborah Walter" userId="c20ebd7f-c79a-41c5-a0bc-0c956912b773" providerId="ADAL" clId="{82ACE6A8-40CD-4D1C-B19B-F9933EE5F470}" dt="2024-05-13T15:15:24.614" v="570" actId="478"/>
          <ac:picMkLst>
            <pc:docMk/>
            <pc:sldMk cId="0" sldId="280"/>
            <ac:picMk id="371" creationId="{00000000-0000-0000-0000-000000000000}"/>
          </ac:picMkLst>
        </pc:picChg>
        <pc:picChg chg="mod">
          <ac:chgData name="Deborah Walter" userId="c20ebd7f-c79a-41c5-a0bc-0c956912b773" providerId="ADAL" clId="{82ACE6A8-40CD-4D1C-B19B-F9933EE5F470}" dt="2024-05-14T09:52:40.019" v="672" actId="14100"/>
          <ac:picMkLst>
            <pc:docMk/>
            <pc:sldMk cId="0" sldId="280"/>
            <ac:picMk id="372" creationId="{00000000-0000-0000-0000-000000000000}"/>
          </ac:picMkLst>
        </pc:picChg>
      </pc:sldChg>
      <pc:sldChg chg="addSp delSp modSp mod setBg">
        <pc:chgData name="Deborah Walter" userId="c20ebd7f-c79a-41c5-a0bc-0c956912b773" providerId="ADAL" clId="{82ACE6A8-40CD-4D1C-B19B-F9933EE5F470}" dt="2024-05-13T15:15:51.944" v="580"/>
        <pc:sldMkLst>
          <pc:docMk/>
          <pc:sldMk cId="0" sldId="281"/>
        </pc:sldMkLst>
        <pc:spChg chg="del">
          <ac:chgData name="Deborah Walter" userId="c20ebd7f-c79a-41c5-a0bc-0c956912b773" providerId="ADAL" clId="{82ACE6A8-40CD-4D1C-B19B-F9933EE5F470}" dt="2024-05-13T15:10:23.542" v="473" actId="478"/>
          <ac:spMkLst>
            <pc:docMk/>
            <pc:sldMk cId="0" sldId="281"/>
            <ac:spMk id="382" creationId="{00000000-0000-0000-0000-000000000000}"/>
          </ac:spMkLst>
        </pc:spChg>
        <pc:spChg chg="mod">
          <ac:chgData name="Deborah Walter" userId="c20ebd7f-c79a-41c5-a0bc-0c956912b773" providerId="ADAL" clId="{82ACE6A8-40CD-4D1C-B19B-F9933EE5F470}" dt="2024-05-13T15:10:34.800" v="478" actId="403"/>
          <ac:spMkLst>
            <pc:docMk/>
            <pc:sldMk cId="0" sldId="281"/>
            <ac:spMk id="384" creationId="{00000000-0000-0000-0000-000000000000}"/>
          </ac:spMkLst>
        </pc:spChg>
        <pc:spChg chg="mod">
          <ac:chgData name="Deborah Walter" userId="c20ebd7f-c79a-41c5-a0bc-0c956912b773" providerId="ADAL" clId="{82ACE6A8-40CD-4D1C-B19B-F9933EE5F470}" dt="2024-05-13T15:10:34.800" v="478" actId="403"/>
          <ac:spMkLst>
            <pc:docMk/>
            <pc:sldMk cId="0" sldId="281"/>
            <ac:spMk id="385" creationId="{00000000-0000-0000-0000-000000000000}"/>
          </ac:spMkLst>
        </pc:spChg>
        <pc:spChg chg="mod">
          <ac:chgData name="Deborah Walter" userId="c20ebd7f-c79a-41c5-a0bc-0c956912b773" providerId="ADAL" clId="{82ACE6A8-40CD-4D1C-B19B-F9933EE5F470}" dt="2024-05-13T15:10:34.800" v="478" actId="403"/>
          <ac:spMkLst>
            <pc:docMk/>
            <pc:sldMk cId="0" sldId="281"/>
            <ac:spMk id="386" creationId="{00000000-0000-0000-0000-000000000000}"/>
          </ac:spMkLst>
        </pc:spChg>
        <pc:spChg chg="mod">
          <ac:chgData name="Deborah Walter" userId="c20ebd7f-c79a-41c5-a0bc-0c956912b773" providerId="ADAL" clId="{82ACE6A8-40CD-4D1C-B19B-F9933EE5F470}" dt="2024-05-13T15:10:34.800" v="478" actId="403"/>
          <ac:spMkLst>
            <pc:docMk/>
            <pc:sldMk cId="0" sldId="281"/>
            <ac:spMk id="387" creationId="{00000000-0000-0000-0000-000000000000}"/>
          </ac:spMkLst>
        </pc:spChg>
        <pc:spChg chg="mod">
          <ac:chgData name="Deborah Walter" userId="c20ebd7f-c79a-41c5-a0bc-0c956912b773" providerId="ADAL" clId="{82ACE6A8-40CD-4D1C-B19B-F9933EE5F470}" dt="2024-05-13T15:10:34.800" v="478" actId="403"/>
          <ac:spMkLst>
            <pc:docMk/>
            <pc:sldMk cId="0" sldId="281"/>
            <ac:spMk id="388" creationId="{00000000-0000-0000-0000-000000000000}"/>
          </ac:spMkLst>
        </pc:spChg>
        <pc:spChg chg="mod">
          <ac:chgData name="Deborah Walter" userId="c20ebd7f-c79a-41c5-a0bc-0c956912b773" providerId="ADAL" clId="{82ACE6A8-40CD-4D1C-B19B-F9933EE5F470}" dt="2024-05-13T15:10:31.308" v="476" actId="403"/>
          <ac:spMkLst>
            <pc:docMk/>
            <pc:sldMk cId="0" sldId="281"/>
            <ac:spMk id="389" creationId="{00000000-0000-0000-0000-000000000000}"/>
          </ac:spMkLst>
        </pc:spChg>
        <pc:picChg chg="add mod">
          <ac:chgData name="Deborah Walter" userId="c20ebd7f-c79a-41c5-a0bc-0c956912b773" providerId="ADAL" clId="{82ACE6A8-40CD-4D1C-B19B-F9933EE5F470}" dt="2024-05-13T15:15:51.944" v="580"/>
          <ac:picMkLst>
            <pc:docMk/>
            <pc:sldMk cId="0" sldId="281"/>
            <ac:picMk id="2" creationId="{11279981-45A9-6BC8-40DC-9D99C65DD043}"/>
          </ac:picMkLst>
        </pc:picChg>
        <pc:picChg chg="del">
          <ac:chgData name="Deborah Walter" userId="c20ebd7f-c79a-41c5-a0bc-0c956912b773" providerId="ADAL" clId="{82ACE6A8-40CD-4D1C-B19B-F9933EE5F470}" dt="2024-05-13T15:15:28.580" v="571" actId="478"/>
          <ac:picMkLst>
            <pc:docMk/>
            <pc:sldMk cId="0" sldId="281"/>
            <ac:picMk id="383" creationId="{00000000-0000-0000-0000-000000000000}"/>
          </ac:picMkLst>
        </pc:picChg>
      </pc:sldChg>
      <pc:sldChg chg="addSp delSp modSp mod setBg">
        <pc:chgData name="Deborah Walter" userId="c20ebd7f-c79a-41c5-a0bc-0c956912b773" providerId="ADAL" clId="{82ACE6A8-40CD-4D1C-B19B-F9933EE5F470}" dt="2024-05-14T09:56:09.797" v="707" actId="1076"/>
        <pc:sldMkLst>
          <pc:docMk/>
          <pc:sldMk cId="0" sldId="282"/>
        </pc:sldMkLst>
        <pc:spChg chg="del">
          <ac:chgData name="Deborah Walter" userId="c20ebd7f-c79a-41c5-a0bc-0c956912b773" providerId="ADAL" clId="{82ACE6A8-40CD-4D1C-B19B-F9933EE5F470}" dt="2024-05-13T15:10:53.839" v="483" actId="478"/>
          <ac:spMkLst>
            <pc:docMk/>
            <pc:sldMk cId="0" sldId="282"/>
            <ac:spMk id="390" creationId="{00000000-0000-0000-0000-000000000000}"/>
          </ac:spMkLst>
        </pc:spChg>
        <pc:spChg chg="del">
          <ac:chgData name="Deborah Walter" userId="c20ebd7f-c79a-41c5-a0bc-0c956912b773" providerId="ADAL" clId="{82ACE6A8-40CD-4D1C-B19B-F9933EE5F470}" dt="2024-05-13T15:10:47.984" v="481" actId="478"/>
          <ac:spMkLst>
            <pc:docMk/>
            <pc:sldMk cId="0" sldId="282"/>
            <ac:spMk id="393" creationId="{00000000-0000-0000-0000-000000000000}"/>
          </ac:spMkLst>
        </pc:spChg>
        <pc:spChg chg="mod">
          <ac:chgData name="Deborah Walter" userId="c20ebd7f-c79a-41c5-a0bc-0c956912b773" providerId="ADAL" clId="{82ACE6A8-40CD-4D1C-B19B-F9933EE5F470}" dt="2024-05-13T15:10:50.865" v="482" actId="1076"/>
          <ac:spMkLst>
            <pc:docMk/>
            <pc:sldMk cId="0" sldId="282"/>
            <ac:spMk id="394" creationId="{00000000-0000-0000-0000-000000000000}"/>
          </ac:spMkLst>
        </pc:spChg>
        <pc:picChg chg="add mod">
          <ac:chgData name="Deborah Walter" userId="c20ebd7f-c79a-41c5-a0bc-0c956912b773" providerId="ADAL" clId="{82ACE6A8-40CD-4D1C-B19B-F9933EE5F470}" dt="2024-05-13T15:15:49.784" v="579"/>
          <ac:picMkLst>
            <pc:docMk/>
            <pc:sldMk cId="0" sldId="282"/>
            <ac:picMk id="2" creationId="{B97E1A90-D75C-3A04-46EA-63E0C642923D}"/>
          </ac:picMkLst>
        </pc:picChg>
        <pc:picChg chg="del">
          <ac:chgData name="Deborah Walter" userId="c20ebd7f-c79a-41c5-a0bc-0c956912b773" providerId="ADAL" clId="{82ACE6A8-40CD-4D1C-B19B-F9933EE5F470}" dt="2024-05-13T15:15:31.889" v="572" actId="478"/>
          <ac:picMkLst>
            <pc:docMk/>
            <pc:sldMk cId="0" sldId="282"/>
            <ac:picMk id="391" creationId="{00000000-0000-0000-0000-000000000000}"/>
          </ac:picMkLst>
        </pc:picChg>
        <pc:picChg chg="mod">
          <ac:chgData name="Deborah Walter" userId="c20ebd7f-c79a-41c5-a0bc-0c956912b773" providerId="ADAL" clId="{82ACE6A8-40CD-4D1C-B19B-F9933EE5F470}" dt="2024-05-14T09:56:09.797" v="707" actId="1076"/>
          <ac:picMkLst>
            <pc:docMk/>
            <pc:sldMk cId="0" sldId="282"/>
            <ac:picMk id="392" creationId="{00000000-0000-0000-0000-000000000000}"/>
          </ac:picMkLst>
        </pc:picChg>
      </pc:sldChg>
      <pc:sldChg chg="addSp delSp modSp mod setBg">
        <pc:chgData name="Deborah Walter" userId="c20ebd7f-c79a-41c5-a0bc-0c956912b773" providerId="ADAL" clId="{82ACE6A8-40CD-4D1C-B19B-F9933EE5F470}" dt="2024-05-14T09:56:12.799" v="708" actId="1076"/>
        <pc:sldMkLst>
          <pc:docMk/>
          <pc:sldMk cId="0" sldId="283"/>
        </pc:sldMkLst>
        <pc:spChg chg="del mod">
          <ac:chgData name="Deborah Walter" userId="c20ebd7f-c79a-41c5-a0bc-0c956912b773" providerId="ADAL" clId="{82ACE6A8-40CD-4D1C-B19B-F9933EE5F470}" dt="2024-05-13T15:11:04.367" v="487" actId="478"/>
          <ac:spMkLst>
            <pc:docMk/>
            <pc:sldMk cId="0" sldId="283"/>
            <ac:spMk id="395" creationId="{00000000-0000-0000-0000-000000000000}"/>
          </ac:spMkLst>
        </pc:spChg>
        <pc:spChg chg="del">
          <ac:chgData name="Deborah Walter" userId="c20ebd7f-c79a-41c5-a0bc-0c956912b773" providerId="ADAL" clId="{82ACE6A8-40CD-4D1C-B19B-F9933EE5F470}" dt="2024-05-13T15:11:06.476" v="488" actId="478"/>
          <ac:spMkLst>
            <pc:docMk/>
            <pc:sldMk cId="0" sldId="283"/>
            <ac:spMk id="398" creationId="{00000000-0000-0000-0000-000000000000}"/>
          </ac:spMkLst>
        </pc:spChg>
        <pc:spChg chg="mod">
          <ac:chgData name="Deborah Walter" userId="c20ebd7f-c79a-41c5-a0bc-0c956912b773" providerId="ADAL" clId="{82ACE6A8-40CD-4D1C-B19B-F9933EE5F470}" dt="2024-05-13T15:11:20.414" v="489" actId="1076"/>
          <ac:spMkLst>
            <pc:docMk/>
            <pc:sldMk cId="0" sldId="283"/>
            <ac:spMk id="399" creationId="{00000000-0000-0000-0000-000000000000}"/>
          </ac:spMkLst>
        </pc:spChg>
        <pc:picChg chg="add mod">
          <ac:chgData name="Deborah Walter" userId="c20ebd7f-c79a-41c5-a0bc-0c956912b773" providerId="ADAL" clId="{82ACE6A8-40CD-4D1C-B19B-F9933EE5F470}" dt="2024-05-13T15:15:48.157" v="578"/>
          <ac:picMkLst>
            <pc:docMk/>
            <pc:sldMk cId="0" sldId="283"/>
            <ac:picMk id="2" creationId="{340FB4D4-3AE7-BB9D-F91C-7EAE223F59A9}"/>
          </ac:picMkLst>
        </pc:picChg>
        <pc:picChg chg="del">
          <ac:chgData name="Deborah Walter" userId="c20ebd7f-c79a-41c5-a0bc-0c956912b773" providerId="ADAL" clId="{82ACE6A8-40CD-4D1C-B19B-F9933EE5F470}" dt="2024-05-13T15:15:34.225" v="573" actId="478"/>
          <ac:picMkLst>
            <pc:docMk/>
            <pc:sldMk cId="0" sldId="283"/>
            <ac:picMk id="396" creationId="{00000000-0000-0000-0000-000000000000}"/>
          </ac:picMkLst>
        </pc:picChg>
        <pc:picChg chg="mod">
          <ac:chgData name="Deborah Walter" userId="c20ebd7f-c79a-41c5-a0bc-0c956912b773" providerId="ADAL" clId="{82ACE6A8-40CD-4D1C-B19B-F9933EE5F470}" dt="2024-05-14T09:56:12.799" v="708" actId="1076"/>
          <ac:picMkLst>
            <pc:docMk/>
            <pc:sldMk cId="0" sldId="283"/>
            <ac:picMk id="397" creationId="{00000000-0000-0000-0000-000000000000}"/>
          </ac:picMkLst>
        </pc:picChg>
      </pc:sldChg>
      <pc:sldChg chg="addSp delSp modSp mod setBg">
        <pc:chgData name="Deborah Walter" userId="c20ebd7f-c79a-41c5-a0bc-0c956912b773" providerId="ADAL" clId="{82ACE6A8-40CD-4D1C-B19B-F9933EE5F470}" dt="2024-05-14T09:56:27.818" v="714" actId="1036"/>
        <pc:sldMkLst>
          <pc:docMk/>
          <pc:sldMk cId="0" sldId="284"/>
        </pc:sldMkLst>
        <pc:spChg chg="add mod">
          <ac:chgData name="Deborah Walter" userId="c20ebd7f-c79a-41c5-a0bc-0c956912b773" providerId="ADAL" clId="{82ACE6A8-40CD-4D1C-B19B-F9933EE5F470}" dt="2024-05-14T09:56:27.818" v="714" actId="1036"/>
          <ac:spMkLst>
            <pc:docMk/>
            <pc:sldMk cId="0" sldId="284"/>
            <ac:spMk id="2" creationId="{A1371FFD-29D9-97F2-EC8C-8233AA2384EE}"/>
          </ac:spMkLst>
        </pc:spChg>
        <pc:spChg chg="del mod">
          <ac:chgData name="Deborah Walter" userId="c20ebd7f-c79a-41c5-a0bc-0c956912b773" providerId="ADAL" clId="{82ACE6A8-40CD-4D1C-B19B-F9933EE5F470}" dt="2024-05-13T15:11:34.174" v="493" actId="478"/>
          <ac:spMkLst>
            <pc:docMk/>
            <pc:sldMk cId="0" sldId="284"/>
            <ac:spMk id="400" creationId="{00000000-0000-0000-0000-000000000000}"/>
          </ac:spMkLst>
        </pc:spChg>
        <pc:spChg chg="del">
          <ac:chgData name="Deborah Walter" userId="c20ebd7f-c79a-41c5-a0bc-0c956912b773" providerId="ADAL" clId="{82ACE6A8-40CD-4D1C-B19B-F9933EE5F470}" dt="2024-05-13T15:13:16.173" v="535" actId="478"/>
          <ac:spMkLst>
            <pc:docMk/>
            <pc:sldMk cId="0" sldId="284"/>
            <ac:spMk id="402" creationId="{00000000-0000-0000-0000-000000000000}"/>
          </ac:spMkLst>
        </pc:spChg>
        <pc:spChg chg="mod">
          <ac:chgData name="Deborah Walter" userId="c20ebd7f-c79a-41c5-a0bc-0c956912b773" providerId="ADAL" clId="{82ACE6A8-40CD-4D1C-B19B-F9933EE5F470}" dt="2024-05-14T09:56:27.818" v="714" actId="1036"/>
          <ac:spMkLst>
            <pc:docMk/>
            <pc:sldMk cId="0" sldId="284"/>
            <ac:spMk id="403" creationId="{00000000-0000-0000-0000-000000000000}"/>
          </ac:spMkLst>
        </pc:spChg>
        <pc:spChg chg="del">
          <ac:chgData name="Deborah Walter" userId="c20ebd7f-c79a-41c5-a0bc-0c956912b773" providerId="ADAL" clId="{82ACE6A8-40CD-4D1C-B19B-F9933EE5F470}" dt="2024-05-13T15:11:37.024" v="494" actId="478"/>
          <ac:spMkLst>
            <pc:docMk/>
            <pc:sldMk cId="0" sldId="284"/>
            <ac:spMk id="405" creationId="{00000000-0000-0000-0000-000000000000}"/>
          </ac:spMkLst>
        </pc:spChg>
        <pc:spChg chg="mod">
          <ac:chgData name="Deborah Walter" userId="c20ebd7f-c79a-41c5-a0bc-0c956912b773" providerId="ADAL" clId="{82ACE6A8-40CD-4D1C-B19B-F9933EE5F470}" dt="2024-05-14T09:56:27.818" v="714" actId="1036"/>
          <ac:spMkLst>
            <pc:docMk/>
            <pc:sldMk cId="0" sldId="284"/>
            <ac:spMk id="407" creationId="{00000000-0000-0000-0000-000000000000}"/>
          </ac:spMkLst>
        </pc:spChg>
        <pc:spChg chg="mod">
          <ac:chgData name="Deborah Walter" userId="c20ebd7f-c79a-41c5-a0bc-0c956912b773" providerId="ADAL" clId="{82ACE6A8-40CD-4D1C-B19B-F9933EE5F470}" dt="2024-05-14T09:56:27.818" v="714" actId="1036"/>
          <ac:spMkLst>
            <pc:docMk/>
            <pc:sldMk cId="0" sldId="284"/>
            <ac:spMk id="408" creationId="{00000000-0000-0000-0000-000000000000}"/>
          </ac:spMkLst>
        </pc:spChg>
        <pc:spChg chg="mod">
          <ac:chgData name="Deborah Walter" userId="c20ebd7f-c79a-41c5-a0bc-0c956912b773" providerId="ADAL" clId="{82ACE6A8-40CD-4D1C-B19B-F9933EE5F470}" dt="2024-05-13T15:11:31.998" v="491" actId="1076"/>
          <ac:spMkLst>
            <pc:docMk/>
            <pc:sldMk cId="0" sldId="284"/>
            <ac:spMk id="409" creationId="{00000000-0000-0000-0000-000000000000}"/>
          </ac:spMkLst>
        </pc:spChg>
        <pc:picChg chg="add mod">
          <ac:chgData name="Deborah Walter" userId="c20ebd7f-c79a-41c5-a0bc-0c956912b773" providerId="ADAL" clId="{82ACE6A8-40CD-4D1C-B19B-F9933EE5F470}" dt="2024-05-13T15:15:46.284" v="577"/>
          <ac:picMkLst>
            <pc:docMk/>
            <pc:sldMk cId="0" sldId="284"/>
            <ac:picMk id="3" creationId="{509225BE-DCB3-8D6F-4E90-D63425CA52C4}"/>
          </ac:picMkLst>
        </pc:picChg>
        <pc:picChg chg="del">
          <ac:chgData name="Deborah Walter" userId="c20ebd7f-c79a-41c5-a0bc-0c956912b773" providerId="ADAL" clId="{82ACE6A8-40CD-4D1C-B19B-F9933EE5F470}" dt="2024-05-13T15:15:37.438" v="574" actId="478"/>
          <ac:picMkLst>
            <pc:docMk/>
            <pc:sldMk cId="0" sldId="284"/>
            <ac:picMk id="401" creationId="{00000000-0000-0000-0000-000000000000}"/>
          </ac:picMkLst>
        </pc:picChg>
        <pc:picChg chg="mod">
          <ac:chgData name="Deborah Walter" userId="c20ebd7f-c79a-41c5-a0bc-0c956912b773" providerId="ADAL" clId="{82ACE6A8-40CD-4D1C-B19B-F9933EE5F470}" dt="2024-05-14T09:56:23.298" v="709" actId="1076"/>
          <ac:picMkLst>
            <pc:docMk/>
            <pc:sldMk cId="0" sldId="284"/>
            <ac:picMk id="404" creationId="{00000000-0000-0000-0000-000000000000}"/>
          </ac:picMkLst>
        </pc:picChg>
        <pc:picChg chg="del mod">
          <ac:chgData name="Deborah Walter" userId="c20ebd7f-c79a-41c5-a0bc-0c956912b773" providerId="ADAL" clId="{82ACE6A8-40CD-4D1C-B19B-F9933EE5F470}" dt="2024-05-13T15:13:06.165" v="533" actId="478"/>
          <ac:picMkLst>
            <pc:docMk/>
            <pc:sldMk cId="0" sldId="284"/>
            <ac:picMk id="406" creationId="{00000000-0000-0000-0000-000000000000}"/>
          </ac:picMkLst>
        </pc:picChg>
      </pc:sldChg>
      <pc:sldChg chg="addSp delSp modSp mod setBg">
        <pc:chgData name="Deborah Walter" userId="c20ebd7f-c79a-41c5-a0bc-0c956912b773" providerId="ADAL" clId="{82ACE6A8-40CD-4D1C-B19B-F9933EE5F470}" dt="2024-05-14T09:56:42.328" v="715" actId="122"/>
        <pc:sldMkLst>
          <pc:docMk/>
          <pc:sldMk cId="0" sldId="285"/>
        </pc:sldMkLst>
        <pc:spChg chg="del">
          <ac:chgData name="Deborah Walter" userId="c20ebd7f-c79a-41c5-a0bc-0c956912b773" providerId="ADAL" clId="{82ACE6A8-40CD-4D1C-B19B-F9933EE5F470}" dt="2024-05-13T15:13:28.323" v="538" actId="478"/>
          <ac:spMkLst>
            <pc:docMk/>
            <pc:sldMk cId="0" sldId="285"/>
            <ac:spMk id="410" creationId="{00000000-0000-0000-0000-000000000000}"/>
          </ac:spMkLst>
        </pc:spChg>
        <pc:spChg chg="mod">
          <ac:chgData name="Deborah Walter" userId="c20ebd7f-c79a-41c5-a0bc-0c956912b773" providerId="ADAL" clId="{82ACE6A8-40CD-4D1C-B19B-F9933EE5F470}" dt="2024-05-14T09:56:42.328" v="715" actId="122"/>
          <ac:spMkLst>
            <pc:docMk/>
            <pc:sldMk cId="0" sldId="285"/>
            <ac:spMk id="412" creationId="{00000000-0000-0000-0000-000000000000}"/>
          </ac:spMkLst>
        </pc:spChg>
        <pc:picChg chg="add mod">
          <ac:chgData name="Deborah Walter" userId="c20ebd7f-c79a-41c5-a0bc-0c956912b773" providerId="ADAL" clId="{82ACE6A8-40CD-4D1C-B19B-F9933EE5F470}" dt="2024-05-13T15:15:43.468" v="576"/>
          <ac:picMkLst>
            <pc:docMk/>
            <pc:sldMk cId="0" sldId="285"/>
            <ac:picMk id="2" creationId="{82FB9B05-0F9F-F4F2-E52F-26AE3E212999}"/>
          </ac:picMkLst>
        </pc:picChg>
        <pc:picChg chg="del">
          <ac:chgData name="Deborah Walter" userId="c20ebd7f-c79a-41c5-a0bc-0c956912b773" providerId="ADAL" clId="{82ACE6A8-40CD-4D1C-B19B-F9933EE5F470}" dt="2024-05-13T15:15:40.594" v="575" actId="478"/>
          <ac:picMkLst>
            <pc:docMk/>
            <pc:sldMk cId="0" sldId="285"/>
            <ac:picMk id="411" creationId="{00000000-0000-0000-0000-000000000000}"/>
          </ac:picMkLst>
        </pc:picChg>
      </pc:sldChg>
      <pc:sldChg chg="addSp delSp modSp mod setBg">
        <pc:chgData name="Deborah Walter" userId="c20ebd7f-c79a-41c5-a0bc-0c956912b773" providerId="ADAL" clId="{82ACE6A8-40CD-4D1C-B19B-F9933EE5F470}" dt="2024-05-13T15:14:04.255" v="546" actId="1076"/>
        <pc:sldMkLst>
          <pc:docMk/>
          <pc:sldMk cId="0" sldId="286"/>
        </pc:sldMkLst>
        <pc:spChg chg="del">
          <ac:chgData name="Deborah Walter" userId="c20ebd7f-c79a-41c5-a0bc-0c956912b773" providerId="ADAL" clId="{82ACE6A8-40CD-4D1C-B19B-F9933EE5F470}" dt="2024-05-13T15:13:42.409" v="541" actId="478"/>
          <ac:spMkLst>
            <pc:docMk/>
            <pc:sldMk cId="0" sldId="286"/>
            <ac:spMk id="414" creationId="{00000000-0000-0000-0000-000000000000}"/>
          </ac:spMkLst>
        </pc:spChg>
        <pc:spChg chg="mod">
          <ac:chgData name="Deborah Walter" userId="c20ebd7f-c79a-41c5-a0bc-0c956912b773" providerId="ADAL" clId="{82ACE6A8-40CD-4D1C-B19B-F9933EE5F470}" dt="2024-05-13T15:13:39.898" v="540" actId="207"/>
          <ac:spMkLst>
            <pc:docMk/>
            <pc:sldMk cId="0" sldId="286"/>
            <ac:spMk id="419" creationId="{00000000-0000-0000-0000-000000000000}"/>
          </ac:spMkLst>
        </pc:spChg>
        <pc:picChg chg="add mod">
          <ac:chgData name="Deborah Walter" userId="c20ebd7f-c79a-41c5-a0bc-0c956912b773" providerId="ADAL" clId="{82ACE6A8-40CD-4D1C-B19B-F9933EE5F470}" dt="2024-05-13T15:14:04.255" v="546" actId="1076"/>
          <ac:picMkLst>
            <pc:docMk/>
            <pc:sldMk cId="0" sldId="286"/>
            <ac:picMk id="2" creationId="{F33D4EA8-712B-E321-7B8D-FE453BD3164E}"/>
          </ac:picMkLst>
        </pc:picChg>
        <pc:picChg chg="del">
          <ac:chgData name="Deborah Walter" userId="c20ebd7f-c79a-41c5-a0bc-0c956912b773" providerId="ADAL" clId="{82ACE6A8-40CD-4D1C-B19B-F9933EE5F470}" dt="2024-05-13T15:13:48.053" v="543" actId="478"/>
          <ac:picMkLst>
            <pc:docMk/>
            <pc:sldMk cId="0" sldId="286"/>
            <ac:picMk id="415" creationId="{00000000-0000-0000-0000-000000000000}"/>
          </ac:picMkLst>
        </pc:picChg>
      </pc:sldChg>
      <pc:sldChg chg="delSp modSp mod">
        <pc:chgData name="Deborah Walter" userId="c20ebd7f-c79a-41c5-a0bc-0c956912b773" providerId="ADAL" clId="{82ACE6A8-40CD-4D1C-B19B-F9933EE5F470}" dt="2024-05-21T17:39:29.107" v="1350" actId="20577"/>
        <pc:sldMkLst>
          <pc:docMk/>
          <pc:sldMk cId="2495539921" sldId="305"/>
        </pc:sldMkLst>
        <pc:spChg chg="del">
          <ac:chgData name="Deborah Walter" userId="c20ebd7f-c79a-41c5-a0bc-0c956912b773" providerId="ADAL" clId="{82ACE6A8-40CD-4D1C-B19B-F9933EE5F470}" dt="2024-05-14T09:46:35.480" v="630" actId="478"/>
          <ac:spMkLst>
            <pc:docMk/>
            <pc:sldMk cId="2495539921" sldId="305"/>
            <ac:spMk id="3" creationId="{00000000-0000-0000-0000-000000000000}"/>
          </ac:spMkLst>
        </pc:spChg>
        <pc:spChg chg="del">
          <ac:chgData name="Deborah Walter" userId="c20ebd7f-c79a-41c5-a0bc-0c956912b773" providerId="ADAL" clId="{82ACE6A8-40CD-4D1C-B19B-F9933EE5F470}" dt="2024-05-14T09:46:35.480" v="630" actId="478"/>
          <ac:spMkLst>
            <pc:docMk/>
            <pc:sldMk cId="2495539921" sldId="305"/>
            <ac:spMk id="10" creationId="{00000000-0000-0000-0000-000000000000}"/>
          </ac:spMkLst>
        </pc:spChg>
        <pc:spChg chg="del">
          <ac:chgData name="Deborah Walter" userId="c20ebd7f-c79a-41c5-a0bc-0c956912b773" providerId="ADAL" clId="{82ACE6A8-40CD-4D1C-B19B-F9933EE5F470}" dt="2024-05-14T09:46:35.480" v="630" actId="478"/>
          <ac:spMkLst>
            <pc:docMk/>
            <pc:sldMk cId="2495539921" sldId="305"/>
            <ac:spMk id="17" creationId="{408E489A-17A0-A48F-3360-B60A264A165B}"/>
          </ac:spMkLst>
        </pc:spChg>
        <pc:graphicFrameChg chg="mod modGraphic">
          <ac:chgData name="Deborah Walter" userId="c20ebd7f-c79a-41c5-a0bc-0c956912b773" providerId="ADAL" clId="{82ACE6A8-40CD-4D1C-B19B-F9933EE5F470}" dt="2024-05-21T17:39:29.107" v="1350" actId="20577"/>
          <ac:graphicFrameMkLst>
            <pc:docMk/>
            <pc:sldMk cId="2495539921" sldId="305"/>
            <ac:graphicFrameMk id="4" creationId="{C829524B-B9D3-4213-99F8-8AAEA20A4311}"/>
          </ac:graphicFrameMkLst>
        </pc:graphicFrameChg>
      </pc:sldChg>
      <pc:sldChg chg="modSp mod">
        <pc:chgData name="Deborah Walter" userId="c20ebd7f-c79a-41c5-a0bc-0c956912b773" providerId="ADAL" clId="{82ACE6A8-40CD-4D1C-B19B-F9933EE5F470}" dt="2024-05-14T09:46:23.757" v="629" actId="20577"/>
        <pc:sldMkLst>
          <pc:docMk/>
          <pc:sldMk cId="3706603809" sldId="309"/>
        </pc:sldMkLst>
        <pc:spChg chg="mod">
          <ac:chgData name="Deborah Walter" userId="c20ebd7f-c79a-41c5-a0bc-0c956912b773" providerId="ADAL" clId="{82ACE6A8-40CD-4D1C-B19B-F9933EE5F470}" dt="2024-05-14T09:46:23.757" v="629" actId="20577"/>
          <ac:spMkLst>
            <pc:docMk/>
            <pc:sldMk cId="3706603809" sldId="309"/>
            <ac:spMk id="17" creationId="{00000000-0000-0000-0000-000000000000}"/>
          </ac:spMkLst>
        </pc:spChg>
      </pc:sldChg>
      <pc:sldChg chg="modSp mod">
        <pc:chgData name="Deborah Walter" userId="c20ebd7f-c79a-41c5-a0bc-0c956912b773" providerId="ADAL" clId="{82ACE6A8-40CD-4D1C-B19B-F9933EE5F470}" dt="2024-05-22T07:39:34.360" v="2210" actId="20577"/>
        <pc:sldMkLst>
          <pc:docMk/>
          <pc:sldMk cId="4100055633" sldId="602"/>
        </pc:sldMkLst>
        <pc:spChg chg="mod">
          <ac:chgData name="Deborah Walter" userId="c20ebd7f-c79a-41c5-a0bc-0c956912b773" providerId="ADAL" clId="{82ACE6A8-40CD-4D1C-B19B-F9933EE5F470}" dt="2024-05-21T17:37:57.244" v="1315" actId="20577"/>
          <ac:spMkLst>
            <pc:docMk/>
            <pc:sldMk cId="4100055633" sldId="602"/>
            <ac:spMk id="14" creationId="{60682AB7-02B8-47BB-BB6A-84CBB31B0CC8}"/>
          </ac:spMkLst>
        </pc:spChg>
        <pc:spChg chg="mod">
          <ac:chgData name="Deborah Walter" userId="c20ebd7f-c79a-41c5-a0bc-0c956912b773" providerId="ADAL" clId="{82ACE6A8-40CD-4D1C-B19B-F9933EE5F470}" dt="2024-05-22T07:39:34.360" v="2210" actId="20577"/>
          <ac:spMkLst>
            <pc:docMk/>
            <pc:sldMk cId="4100055633" sldId="602"/>
            <ac:spMk id="19" creationId="{3A33F663-F2F4-460C-ADEB-92EB37B2506B}"/>
          </ac:spMkLst>
        </pc:spChg>
      </pc:sldChg>
      <pc:sldChg chg="addSp delSp modSp del mod">
        <pc:chgData name="Deborah Walter" userId="c20ebd7f-c79a-41c5-a0bc-0c956912b773" providerId="ADAL" clId="{82ACE6A8-40CD-4D1C-B19B-F9933EE5F470}" dt="2024-05-21T17:05:56.715" v="1200" actId="2696"/>
        <pc:sldMkLst>
          <pc:docMk/>
          <pc:sldMk cId="4014942499" sldId="2145706697"/>
        </pc:sldMkLst>
        <pc:spChg chg="mod topLvl">
          <ac:chgData name="Deborah Walter" userId="c20ebd7f-c79a-41c5-a0bc-0c956912b773" providerId="ADAL" clId="{82ACE6A8-40CD-4D1C-B19B-F9933EE5F470}" dt="2024-05-21T16:38:42.049" v="1163" actId="165"/>
          <ac:spMkLst>
            <pc:docMk/>
            <pc:sldMk cId="4014942499" sldId="2145706697"/>
            <ac:spMk id="7" creationId="{670FA821-B95B-ECFC-30D0-8001434FA9AE}"/>
          </ac:spMkLst>
        </pc:spChg>
        <pc:spChg chg="mod topLvl">
          <ac:chgData name="Deborah Walter" userId="c20ebd7f-c79a-41c5-a0bc-0c956912b773" providerId="ADAL" clId="{82ACE6A8-40CD-4D1C-B19B-F9933EE5F470}" dt="2024-05-21T16:38:42.049" v="1163" actId="165"/>
          <ac:spMkLst>
            <pc:docMk/>
            <pc:sldMk cId="4014942499" sldId="2145706697"/>
            <ac:spMk id="8" creationId="{C6FCB68A-4428-38F2-7E34-50F9D6FC5A3A}"/>
          </ac:spMkLst>
        </pc:spChg>
        <pc:spChg chg="mod topLvl">
          <ac:chgData name="Deborah Walter" userId="c20ebd7f-c79a-41c5-a0bc-0c956912b773" providerId="ADAL" clId="{82ACE6A8-40CD-4D1C-B19B-F9933EE5F470}" dt="2024-05-21T16:38:42.049" v="1163" actId="165"/>
          <ac:spMkLst>
            <pc:docMk/>
            <pc:sldMk cId="4014942499" sldId="2145706697"/>
            <ac:spMk id="9" creationId="{D9F2DD5C-4176-AF90-6E6F-696927D825A2}"/>
          </ac:spMkLst>
        </pc:spChg>
        <pc:spChg chg="mod topLvl">
          <ac:chgData name="Deborah Walter" userId="c20ebd7f-c79a-41c5-a0bc-0c956912b773" providerId="ADAL" clId="{82ACE6A8-40CD-4D1C-B19B-F9933EE5F470}" dt="2024-05-21T16:38:42.049" v="1163" actId="165"/>
          <ac:spMkLst>
            <pc:docMk/>
            <pc:sldMk cId="4014942499" sldId="2145706697"/>
            <ac:spMk id="18" creationId="{0CFC7E56-D369-39B9-5923-72066F7D4AA2}"/>
          </ac:spMkLst>
        </pc:spChg>
        <pc:spChg chg="mod topLvl">
          <ac:chgData name="Deborah Walter" userId="c20ebd7f-c79a-41c5-a0bc-0c956912b773" providerId="ADAL" clId="{82ACE6A8-40CD-4D1C-B19B-F9933EE5F470}" dt="2024-05-21T16:38:42.049" v="1163" actId="165"/>
          <ac:spMkLst>
            <pc:docMk/>
            <pc:sldMk cId="4014942499" sldId="2145706697"/>
            <ac:spMk id="20" creationId="{43196D6D-527B-40FE-C400-4A9C690959DA}"/>
          </ac:spMkLst>
        </pc:spChg>
        <pc:spChg chg="mod topLvl">
          <ac:chgData name="Deborah Walter" userId="c20ebd7f-c79a-41c5-a0bc-0c956912b773" providerId="ADAL" clId="{82ACE6A8-40CD-4D1C-B19B-F9933EE5F470}" dt="2024-05-21T16:38:42.049" v="1163" actId="165"/>
          <ac:spMkLst>
            <pc:docMk/>
            <pc:sldMk cId="4014942499" sldId="2145706697"/>
            <ac:spMk id="21" creationId="{AF7106C0-C80F-6AE5-3878-350B97B2F5A7}"/>
          </ac:spMkLst>
        </pc:spChg>
        <pc:spChg chg="mod">
          <ac:chgData name="Deborah Walter" userId="c20ebd7f-c79a-41c5-a0bc-0c956912b773" providerId="ADAL" clId="{82ACE6A8-40CD-4D1C-B19B-F9933EE5F470}" dt="2024-05-21T16:37:06.708" v="1145" actId="571"/>
          <ac:spMkLst>
            <pc:docMk/>
            <pc:sldMk cId="4014942499" sldId="2145706697"/>
            <ac:spMk id="33" creationId="{DFA9D969-4983-E966-2B5D-8D271D11B44D}"/>
          </ac:spMkLst>
        </pc:spChg>
        <pc:spChg chg="mod">
          <ac:chgData name="Deborah Walter" userId="c20ebd7f-c79a-41c5-a0bc-0c956912b773" providerId="ADAL" clId="{82ACE6A8-40CD-4D1C-B19B-F9933EE5F470}" dt="2024-05-21T16:37:06.708" v="1145" actId="571"/>
          <ac:spMkLst>
            <pc:docMk/>
            <pc:sldMk cId="4014942499" sldId="2145706697"/>
            <ac:spMk id="34" creationId="{9749AD2A-AD85-5F0D-2064-BF6577C9155C}"/>
          </ac:spMkLst>
        </pc:spChg>
        <pc:spChg chg="mod">
          <ac:chgData name="Deborah Walter" userId="c20ebd7f-c79a-41c5-a0bc-0c956912b773" providerId="ADAL" clId="{82ACE6A8-40CD-4D1C-B19B-F9933EE5F470}" dt="2024-05-21T16:37:06.708" v="1145" actId="571"/>
          <ac:spMkLst>
            <pc:docMk/>
            <pc:sldMk cId="4014942499" sldId="2145706697"/>
            <ac:spMk id="35" creationId="{6EF211EA-0936-54F5-A9CF-016DF8A0FEB3}"/>
          </ac:spMkLst>
        </pc:spChg>
        <pc:spChg chg="mod">
          <ac:chgData name="Deborah Walter" userId="c20ebd7f-c79a-41c5-a0bc-0c956912b773" providerId="ADAL" clId="{82ACE6A8-40CD-4D1C-B19B-F9933EE5F470}" dt="2024-05-21T16:37:06.708" v="1145" actId="571"/>
          <ac:spMkLst>
            <pc:docMk/>
            <pc:sldMk cId="4014942499" sldId="2145706697"/>
            <ac:spMk id="36" creationId="{8228EF6E-A440-56A8-2BB2-8DBA8A5FBEDA}"/>
          </ac:spMkLst>
        </pc:spChg>
        <pc:spChg chg="mod">
          <ac:chgData name="Deborah Walter" userId="c20ebd7f-c79a-41c5-a0bc-0c956912b773" providerId="ADAL" clId="{82ACE6A8-40CD-4D1C-B19B-F9933EE5F470}" dt="2024-05-21T16:37:06.708" v="1145" actId="571"/>
          <ac:spMkLst>
            <pc:docMk/>
            <pc:sldMk cId="4014942499" sldId="2145706697"/>
            <ac:spMk id="37" creationId="{D658AD80-F76E-B0CF-ED3D-E927A1860834}"/>
          </ac:spMkLst>
        </pc:spChg>
        <pc:spChg chg="mod">
          <ac:chgData name="Deborah Walter" userId="c20ebd7f-c79a-41c5-a0bc-0c956912b773" providerId="ADAL" clId="{82ACE6A8-40CD-4D1C-B19B-F9933EE5F470}" dt="2024-05-21T16:37:06.708" v="1145" actId="571"/>
          <ac:spMkLst>
            <pc:docMk/>
            <pc:sldMk cId="4014942499" sldId="2145706697"/>
            <ac:spMk id="38" creationId="{BBA54168-FC13-01FF-FD1B-5F31E3E41CBA}"/>
          </ac:spMkLst>
        </pc:spChg>
        <pc:spChg chg="mod">
          <ac:chgData name="Deborah Walter" userId="c20ebd7f-c79a-41c5-a0bc-0c956912b773" providerId="ADAL" clId="{82ACE6A8-40CD-4D1C-B19B-F9933EE5F470}" dt="2024-05-21T16:37:06.708" v="1145" actId="571"/>
          <ac:spMkLst>
            <pc:docMk/>
            <pc:sldMk cId="4014942499" sldId="2145706697"/>
            <ac:spMk id="39" creationId="{F4513FFC-0AEF-BA24-A683-66958ED2CBB7}"/>
          </ac:spMkLst>
        </pc:spChg>
        <pc:spChg chg="mod">
          <ac:chgData name="Deborah Walter" userId="c20ebd7f-c79a-41c5-a0bc-0c956912b773" providerId="ADAL" clId="{82ACE6A8-40CD-4D1C-B19B-F9933EE5F470}" dt="2024-05-21T16:37:06.708" v="1145" actId="571"/>
          <ac:spMkLst>
            <pc:docMk/>
            <pc:sldMk cId="4014942499" sldId="2145706697"/>
            <ac:spMk id="40" creationId="{63C9CE16-D563-5BF9-B916-F47B21A2805C}"/>
          </ac:spMkLst>
        </pc:spChg>
        <pc:spChg chg="mod">
          <ac:chgData name="Deborah Walter" userId="c20ebd7f-c79a-41c5-a0bc-0c956912b773" providerId="ADAL" clId="{82ACE6A8-40CD-4D1C-B19B-F9933EE5F470}" dt="2024-05-21T16:37:06.708" v="1145" actId="571"/>
          <ac:spMkLst>
            <pc:docMk/>
            <pc:sldMk cId="4014942499" sldId="2145706697"/>
            <ac:spMk id="41" creationId="{53DD8AC6-F566-D05C-6660-C62C79977CD1}"/>
          </ac:spMkLst>
        </pc:spChg>
        <pc:spChg chg="mod">
          <ac:chgData name="Deborah Walter" userId="c20ebd7f-c79a-41c5-a0bc-0c956912b773" providerId="ADAL" clId="{82ACE6A8-40CD-4D1C-B19B-F9933EE5F470}" dt="2024-05-21T16:37:06.708" v="1145" actId="571"/>
          <ac:spMkLst>
            <pc:docMk/>
            <pc:sldMk cId="4014942499" sldId="2145706697"/>
            <ac:spMk id="42" creationId="{19B7177E-E725-AEAE-C5BF-7E0D5C01C84A}"/>
          </ac:spMkLst>
        </pc:spChg>
        <pc:spChg chg="mod">
          <ac:chgData name="Deborah Walter" userId="c20ebd7f-c79a-41c5-a0bc-0c956912b773" providerId="ADAL" clId="{82ACE6A8-40CD-4D1C-B19B-F9933EE5F470}" dt="2024-05-21T16:37:06.708" v="1145" actId="571"/>
          <ac:spMkLst>
            <pc:docMk/>
            <pc:sldMk cId="4014942499" sldId="2145706697"/>
            <ac:spMk id="43" creationId="{1A316055-150F-0476-59DE-E7D634E7122F}"/>
          </ac:spMkLst>
        </pc:spChg>
        <pc:spChg chg="mod">
          <ac:chgData name="Deborah Walter" userId="c20ebd7f-c79a-41c5-a0bc-0c956912b773" providerId="ADAL" clId="{82ACE6A8-40CD-4D1C-B19B-F9933EE5F470}" dt="2024-05-21T16:37:06.708" v="1145" actId="571"/>
          <ac:spMkLst>
            <pc:docMk/>
            <pc:sldMk cId="4014942499" sldId="2145706697"/>
            <ac:spMk id="44" creationId="{FAC49594-027B-BA35-CCB6-E5A5BB2CD0BB}"/>
          </ac:spMkLst>
        </pc:spChg>
        <pc:spChg chg="mod">
          <ac:chgData name="Deborah Walter" userId="c20ebd7f-c79a-41c5-a0bc-0c956912b773" providerId="ADAL" clId="{82ACE6A8-40CD-4D1C-B19B-F9933EE5F470}" dt="2024-05-21T16:37:06.708" v="1145" actId="571"/>
          <ac:spMkLst>
            <pc:docMk/>
            <pc:sldMk cId="4014942499" sldId="2145706697"/>
            <ac:spMk id="45" creationId="{DC2C1C04-1C8F-0F3F-F4E6-2B6BDF7B126D}"/>
          </ac:spMkLst>
        </pc:spChg>
        <pc:spChg chg="mod">
          <ac:chgData name="Deborah Walter" userId="c20ebd7f-c79a-41c5-a0bc-0c956912b773" providerId="ADAL" clId="{82ACE6A8-40CD-4D1C-B19B-F9933EE5F470}" dt="2024-05-21T16:37:06.708" v="1145" actId="571"/>
          <ac:spMkLst>
            <pc:docMk/>
            <pc:sldMk cId="4014942499" sldId="2145706697"/>
            <ac:spMk id="46" creationId="{7EE67C2F-1361-E026-0B0A-EA7E6FA79A0C}"/>
          </ac:spMkLst>
        </pc:spChg>
        <pc:spChg chg="mod">
          <ac:chgData name="Deborah Walter" userId="c20ebd7f-c79a-41c5-a0bc-0c956912b773" providerId="ADAL" clId="{82ACE6A8-40CD-4D1C-B19B-F9933EE5F470}" dt="2024-05-21T16:37:06.708" v="1145" actId="571"/>
          <ac:spMkLst>
            <pc:docMk/>
            <pc:sldMk cId="4014942499" sldId="2145706697"/>
            <ac:spMk id="47" creationId="{9CC0935E-CE86-1FDF-980F-14A8F03F5537}"/>
          </ac:spMkLst>
        </pc:spChg>
        <pc:spChg chg="mod">
          <ac:chgData name="Deborah Walter" userId="c20ebd7f-c79a-41c5-a0bc-0c956912b773" providerId="ADAL" clId="{82ACE6A8-40CD-4D1C-B19B-F9933EE5F470}" dt="2024-05-21T16:37:06.708" v="1145" actId="571"/>
          <ac:spMkLst>
            <pc:docMk/>
            <pc:sldMk cId="4014942499" sldId="2145706697"/>
            <ac:spMk id="48" creationId="{A5BAC99B-3067-D29B-F4FD-6B1CF8192317}"/>
          </ac:spMkLst>
        </pc:spChg>
        <pc:spChg chg="mod">
          <ac:chgData name="Deborah Walter" userId="c20ebd7f-c79a-41c5-a0bc-0c956912b773" providerId="ADAL" clId="{82ACE6A8-40CD-4D1C-B19B-F9933EE5F470}" dt="2024-05-21T16:37:06.708" v="1145" actId="571"/>
          <ac:spMkLst>
            <pc:docMk/>
            <pc:sldMk cId="4014942499" sldId="2145706697"/>
            <ac:spMk id="49" creationId="{A20BE2D7-4E90-94F3-0F4B-A0429654C344}"/>
          </ac:spMkLst>
        </pc:spChg>
        <pc:spChg chg="mod">
          <ac:chgData name="Deborah Walter" userId="c20ebd7f-c79a-41c5-a0bc-0c956912b773" providerId="ADAL" clId="{82ACE6A8-40CD-4D1C-B19B-F9933EE5F470}" dt="2024-05-21T16:37:06.708" v="1145" actId="571"/>
          <ac:spMkLst>
            <pc:docMk/>
            <pc:sldMk cId="4014942499" sldId="2145706697"/>
            <ac:spMk id="50" creationId="{418BE0D5-D982-4BFA-0FA8-F6070DA784BA}"/>
          </ac:spMkLst>
        </pc:spChg>
        <pc:spChg chg="mod">
          <ac:chgData name="Deborah Walter" userId="c20ebd7f-c79a-41c5-a0bc-0c956912b773" providerId="ADAL" clId="{82ACE6A8-40CD-4D1C-B19B-F9933EE5F470}" dt="2024-05-21T16:37:06.708" v="1145" actId="571"/>
          <ac:spMkLst>
            <pc:docMk/>
            <pc:sldMk cId="4014942499" sldId="2145706697"/>
            <ac:spMk id="51" creationId="{2B16DFD5-595B-DB46-51C1-DAEFFB0497F3}"/>
          </ac:spMkLst>
        </pc:spChg>
        <pc:spChg chg="mod">
          <ac:chgData name="Deborah Walter" userId="c20ebd7f-c79a-41c5-a0bc-0c956912b773" providerId="ADAL" clId="{82ACE6A8-40CD-4D1C-B19B-F9933EE5F470}" dt="2024-05-21T16:37:06.708" v="1145" actId="571"/>
          <ac:spMkLst>
            <pc:docMk/>
            <pc:sldMk cId="4014942499" sldId="2145706697"/>
            <ac:spMk id="52" creationId="{D7C9D51E-948D-20FE-0B84-DAF5EC97F898}"/>
          </ac:spMkLst>
        </pc:spChg>
        <pc:spChg chg="mod">
          <ac:chgData name="Deborah Walter" userId="c20ebd7f-c79a-41c5-a0bc-0c956912b773" providerId="ADAL" clId="{82ACE6A8-40CD-4D1C-B19B-F9933EE5F470}" dt="2024-05-21T16:37:06.708" v="1145" actId="571"/>
          <ac:spMkLst>
            <pc:docMk/>
            <pc:sldMk cId="4014942499" sldId="2145706697"/>
            <ac:spMk id="53" creationId="{67D16EE1-7F17-C981-A5CA-7E1109AF7B4C}"/>
          </ac:spMkLst>
        </pc:spChg>
        <pc:spChg chg="mod">
          <ac:chgData name="Deborah Walter" userId="c20ebd7f-c79a-41c5-a0bc-0c956912b773" providerId="ADAL" clId="{82ACE6A8-40CD-4D1C-B19B-F9933EE5F470}" dt="2024-05-21T16:37:06.708" v="1145" actId="571"/>
          <ac:spMkLst>
            <pc:docMk/>
            <pc:sldMk cId="4014942499" sldId="2145706697"/>
            <ac:spMk id="54" creationId="{721ADD95-6C90-281C-6A7A-F4DFCAD4F3B6}"/>
          </ac:spMkLst>
        </pc:spChg>
        <pc:spChg chg="mod">
          <ac:chgData name="Deborah Walter" userId="c20ebd7f-c79a-41c5-a0bc-0c956912b773" providerId="ADAL" clId="{82ACE6A8-40CD-4D1C-B19B-F9933EE5F470}" dt="2024-05-21T16:37:06.708" v="1145" actId="571"/>
          <ac:spMkLst>
            <pc:docMk/>
            <pc:sldMk cId="4014942499" sldId="2145706697"/>
            <ac:spMk id="55" creationId="{14FA740E-9BA3-1E97-8928-EC83143C788B}"/>
          </ac:spMkLst>
        </pc:spChg>
        <pc:spChg chg="mod">
          <ac:chgData name="Deborah Walter" userId="c20ebd7f-c79a-41c5-a0bc-0c956912b773" providerId="ADAL" clId="{82ACE6A8-40CD-4D1C-B19B-F9933EE5F470}" dt="2024-05-21T16:37:06.708" v="1145" actId="571"/>
          <ac:spMkLst>
            <pc:docMk/>
            <pc:sldMk cId="4014942499" sldId="2145706697"/>
            <ac:spMk id="56" creationId="{3E768B04-696B-FB95-A887-667A49A07743}"/>
          </ac:spMkLst>
        </pc:spChg>
        <pc:spChg chg="mod">
          <ac:chgData name="Deborah Walter" userId="c20ebd7f-c79a-41c5-a0bc-0c956912b773" providerId="ADAL" clId="{82ACE6A8-40CD-4D1C-B19B-F9933EE5F470}" dt="2024-05-21T16:37:06.708" v="1145" actId="571"/>
          <ac:spMkLst>
            <pc:docMk/>
            <pc:sldMk cId="4014942499" sldId="2145706697"/>
            <ac:spMk id="57" creationId="{A99A09CD-C577-BC7A-8BBD-30E9F79DDD07}"/>
          </ac:spMkLst>
        </pc:spChg>
        <pc:spChg chg="mod">
          <ac:chgData name="Deborah Walter" userId="c20ebd7f-c79a-41c5-a0bc-0c956912b773" providerId="ADAL" clId="{82ACE6A8-40CD-4D1C-B19B-F9933EE5F470}" dt="2024-05-21T16:37:06.708" v="1145" actId="571"/>
          <ac:spMkLst>
            <pc:docMk/>
            <pc:sldMk cId="4014942499" sldId="2145706697"/>
            <ac:spMk id="58" creationId="{66F2CE6C-4614-55FC-9B58-5894E541CD05}"/>
          </ac:spMkLst>
        </pc:spChg>
        <pc:spChg chg="mod">
          <ac:chgData name="Deborah Walter" userId="c20ebd7f-c79a-41c5-a0bc-0c956912b773" providerId="ADAL" clId="{82ACE6A8-40CD-4D1C-B19B-F9933EE5F470}" dt="2024-05-21T16:37:06.708" v="1145" actId="571"/>
          <ac:spMkLst>
            <pc:docMk/>
            <pc:sldMk cId="4014942499" sldId="2145706697"/>
            <ac:spMk id="59" creationId="{3668EBC1-ECD1-32AE-46FF-4D67BA203F35}"/>
          </ac:spMkLst>
        </pc:spChg>
        <pc:spChg chg="mod">
          <ac:chgData name="Deborah Walter" userId="c20ebd7f-c79a-41c5-a0bc-0c956912b773" providerId="ADAL" clId="{82ACE6A8-40CD-4D1C-B19B-F9933EE5F470}" dt="2024-05-21T16:37:06.708" v="1145" actId="571"/>
          <ac:spMkLst>
            <pc:docMk/>
            <pc:sldMk cId="4014942499" sldId="2145706697"/>
            <ac:spMk id="60" creationId="{4F6E4B3F-5691-702B-5748-670D242F8D9F}"/>
          </ac:spMkLst>
        </pc:spChg>
        <pc:spChg chg="mod">
          <ac:chgData name="Deborah Walter" userId="c20ebd7f-c79a-41c5-a0bc-0c956912b773" providerId="ADAL" clId="{82ACE6A8-40CD-4D1C-B19B-F9933EE5F470}" dt="2024-05-21T16:37:06.708" v="1145" actId="571"/>
          <ac:spMkLst>
            <pc:docMk/>
            <pc:sldMk cId="4014942499" sldId="2145706697"/>
            <ac:spMk id="61" creationId="{A4DEE4F6-1038-94DE-FC70-BA8038D91352}"/>
          </ac:spMkLst>
        </pc:spChg>
        <pc:spChg chg="mod">
          <ac:chgData name="Deborah Walter" userId="c20ebd7f-c79a-41c5-a0bc-0c956912b773" providerId="ADAL" clId="{82ACE6A8-40CD-4D1C-B19B-F9933EE5F470}" dt="2024-05-21T16:37:06.708" v="1145" actId="571"/>
          <ac:spMkLst>
            <pc:docMk/>
            <pc:sldMk cId="4014942499" sldId="2145706697"/>
            <ac:spMk id="62" creationId="{027257D4-BC51-DED8-662F-EA4AD490771B}"/>
          </ac:spMkLst>
        </pc:spChg>
        <pc:spChg chg="mod">
          <ac:chgData name="Deborah Walter" userId="c20ebd7f-c79a-41c5-a0bc-0c956912b773" providerId="ADAL" clId="{82ACE6A8-40CD-4D1C-B19B-F9933EE5F470}" dt="2024-05-21T16:37:06.708" v="1145" actId="571"/>
          <ac:spMkLst>
            <pc:docMk/>
            <pc:sldMk cId="4014942499" sldId="2145706697"/>
            <ac:spMk id="63" creationId="{FFEBF965-BD77-B478-94F9-2A6975FBD76D}"/>
          </ac:spMkLst>
        </pc:spChg>
        <pc:spChg chg="mod">
          <ac:chgData name="Deborah Walter" userId="c20ebd7f-c79a-41c5-a0bc-0c956912b773" providerId="ADAL" clId="{82ACE6A8-40CD-4D1C-B19B-F9933EE5F470}" dt="2024-05-21T16:37:06.708" v="1145" actId="571"/>
          <ac:spMkLst>
            <pc:docMk/>
            <pc:sldMk cId="4014942499" sldId="2145706697"/>
            <ac:spMk id="64" creationId="{90284B8E-9346-5672-5AEF-492A0B5ED1A8}"/>
          </ac:spMkLst>
        </pc:spChg>
        <pc:spChg chg="mod">
          <ac:chgData name="Deborah Walter" userId="c20ebd7f-c79a-41c5-a0bc-0c956912b773" providerId="ADAL" clId="{82ACE6A8-40CD-4D1C-B19B-F9933EE5F470}" dt="2024-05-21T16:37:06.708" v="1145" actId="571"/>
          <ac:spMkLst>
            <pc:docMk/>
            <pc:sldMk cId="4014942499" sldId="2145706697"/>
            <ac:spMk id="65" creationId="{5A3E67BB-2715-2654-42EB-084C6CF63021}"/>
          </ac:spMkLst>
        </pc:spChg>
        <pc:spChg chg="mod">
          <ac:chgData name="Deborah Walter" userId="c20ebd7f-c79a-41c5-a0bc-0c956912b773" providerId="ADAL" clId="{82ACE6A8-40CD-4D1C-B19B-F9933EE5F470}" dt="2024-05-21T16:38:16.035" v="1162" actId="554"/>
          <ac:spMkLst>
            <pc:docMk/>
            <pc:sldMk cId="4014942499" sldId="2145706697"/>
            <ac:spMk id="68" creationId="{202A4C99-1C24-B7A4-711D-8D8CA0806A32}"/>
          </ac:spMkLst>
        </pc:spChg>
        <pc:spChg chg="mod">
          <ac:chgData name="Deborah Walter" userId="c20ebd7f-c79a-41c5-a0bc-0c956912b773" providerId="ADAL" clId="{82ACE6A8-40CD-4D1C-B19B-F9933EE5F470}" dt="2024-05-21T16:38:16.035" v="1162" actId="554"/>
          <ac:spMkLst>
            <pc:docMk/>
            <pc:sldMk cId="4014942499" sldId="2145706697"/>
            <ac:spMk id="69" creationId="{0CBF0DDE-F749-C6D0-0869-6BA56FBB8CE6}"/>
          </ac:spMkLst>
        </pc:spChg>
        <pc:spChg chg="mod">
          <ac:chgData name="Deborah Walter" userId="c20ebd7f-c79a-41c5-a0bc-0c956912b773" providerId="ADAL" clId="{82ACE6A8-40CD-4D1C-B19B-F9933EE5F470}" dt="2024-05-21T16:38:00.043" v="1161" actId="1035"/>
          <ac:spMkLst>
            <pc:docMk/>
            <pc:sldMk cId="4014942499" sldId="2145706697"/>
            <ac:spMk id="70" creationId="{3B6F0785-0D25-65CB-20AC-94EEAF49822A}"/>
          </ac:spMkLst>
        </pc:spChg>
        <pc:spChg chg="mod">
          <ac:chgData name="Deborah Walter" userId="c20ebd7f-c79a-41c5-a0bc-0c956912b773" providerId="ADAL" clId="{82ACE6A8-40CD-4D1C-B19B-F9933EE5F470}" dt="2024-05-21T16:37:06.708" v="1145" actId="571"/>
          <ac:spMkLst>
            <pc:docMk/>
            <pc:sldMk cId="4014942499" sldId="2145706697"/>
            <ac:spMk id="71" creationId="{9F008135-AA85-327D-B297-94F4568736C3}"/>
          </ac:spMkLst>
        </pc:spChg>
        <pc:spChg chg="mod">
          <ac:chgData name="Deborah Walter" userId="c20ebd7f-c79a-41c5-a0bc-0c956912b773" providerId="ADAL" clId="{82ACE6A8-40CD-4D1C-B19B-F9933EE5F470}" dt="2024-05-21T16:38:00.043" v="1161" actId="1035"/>
          <ac:spMkLst>
            <pc:docMk/>
            <pc:sldMk cId="4014942499" sldId="2145706697"/>
            <ac:spMk id="73" creationId="{72BD4565-6430-82EA-42DC-F2CA565C884E}"/>
          </ac:spMkLst>
        </pc:spChg>
        <pc:grpChg chg="del">
          <ac:chgData name="Deborah Walter" userId="c20ebd7f-c79a-41c5-a0bc-0c956912b773" providerId="ADAL" clId="{82ACE6A8-40CD-4D1C-B19B-F9933EE5F470}" dt="2024-05-21T16:38:42.049" v="1163" actId="165"/>
          <ac:grpSpMkLst>
            <pc:docMk/>
            <pc:sldMk cId="4014942499" sldId="2145706697"/>
            <ac:grpSpMk id="31" creationId="{59FD4CF4-A30C-DDB2-537A-8D94F637E73F}"/>
          </ac:grpSpMkLst>
        </pc:grpChg>
        <pc:grpChg chg="mod">
          <ac:chgData name="Deborah Walter" userId="c20ebd7f-c79a-41c5-a0bc-0c956912b773" providerId="ADAL" clId="{82ACE6A8-40CD-4D1C-B19B-F9933EE5F470}" dt="2024-05-21T16:37:06.708" v="1145" actId="571"/>
          <ac:grpSpMkLst>
            <pc:docMk/>
            <pc:sldMk cId="4014942499" sldId="2145706697"/>
            <ac:grpSpMk id="32" creationId="{B95A96D7-421C-41EE-65C7-29395D1A455C}"/>
          </ac:grpSpMkLst>
        </pc:grpChg>
        <pc:grpChg chg="mod">
          <ac:chgData name="Deborah Walter" userId="c20ebd7f-c79a-41c5-a0bc-0c956912b773" providerId="ADAL" clId="{82ACE6A8-40CD-4D1C-B19B-F9933EE5F470}" dt="2024-05-21T16:37:06.708" v="1145" actId="571"/>
          <ac:grpSpMkLst>
            <pc:docMk/>
            <pc:sldMk cId="4014942499" sldId="2145706697"/>
            <ac:grpSpMk id="78" creationId="{11DD70FD-83C7-87BD-43BB-CBB827349EB7}"/>
          </ac:grpSpMkLst>
        </pc:grpChg>
        <pc:picChg chg="mod topLvl">
          <ac:chgData name="Deborah Walter" userId="c20ebd7f-c79a-41c5-a0bc-0c956912b773" providerId="ADAL" clId="{82ACE6A8-40CD-4D1C-B19B-F9933EE5F470}" dt="2024-05-21T16:38:42.049" v="1163" actId="165"/>
          <ac:picMkLst>
            <pc:docMk/>
            <pc:sldMk cId="4014942499" sldId="2145706697"/>
            <ac:picMk id="27" creationId="{0130FBE6-AB25-E10F-DB83-C7A841DEC177}"/>
          </ac:picMkLst>
        </pc:picChg>
        <pc:picChg chg="mod topLvl">
          <ac:chgData name="Deborah Walter" userId="c20ebd7f-c79a-41c5-a0bc-0c956912b773" providerId="ADAL" clId="{82ACE6A8-40CD-4D1C-B19B-F9933EE5F470}" dt="2024-05-21T16:38:42.049" v="1163" actId="165"/>
          <ac:picMkLst>
            <pc:docMk/>
            <pc:sldMk cId="4014942499" sldId="2145706697"/>
            <ac:picMk id="28" creationId="{F1DE3D1A-E03E-3ADA-38AA-82BE81F7D18E}"/>
          </ac:picMkLst>
        </pc:picChg>
        <pc:picChg chg="mod topLvl">
          <ac:chgData name="Deborah Walter" userId="c20ebd7f-c79a-41c5-a0bc-0c956912b773" providerId="ADAL" clId="{82ACE6A8-40CD-4D1C-B19B-F9933EE5F470}" dt="2024-05-21T16:38:42.049" v="1163" actId="165"/>
          <ac:picMkLst>
            <pc:docMk/>
            <pc:sldMk cId="4014942499" sldId="2145706697"/>
            <ac:picMk id="29" creationId="{AD712426-6194-BC88-AD2A-D6EDCFB376F6}"/>
          </ac:picMkLst>
        </pc:picChg>
        <pc:cxnChg chg="add mod">
          <ac:chgData name="Deborah Walter" userId="c20ebd7f-c79a-41c5-a0bc-0c956912b773" providerId="ADAL" clId="{82ACE6A8-40CD-4D1C-B19B-F9933EE5F470}" dt="2024-05-21T16:37:07.513" v="1147" actId="1036"/>
          <ac:cxnSpMkLst>
            <pc:docMk/>
            <pc:sldMk cId="4014942499" sldId="2145706697"/>
            <ac:cxnSpMk id="3" creationId="{0B95F101-D521-DACA-498F-A2FD76EF9848}"/>
          </ac:cxnSpMkLst>
        </pc:cxnChg>
        <pc:cxnChg chg="add mod">
          <ac:chgData name="Deborah Walter" userId="c20ebd7f-c79a-41c5-a0bc-0c956912b773" providerId="ADAL" clId="{82ACE6A8-40CD-4D1C-B19B-F9933EE5F470}" dt="2024-05-21T16:37:07.513" v="1147" actId="1036"/>
          <ac:cxnSpMkLst>
            <pc:docMk/>
            <pc:sldMk cId="4014942499" sldId="2145706697"/>
            <ac:cxnSpMk id="6" creationId="{E8075BB7-DA9A-21B1-C141-D2870BC632A8}"/>
          </ac:cxnSpMkLst>
        </pc:cxnChg>
        <pc:cxnChg chg="mod">
          <ac:chgData name="Deborah Walter" userId="c20ebd7f-c79a-41c5-a0bc-0c956912b773" providerId="ADAL" clId="{82ACE6A8-40CD-4D1C-B19B-F9933EE5F470}" dt="2024-05-21T16:37:06.708" v="1145" actId="571"/>
          <ac:cxnSpMkLst>
            <pc:docMk/>
            <pc:sldMk cId="4014942499" sldId="2145706697"/>
            <ac:cxnSpMk id="66" creationId="{6D344CA6-11B9-A6D8-2629-C64927822FE7}"/>
          </ac:cxnSpMkLst>
        </pc:cxnChg>
        <pc:cxnChg chg="mod">
          <ac:chgData name="Deborah Walter" userId="c20ebd7f-c79a-41c5-a0bc-0c956912b773" providerId="ADAL" clId="{82ACE6A8-40CD-4D1C-B19B-F9933EE5F470}" dt="2024-05-21T16:37:06.708" v="1145" actId="571"/>
          <ac:cxnSpMkLst>
            <pc:docMk/>
            <pc:sldMk cId="4014942499" sldId="2145706697"/>
            <ac:cxnSpMk id="67" creationId="{5415701F-7D20-3D53-B251-9AD7CB23ED0D}"/>
          </ac:cxnSpMkLst>
        </pc:cxnChg>
        <pc:cxnChg chg="mod">
          <ac:chgData name="Deborah Walter" userId="c20ebd7f-c79a-41c5-a0bc-0c956912b773" providerId="ADAL" clId="{82ACE6A8-40CD-4D1C-B19B-F9933EE5F470}" dt="2024-05-21T16:37:06.708" v="1145" actId="571"/>
          <ac:cxnSpMkLst>
            <pc:docMk/>
            <pc:sldMk cId="4014942499" sldId="2145706697"/>
            <ac:cxnSpMk id="72" creationId="{4DC93757-BA76-65AC-137F-A06FC6086B9F}"/>
          </ac:cxnSpMkLst>
        </pc:cxnChg>
      </pc:sldChg>
      <pc:sldChg chg="modSp mod">
        <pc:chgData name="Deborah Walter" userId="c20ebd7f-c79a-41c5-a0bc-0c956912b773" providerId="ADAL" clId="{82ACE6A8-40CD-4D1C-B19B-F9933EE5F470}" dt="2024-05-22T07:50:49.593" v="2271" actId="20577"/>
        <pc:sldMkLst>
          <pc:docMk/>
          <pc:sldMk cId="4167062390" sldId="2145706699"/>
        </pc:sldMkLst>
        <pc:spChg chg="mod">
          <ac:chgData name="Deborah Walter" userId="c20ebd7f-c79a-41c5-a0bc-0c956912b773" providerId="ADAL" clId="{82ACE6A8-40CD-4D1C-B19B-F9933EE5F470}" dt="2024-05-21T16:32:55.080" v="1051" actId="1035"/>
          <ac:spMkLst>
            <pc:docMk/>
            <pc:sldMk cId="4167062390" sldId="2145706699"/>
            <ac:spMk id="7" creationId="{AD7F4570-9171-F535-6539-7D0AB24A38C0}"/>
          </ac:spMkLst>
        </pc:spChg>
        <pc:spChg chg="mod">
          <ac:chgData name="Deborah Walter" userId="c20ebd7f-c79a-41c5-a0bc-0c956912b773" providerId="ADAL" clId="{82ACE6A8-40CD-4D1C-B19B-F9933EE5F470}" dt="2024-05-21T16:32:55.080" v="1051" actId="1035"/>
          <ac:spMkLst>
            <pc:docMk/>
            <pc:sldMk cId="4167062390" sldId="2145706699"/>
            <ac:spMk id="9" creationId="{AF893A03-67E2-BF08-1477-7B678879A484}"/>
          </ac:spMkLst>
        </pc:spChg>
        <pc:spChg chg="mod">
          <ac:chgData name="Deborah Walter" userId="c20ebd7f-c79a-41c5-a0bc-0c956912b773" providerId="ADAL" clId="{82ACE6A8-40CD-4D1C-B19B-F9933EE5F470}" dt="2024-05-22T07:43:20.873" v="2214" actId="20577"/>
          <ac:spMkLst>
            <pc:docMk/>
            <pc:sldMk cId="4167062390" sldId="2145706699"/>
            <ac:spMk id="12" creationId="{2083C2E2-D0E7-530E-03DD-C5A396FD6F95}"/>
          </ac:spMkLst>
        </pc:spChg>
        <pc:spChg chg="mod">
          <ac:chgData name="Deborah Walter" userId="c20ebd7f-c79a-41c5-a0bc-0c956912b773" providerId="ADAL" clId="{82ACE6A8-40CD-4D1C-B19B-F9933EE5F470}" dt="2024-05-22T07:46:17.055" v="2221" actId="20577"/>
          <ac:spMkLst>
            <pc:docMk/>
            <pc:sldMk cId="4167062390" sldId="2145706699"/>
            <ac:spMk id="13" creationId="{DED1D366-0125-D613-EE79-C5384D6B413C}"/>
          </ac:spMkLst>
        </pc:spChg>
        <pc:spChg chg="mod">
          <ac:chgData name="Deborah Walter" userId="c20ebd7f-c79a-41c5-a0bc-0c956912b773" providerId="ADAL" clId="{82ACE6A8-40CD-4D1C-B19B-F9933EE5F470}" dt="2024-05-21T17:38:03.510" v="1319" actId="20577"/>
          <ac:spMkLst>
            <pc:docMk/>
            <pc:sldMk cId="4167062390" sldId="2145706699"/>
            <ac:spMk id="14" creationId="{60682AB7-02B8-47BB-BB6A-84CBB31B0CC8}"/>
          </ac:spMkLst>
        </pc:spChg>
        <pc:spChg chg="mod">
          <ac:chgData name="Deborah Walter" userId="c20ebd7f-c79a-41c5-a0bc-0c956912b773" providerId="ADAL" clId="{82ACE6A8-40CD-4D1C-B19B-F9933EE5F470}" dt="2024-05-22T07:50:49.593" v="2271" actId="20577"/>
          <ac:spMkLst>
            <pc:docMk/>
            <pc:sldMk cId="4167062390" sldId="2145706699"/>
            <ac:spMk id="37" creationId="{74E6976F-E6B5-736D-50C5-2EA9B1D5017E}"/>
          </ac:spMkLst>
        </pc:spChg>
        <pc:spChg chg="mod">
          <ac:chgData name="Deborah Walter" userId="c20ebd7f-c79a-41c5-a0bc-0c956912b773" providerId="ADAL" clId="{82ACE6A8-40CD-4D1C-B19B-F9933EE5F470}" dt="2024-05-21T16:32:43.102" v="1041" actId="1036"/>
          <ac:spMkLst>
            <pc:docMk/>
            <pc:sldMk cId="4167062390" sldId="2145706699"/>
            <ac:spMk id="44" creationId="{30A15FC0-76A2-C278-5120-957C94C2CE9C}"/>
          </ac:spMkLst>
        </pc:spChg>
        <pc:spChg chg="mod">
          <ac:chgData name="Deborah Walter" userId="c20ebd7f-c79a-41c5-a0bc-0c956912b773" providerId="ADAL" clId="{82ACE6A8-40CD-4D1C-B19B-F9933EE5F470}" dt="2024-05-21T16:32:43.102" v="1041" actId="1036"/>
          <ac:spMkLst>
            <pc:docMk/>
            <pc:sldMk cId="4167062390" sldId="2145706699"/>
            <ac:spMk id="47" creationId="{B3108D0B-4F75-CFC7-57ED-E3CCC2F201EF}"/>
          </ac:spMkLst>
        </pc:spChg>
        <pc:spChg chg="mod">
          <ac:chgData name="Deborah Walter" userId="c20ebd7f-c79a-41c5-a0bc-0c956912b773" providerId="ADAL" clId="{82ACE6A8-40CD-4D1C-B19B-F9933EE5F470}" dt="2024-05-22T07:43:03.033" v="2212" actId="20577"/>
          <ac:spMkLst>
            <pc:docMk/>
            <pc:sldMk cId="4167062390" sldId="2145706699"/>
            <ac:spMk id="49" creationId="{3084BE0F-D5CE-9C9B-EE00-410E16D9AD0F}"/>
          </ac:spMkLst>
        </pc:spChg>
        <pc:spChg chg="mod">
          <ac:chgData name="Deborah Walter" userId="c20ebd7f-c79a-41c5-a0bc-0c956912b773" providerId="ADAL" clId="{82ACE6A8-40CD-4D1C-B19B-F9933EE5F470}" dt="2024-05-21T16:32:43.102" v="1041" actId="1036"/>
          <ac:spMkLst>
            <pc:docMk/>
            <pc:sldMk cId="4167062390" sldId="2145706699"/>
            <ac:spMk id="56" creationId="{FA1B7295-3FFB-F932-0C81-B67DF61D162E}"/>
          </ac:spMkLst>
        </pc:spChg>
        <pc:picChg chg="mod">
          <ac:chgData name="Deborah Walter" userId="c20ebd7f-c79a-41c5-a0bc-0c956912b773" providerId="ADAL" clId="{82ACE6A8-40CD-4D1C-B19B-F9933EE5F470}" dt="2024-05-21T16:32:43.102" v="1041" actId="1036"/>
          <ac:picMkLst>
            <pc:docMk/>
            <pc:sldMk cId="4167062390" sldId="2145706699"/>
            <ac:picMk id="55" creationId="{5A1A4070-15E9-A61F-989A-A235E6641AD2}"/>
          </ac:picMkLst>
        </pc:picChg>
        <pc:picChg chg="mod">
          <ac:chgData name="Deborah Walter" userId="c20ebd7f-c79a-41c5-a0bc-0c956912b773" providerId="ADAL" clId="{82ACE6A8-40CD-4D1C-B19B-F9933EE5F470}" dt="2024-05-21T16:32:55.080" v="1051" actId="1035"/>
          <ac:picMkLst>
            <pc:docMk/>
            <pc:sldMk cId="4167062390" sldId="2145706699"/>
            <ac:picMk id="59" creationId="{F9444B39-6C73-0A7C-9AAB-D731808043DB}"/>
          </ac:picMkLst>
        </pc:picChg>
        <pc:picChg chg="mod">
          <ac:chgData name="Deborah Walter" userId="c20ebd7f-c79a-41c5-a0bc-0c956912b773" providerId="ADAL" clId="{82ACE6A8-40CD-4D1C-B19B-F9933EE5F470}" dt="2024-05-21T16:32:55.080" v="1051" actId="1035"/>
          <ac:picMkLst>
            <pc:docMk/>
            <pc:sldMk cId="4167062390" sldId="2145706699"/>
            <ac:picMk id="61" creationId="{3C5A40CE-7279-10CF-BD5D-63BAE53E53A5}"/>
          </ac:picMkLst>
        </pc:picChg>
        <pc:picChg chg="mod">
          <ac:chgData name="Deborah Walter" userId="c20ebd7f-c79a-41c5-a0bc-0c956912b773" providerId="ADAL" clId="{82ACE6A8-40CD-4D1C-B19B-F9933EE5F470}" dt="2024-05-22T07:47:47.711" v="2222" actId="12789"/>
          <ac:picMkLst>
            <pc:docMk/>
            <pc:sldMk cId="4167062390" sldId="2145706699"/>
            <ac:picMk id="62" creationId="{0CC52A94-861A-1782-A615-F2F82D6E4B62}"/>
          </ac:picMkLst>
        </pc:picChg>
        <pc:picChg chg="mod">
          <ac:chgData name="Deborah Walter" userId="c20ebd7f-c79a-41c5-a0bc-0c956912b773" providerId="ADAL" clId="{82ACE6A8-40CD-4D1C-B19B-F9933EE5F470}" dt="2024-05-22T07:47:47.711" v="2222" actId="12789"/>
          <ac:picMkLst>
            <pc:docMk/>
            <pc:sldMk cId="4167062390" sldId="2145706699"/>
            <ac:picMk id="63" creationId="{DA874253-CD96-C6B7-B055-2328F2D3E035}"/>
          </ac:picMkLst>
        </pc:picChg>
        <pc:picChg chg="mod">
          <ac:chgData name="Deborah Walter" userId="c20ebd7f-c79a-41c5-a0bc-0c956912b773" providerId="ADAL" clId="{82ACE6A8-40CD-4D1C-B19B-F9933EE5F470}" dt="2024-05-22T07:47:47.711" v="2222" actId="12789"/>
          <ac:picMkLst>
            <pc:docMk/>
            <pc:sldMk cId="4167062390" sldId="2145706699"/>
            <ac:picMk id="64" creationId="{C00350CD-7E36-B01C-63E7-96F13DA3D55C}"/>
          </ac:picMkLst>
        </pc:picChg>
        <pc:cxnChg chg="mod">
          <ac:chgData name="Deborah Walter" userId="c20ebd7f-c79a-41c5-a0bc-0c956912b773" providerId="ADAL" clId="{82ACE6A8-40CD-4D1C-B19B-F9933EE5F470}" dt="2024-05-21T16:35:46.390" v="1129" actId="14100"/>
          <ac:cxnSpMkLst>
            <pc:docMk/>
            <pc:sldMk cId="4167062390" sldId="2145706699"/>
            <ac:cxnSpMk id="16" creationId="{4ABA0C06-A0F0-2823-1D09-B7DCE57E57B4}"/>
          </ac:cxnSpMkLst>
        </pc:cxnChg>
        <pc:cxnChg chg="mod">
          <ac:chgData name="Deborah Walter" userId="c20ebd7f-c79a-41c5-a0bc-0c956912b773" providerId="ADAL" clId="{82ACE6A8-40CD-4D1C-B19B-F9933EE5F470}" dt="2024-05-21T16:35:46.390" v="1129" actId="14100"/>
          <ac:cxnSpMkLst>
            <pc:docMk/>
            <pc:sldMk cId="4167062390" sldId="2145706699"/>
            <ac:cxnSpMk id="18" creationId="{3ED8BDD3-9B1F-9ADD-D8D5-03368C041CF3}"/>
          </ac:cxnSpMkLst>
        </pc:cxnChg>
        <pc:cxnChg chg="mod">
          <ac:chgData name="Deborah Walter" userId="c20ebd7f-c79a-41c5-a0bc-0c956912b773" providerId="ADAL" clId="{82ACE6A8-40CD-4D1C-B19B-F9933EE5F470}" dt="2024-05-21T16:32:43.102" v="1041" actId="1036"/>
          <ac:cxnSpMkLst>
            <pc:docMk/>
            <pc:sldMk cId="4167062390" sldId="2145706699"/>
            <ac:cxnSpMk id="20" creationId="{7BB7EF0A-F33F-A057-4BBB-EEE36B6935BB}"/>
          </ac:cxnSpMkLst>
        </pc:cxnChg>
        <pc:cxnChg chg="mod">
          <ac:chgData name="Deborah Walter" userId="c20ebd7f-c79a-41c5-a0bc-0c956912b773" providerId="ADAL" clId="{82ACE6A8-40CD-4D1C-B19B-F9933EE5F470}" dt="2024-05-21T16:32:43.102" v="1041" actId="1036"/>
          <ac:cxnSpMkLst>
            <pc:docMk/>
            <pc:sldMk cId="4167062390" sldId="2145706699"/>
            <ac:cxnSpMk id="21" creationId="{1314DF60-6EE5-4658-A1BE-C9154B1CBEDC}"/>
          </ac:cxnSpMkLst>
        </pc:cxnChg>
        <pc:cxnChg chg="mod">
          <ac:chgData name="Deborah Walter" userId="c20ebd7f-c79a-41c5-a0bc-0c956912b773" providerId="ADAL" clId="{82ACE6A8-40CD-4D1C-B19B-F9933EE5F470}" dt="2024-05-21T16:32:43.102" v="1041" actId="1036"/>
          <ac:cxnSpMkLst>
            <pc:docMk/>
            <pc:sldMk cId="4167062390" sldId="2145706699"/>
            <ac:cxnSpMk id="32" creationId="{D5BE6D46-E7D8-2677-2654-18D2971133E0}"/>
          </ac:cxnSpMkLst>
        </pc:cxnChg>
        <pc:cxnChg chg="mod">
          <ac:chgData name="Deborah Walter" userId="c20ebd7f-c79a-41c5-a0bc-0c956912b773" providerId="ADAL" clId="{82ACE6A8-40CD-4D1C-B19B-F9933EE5F470}" dt="2024-05-21T16:32:43.102" v="1041" actId="1036"/>
          <ac:cxnSpMkLst>
            <pc:docMk/>
            <pc:sldMk cId="4167062390" sldId="2145706699"/>
            <ac:cxnSpMk id="34" creationId="{A88263D9-0A9D-73A7-2E66-E42951627A88}"/>
          </ac:cxnSpMkLst>
        </pc:cxnChg>
        <pc:cxnChg chg="mod">
          <ac:chgData name="Deborah Walter" userId="c20ebd7f-c79a-41c5-a0bc-0c956912b773" providerId="ADAL" clId="{82ACE6A8-40CD-4D1C-B19B-F9933EE5F470}" dt="2024-05-21T16:32:43.102" v="1041" actId="1036"/>
          <ac:cxnSpMkLst>
            <pc:docMk/>
            <pc:sldMk cId="4167062390" sldId="2145706699"/>
            <ac:cxnSpMk id="39" creationId="{60E828C2-948E-96AB-95E3-A875ECFB2BD1}"/>
          </ac:cxnSpMkLst>
        </pc:cxnChg>
      </pc:sldChg>
      <pc:sldChg chg="modSp mod">
        <pc:chgData name="Deborah Walter" userId="c20ebd7f-c79a-41c5-a0bc-0c956912b773" providerId="ADAL" clId="{82ACE6A8-40CD-4D1C-B19B-F9933EE5F470}" dt="2024-05-22T07:58:02.320" v="2466" actId="20577"/>
        <pc:sldMkLst>
          <pc:docMk/>
          <pc:sldMk cId="2479527948" sldId="2145706700"/>
        </pc:sldMkLst>
        <pc:spChg chg="mod">
          <ac:chgData name="Deborah Walter" userId="c20ebd7f-c79a-41c5-a0bc-0c956912b773" providerId="ADAL" clId="{82ACE6A8-40CD-4D1C-B19B-F9933EE5F470}" dt="2024-05-22T07:56:33.028" v="2440" actId="1035"/>
          <ac:spMkLst>
            <pc:docMk/>
            <pc:sldMk cId="2479527948" sldId="2145706700"/>
            <ac:spMk id="6" creationId="{B7DD93FE-32D2-53A9-1474-5D5A43292CB3}"/>
          </ac:spMkLst>
        </pc:spChg>
        <pc:spChg chg="mod">
          <ac:chgData name="Deborah Walter" userId="c20ebd7f-c79a-41c5-a0bc-0c956912b773" providerId="ADAL" clId="{82ACE6A8-40CD-4D1C-B19B-F9933EE5F470}" dt="2024-05-22T07:56:33.028" v="2440" actId="1035"/>
          <ac:spMkLst>
            <pc:docMk/>
            <pc:sldMk cId="2479527948" sldId="2145706700"/>
            <ac:spMk id="8" creationId="{A3294971-3824-EB99-244D-E0A0F2475FEA}"/>
          </ac:spMkLst>
        </pc:spChg>
        <pc:spChg chg="mod">
          <ac:chgData name="Deborah Walter" userId="c20ebd7f-c79a-41c5-a0bc-0c956912b773" providerId="ADAL" clId="{82ACE6A8-40CD-4D1C-B19B-F9933EE5F470}" dt="2024-05-22T07:58:02.320" v="2466" actId="20577"/>
          <ac:spMkLst>
            <pc:docMk/>
            <pc:sldMk cId="2479527948" sldId="2145706700"/>
            <ac:spMk id="10" creationId="{43CC112C-5BB4-8C82-0330-D385D3AD740D}"/>
          </ac:spMkLst>
        </pc:spChg>
        <pc:spChg chg="mod">
          <ac:chgData name="Deborah Walter" userId="c20ebd7f-c79a-41c5-a0bc-0c956912b773" providerId="ADAL" clId="{82ACE6A8-40CD-4D1C-B19B-F9933EE5F470}" dt="2024-05-22T07:56:33.028" v="2440" actId="1035"/>
          <ac:spMkLst>
            <pc:docMk/>
            <pc:sldMk cId="2479527948" sldId="2145706700"/>
            <ac:spMk id="11" creationId="{5AA1CEB6-0FCD-9CCE-1D90-E081E663A73E}"/>
          </ac:spMkLst>
        </pc:spChg>
        <pc:spChg chg="mod">
          <ac:chgData name="Deborah Walter" userId="c20ebd7f-c79a-41c5-a0bc-0c956912b773" providerId="ADAL" clId="{82ACE6A8-40CD-4D1C-B19B-F9933EE5F470}" dt="2024-05-21T17:38:10.759" v="1321" actId="20577"/>
          <ac:spMkLst>
            <pc:docMk/>
            <pc:sldMk cId="2479527948" sldId="2145706700"/>
            <ac:spMk id="14" creationId="{60682AB7-02B8-47BB-BB6A-84CBB31B0CC8}"/>
          </ac:spMkLst>
        </pc:spChg>
        <pc:spChg chg="mod">
          <ac:chgData name="Deborah Walter" userId="c20ebd7f-c79a-41c5-a0bc-0c956912b773" providerId="ADAL" clId="{82ACE6A8-40CD-4D1C-B19B-F9933EE5F470}" dt="2024-05-22T07:56:33.028" v="2440" actId="1035"/>
          <ac:spMkLst>
            <pc:docMk/>
            <pc:sldMk cId="2479527948" sldId="2145706700"/>
            <ac:spMk id="15" creationId="{C521459B-D1EB-F9AB-4A52-40EC43BEA882}"/>
          </ac:spMkLst>
        </pc:spChg>
        <pc:spChg chg="mod">
          <ac:chgData name="Deborah Walter" userId="c20ebd7f-c79a-41c5-a0bc-0c956912b773" providerId="ADAL" clId="{82ACE6A8-40CD-4D1C-B19B-F9933EE5F470}" dt="2024-05-22T07:57:43.346" v="2454" actId="1076"/>
          <ac:spMkLst>
            <pc:docMk/>
            <pc:sldMk cId="2479527948" sldId="2145706700"/>
            <ac:spMk id="17" creationId="{451A6511-77E3-0966-41E8-245B851764E7}"/>
          </ac:spMkLst>
        </pc:spChg>
        <pc:graphicFrameChg chg="mod modGraphic">
          <ac:chgData name="Deborah Walter" userId="c20ebd7f-c79a-41c5-a0bc-0c956912b773" providerId="ADAL" clId="{82ACE6A8-40CD-4D1C-B19B-F9933EE5F470}" dt="2024-05-22T07:57:39.553" v="2453" actId="14100"/>
          <ac:graphicFrameMkLst>
            <pc:docMk/>
            <pc:sldMk cId="2479527948" sldId="2145706700"/>
            <ac:graphicFrameMk id="2" creationId="{9DB8E01B-9B49-7696-FF7C-4DB928C0D79E}"/>
          </ac:graphicFrameMkLst>
        </pc:graphicFrameChg>
      </pc:sldChg>
      <pc:sldChg chg="modSp mod">
        <pc:chgData name="Deborah Walter" userId="c20ebd7f-c79a-41c5-a0bc-0c956912b773" providerId="ADAL" clId="{82ACE6A8-40CD-4D1C-B19B-F9933EE5F470}" dt="2024-05-22T08:07:44.071" v="2517" actId="1035"/>
        <pc:sldMkLst>
          <pc:docMk/>
          <pc:sldMk cId="4202138106" sldId="2145706701"/>
        </pc:sldMkLst>
        <pc:spChg chg="mod">
          <ac:chgData name="Deborah Walter" userId="c20ebd7f-c79a-41c5-a0bc-0c956912b773" providerId="ADAL" clId="{82ACE6A8-40CD-4D1C-B19B-F9933EE5F470}" dt="2024-05-22T08:07:44.071" v="2517" actId="1035"/>
          <ac:spMkLst>
            <pc:docMk/>
            <pc:sldMk cId="4202138106" sldId="2145706701"/>
            <ac:spMk id="12" creationId="{80C8A7F0-CF33-2C5C-92CA-5B041320D486}"/>
          </ac:spMkLst>
        </pc:spChg>
        <pc:spChg chg="mod">
          <ac:chgData name="Deborah Walter" userId="c20ebd7f-c79a-41c5-a0bc-0c956912b773" providerId="ADAL" clId="{82ACE6A8-40CD-4D1C-B19B-F9933EE5F470}" dt="2024-05-13T15:00:19.184" v="353" actId="113"/>
          <ac:spMkLst>
            <pc:docMk/>
            <pc:sldMk cId="4202138106" sldId="2145706701"/>
            <ac:spMk id="13" creationId="{887C4E1A-ECF9-A464-5E02-D324F4888B81}"/>
          </ac:spMkLst>
        </pc:spChg>
        <pc:graphicFrameChg chg="mod">
          <ac:chgData name="Deborah Walter" userId="c20ebd7f-c79a-41c5-a0bc-0c956912b773" providerId="ADAL" clId="{82ACE6A8-40CD-4D1C-B19B-F9933EE5F470}" dt="2024-05-22T08:07:36.290" v="2503" actId="1035"/>
          <ac:graphicFrameMkLst>
            <pc:docMk/>
            <pc:sldMk cId="4202138106" sldId="2145706701"/>
            <ac:graphicFrameMk id="3" creationId="{A77DFBAE-B1D7-7EDA-84DE-B55A0B6A9524}"/>
          </ac:graphicFrameMkLst>
        </pc:graphicFrameChg>
        <pc:graphicFrameChg chg="mod">
          <ac:chgData name="Deborah Walter" userId="c20ebd7f-c79a-41c5-a0bc-0c956912b773" providerId="ADAL" clId="{82ACE6A8-40CD-4D1C-B19B-F9933EE5F470}" dt="2024-05-22T08:07:36.290" v="2503" actId="1035"/>
          <ac:graphicFrameMkLst>
            <pc:docMk/>
            <pc:sldMk cId="4202138106" sldId="2145706701"/>
            <ac:graphicFrameMk id="9" creationId="{EED1C4DA-DC75-ED61-7AE4-CE4DFC7ABB2F}"/>
          </ac:graphicFrameMkLst>
        </pc:graphicFrameChg>
      </pc:sldChg>
      <pc:sldChg chg="modSp mod ord">
        <pc:chgData name="Deborah Walter" userId="c20ebd7f-c79a-41c5-a0bc-0c956912b773" providerId="ADAL" clId="{82ACE6A8-40CD-4D1C-B19B-F9933EE5F470}" dt="2024-05-22T08:04:12.475" v="2482" actId="20577"/>
        <pc:sldMkLst>
          <pc:docMk/>
          <pc:sldMk cId="782312847" sldId="2145706703"/>
        </pc:sldMkLst>
        <pc:spChg chg="mod">
          <ac:chgData name="Deborah Walter" userId="c20ebd7f-c79a-41c5-a0bc-0c956912b773" providerId="ADAL" clId="{82ACE6A8-40CD-4D1C-B19B-F9933EE5F470}" dt="2024-05-22T08:04:12.475" v="2482" actId="20577"/>
          <ac:spMkLst>
            <pc:docMk/>
            <pc:sldMk cId="782312847" sldId="2145706703"/>
            <ac:spMk id="35" creationId="{86164922-C2FD-FA68-7F13-6491D8C73843}"/>
          </ac:spMkLst>
        </pc:spChg>
      </pc:sldChg>
      <pc:sldChg chg="del">
        <pc:chgData name="Deborah Walter" userId="c20ebd7f-c79a-41c5-a0bc-0c956912b773" providerId="ADAL" clId="{82ACE6A8-40CD-4D1C-B19B-F9933EE5F470}" dt="2024-05-13T14:40:46.590" v="0" actId="2696"/>
        <pc:sldMkLst>
          <pc:docMk/>
          <pc:sldMk cId="275117186" sldId="2145706704"/>
        </pc:sldMkLst>
      </pc:sldChg>
      <pc:sldChg chg="add del">
        <pc:chgData name="Deborah Walter" userId="c20ebd7f-c79a-41c5-a0bc-0c956912b773" providerId="ADAL" clId="{82ACE6A8-40CD-4D1C-B19B-F9933EE5F470}" dt="2024-05-13T14:42:05.930" v="17" actId="2696"/>
        <pc:sldMkLst>
          <pc:docMk/>
          <pc:sldMk cId="4254277432" sldId="2145706705"/>
        </pc:sldMkLst>
      </pc:sldChg>
      <pc:sldChg chg="addSp delSp modSp mod">
        <pc:chgData name="Deborah Walter" userId="c20ebd7f-c79a-41c5-a0bc-0c956912b773" providerId="ADAL" clId="{82ACE6A8-40CD-4D1C-B19B-F9933EE5F470}" dt="2024-05-22T08:16:37.163" v="2619" actId="14100"/>
        <pc:sldMkLst>
          <pc:docMk/>
          <pc:sldMk cId="1543123313" sldId="2145706706"/>
        </pc:sldMkLst>
        <pc:spChg chg="mod">
          <ac:chgData name="Deborah Walter" userId="c20ebd7f-c79a-41c5-a0bc-0c956912b773" providerId="ADAL" clId="{82ACE6A8-40CD-4D1C-B19B-F9933EE5F470}" dt="2024-05-22T08:16:37.163" v="2619" actId="14100"/>
          <ac:spMkLst>
            <pc:docMk/>
            <pc:sldMk cId="1543123313" sldId="2145706706"/>
            <ac:spMk id="2" creationId="{806D60EB-D3C7-4CFB-C440-928A96658306}"/>
          </ac:spMkLst>
        </pc:spChg>
        <pc:spChg chg="add del mod">
          <ac:chgData name="Deborah Walter" userId="c20ebd7f-c79a-41c5-a0bc-0c956912b773" providerId="ADAL" clId="{82ACE6A8-40CD-4D1C-B19B-F9933EE5F470}" dt="2024-05-22T07:35:06.800" v="2206" actId="478"/>
          <ac:spMkLst>
            <pc:docMk/>
            <pc:sldMk cId="1543123313" sldId="2145706706"/>
            <ac:spMk id="3" creationId="{EEA19AC0-05AC-6691-F02A-B9953BF2323C}"/>
          </ac:spMkLst>
        </pc:spChg>
        <pc:spChg chg="mod">
          <ac:chgData name="Deborah Walter" userId="c20ebd7f-c79a-41c5-a0bc-0c956912b773" providerId="ADAL" clId="{82ACE6A8-40CD-4D1C-B19B-F9933EE5F470}" dt="2024-05-22T08:15:30.732" v="2574" actId="164"/>
          <ac:spMkLst>
            <pc:docMk/>
            <pc:sldMk cId="1543123313" sldId="2145706706"/>
            <ac:spMk id="6" creationId="{581AD5B0-C985-95F0-BD73-B122EE583587}"/>
          </ac:spMkLst>
        </pc:spChg>
        <pc:spChg chg="mod">
          <ac:chgData name="Deborah Walter" userId="c20ebd7f-c79a-41c5-a0bc-0c956912b773" providerId="ADAL" clId="{82ACE6A8-40CD-4D1C-B19B-F9933EE5F470}" dt="2024-05-22T08:15:30.732" v="2574" actId="164"/>
          <ac:spMkLst>
            <pc:docMk/>
            <pc:sldMk cId="1543123313" sldId="2145706706"/>
            <ac:spMk id="7" creationId="{93AB2D83-1854-FAEB-89B6-E3F98C69E78B}"/>
          </ac:spMkLst>
        </pc:spChg>
        <pc:spChg chg="mod">
          <ac:chgData name="Deborah Walter" userId="c20ebd7f-c79a-41c5-a0bc-0c956912b773" providerId="ADAL" clId="{82ACE6A8-40CD-4D1C-B19B-F9933EE5F470}" dt="2024-05-22T08:15:30.732" v="2574" actId="164"/>
          <ac:spMkLst>
            <pc:docMk/>
            <pc:sldMk cId="1543123313" sldId="2145706706"/>
            <ac:spMk id="8" creationId="{E939B9ED-651C-A6C1-F876-716CCA883C5E}"/>
          </ac:spMkLst>
        </pc:spChg>
        <pc:spChg chg="add mod">
          <ac:chgData name="Deborah Walter" userId="c20ebd7f-c79a-41c5-a0bc-0c956912b773" providerId="ADAL" clId="{82ACE6A8-40CD-4D1C-B19B-F9933EE5F470}" dt="2024-05-22T08:15:49.542" v="2615" actId="1035"/>
          <ac:spMkLst>
            <pc:docMk/>
            <pc:sldMk cId="1543123313" sldId="2145706706"/>
            <ac:spMk id="9" creationId="{5B195950-DA96-1C54-AE3E-C294832EA947}"/>
          </ac:spMkLst>
        </pc:spChg>
        <pc:spChg chg="mod">
          <ac:chgData name="Deborah Walter" userId="c20ebd7f-c79a-41c5-a0bc-0c956912b773" providerId="ADAL" clId="{82ACE6A8-40CD-4D1C-B19B-F9933EE5F470}" dt="2024-05-22T08:15:30.732" v="2574" actId="164"/>
          <ac:spMkLst>
            <pc:docMk/>
            <pc:sldMk cId="1543123313" sldId="2145706706"/>
            <ac:spMk id="10" creationId="{CEA26B2C-C891-94CC-2D87-0B305F1A340D}"/>
          </ac:spMkLst>
        </pc:spChg>
        <pc:spChg chg="mod">
          <ac:chgData name="Deborah Walter" userId="c20ebd7f-c79a-41c5-a0bc-0c956912b773" providerId="ADAL" clId="{82ACE6A8-40CD-4D1C-B19B-F9933EE5F470}" dt="2024-05-22T08:16:31.586" v="2618" actId="14100"/>
          <ac:spMkLst>
            <pc:docMk/>
            <pc:sldMk cId="1543123313" sldId="2145706706"/>
            <ac:spMk id="11" creationId="{E6160CB6-3D88-71EA-3F6A-F6EB8FFBCE04}"/>
          </ac:spMkLst>
        </pc:spChg>
        <pc:spChg chg="mod">
          <ac:chgData name="Deborah Walter" userId="c20ebd7f-c79a-41c5-a0bc-0c956912b773" providerId="ADAL" clId="{82ACE6A8-40CD-4D1C-B19B-F9933EE5F470}" dt="2024-05-22T08:15:30.732" v="2574" actId="164"/>
          <ac:spMkLst>
            <pc:docMk/>
            <pc:sldMk cId="1543123313" sldId="2145706706"/>
            <ac:spMk id="16" creationId="{1D2A5DF0-EF86-9652-3A58-2D43A316FEB6}"/>
          </ac:spMkLst>
        </pc:spChg>
        <pc:spChg chg="mod">
          <ac:chgData name="Deborah Walter" userId="c20ebd7f-c79a-41c5-a0bc-0c956912b773" providerId="ADAL" clId="{82ACE6A8-40CD-4D1C-B19B-F9933EE5F470}" dt="2024-05-22T08:15:30.732" v="2574" actId="164"/>
          <ac:spMkLst>
            <pc:docMk/>
            <pc:sldMk cId="1543123313" sldId="2145706706"/>
            <ac:spMk id="17" creationId="{F1EB24FE-6365-7D22-3075-D937CB2F8B90}"/>
          </ac:spMkLst>
        </pc:spChg>
        <pc:spChg chg="mod">
          <ac:chgData name="Deborah Walter" userId="c20ebd7f-c79a-41c5-a0bc-0c956912b773" providerId="ADAL" clId="{82ACE6A8-40CD-4D1C-B19B-F9933EE5F470}" dt="2024-05-22T08:15:30.732" v="2574" actId="164"/>
          <ac:spMkLst>
            <pc:docMk/>
            <pc:sldMk cId="1543123313" sldId="2145706706"/>
            <ac:spMk id="18" creationId="{AF1CE83D-0F51-00D6-19EE-593AB6D03404}"/>
          </ac:spMkLst>
        </pc:spChg>
        <pc:spChg chg="mod">
          <ac:chgData name="Deborah Walter" userId="c20ebd7f-c79a-41c5-a0bc-0c956912b773" providerId="ADAL" clId="{82ACE6A8-40CD-4D1C-B19B-F9933EE5F470}" dt="2024-05-22T08:15:30.732" v="2574" actId="164"/>
          <ac:spMkLst>
            <pc:docMk/>
            <pc:sldMk cId="1543123313" sldId="2145706706"/>
            <ac:spMk id="19" creationId="{CD79BD15-58DC-D1A6-380B-CCC8E4AB8AF9}"/>
          </ac:spMkLst>
        </pc:spChg>
        <pc:spChg chg="mod">
          <ac:chgData name="Deborah Walter" userId="c20ebd7f-c79a-41c5-a0bc-0c956912b773" providerId="ADAL" clId="{82ACE6A8-40CD-4D1C-B19B-F9933EE5F470}" dt="2024-05-22T08:15:30.732" v="2574" actId="164"/>
          <ac:spMkLst>
            <pc:docMk/>
            <pc:sldMk cId="1543123313" sldId="2145706706"/>
            <ac:spMk id="20" creationId="{990B232B-5DAE-1978-D6EC-964A21748739}"/>
          </ac:spMkLst>
        </pc:spChg>
        <pc:grpChg chg="add mod">
          <ac:chgData name="Deborah Walter" userId="c20ebd7f-c79a-41c5-a0bc-0c956912b773" providerId="ADAL" clId="{82ACE6A8-40CD-4D1C-B19B-F9933EE5F470}" dt="2024-05-22T08:15:36.592" v="2575" actId="14100"/>
          <ac:grpSpMkLst>
            <pc:docMk/>
            <pc:sldMk cId="1543123313" sldId="2145706706"/>
            <ac:grpSpMk id="12" creationId="{50F17DEB-A391-A6EA-6257-C931547E4EE8}"/>
          </ac:grpSpMkLst>
        </pc:grpChg>
      </pc:sldChg>
      <pc:sldChg chg="add del ord">
        <pc:chgData name="Deborah Walter" userId="c20ebd7f-c79a-41c5-a0bc-0c956912b773" providerId="ADAL" clId="{82ACE6A8-40CD-4D1C-B19B-F9933EE5F470}" dt="2024-05-13T14:41:40.894" v="10" actId="2890"/>
        <pc:sldMkLst>
          <pc:docMk/>
          <pc:sldMk cId="700163302" sldId="2145706707"/>
        </pc:sldMkLst>
      </pc:sldChg>
      <pc:sldChg chg="delSp modSp add mod">
        <pc:chgData name="Deborah Walter" userId="c20ebd7f-c79a-41c5-a0bc-0c956912b773" providerId="ADAL" clId="{82ACE6A8-40CD-4D1C-B19B-F9933EE5F470}" dt="2024-05-21T17:39:18.334" v="1344" actId="20577"/>
        <pc:sldMkLst>
          <pc:docMk/>
          <pc:sldMk cId="911929153" sldId="2145706707"/>
        </pc:sldMkLst>
        <pc:spChg chg="del">
          <ac:chgData name="Deborah Walter" userId="c20ebd7f-c79a-41c5-a0bc-0c956912b773" providerId="ADAL" clId="{82ACE6A8-40CD-4D1C-B19B-F9933EE5F470}" dt="2024-05-14T09:46:45.316" v="631" actId="478"/>
          <ac:spMkLst>
            <pc:docMk/>
            <pc:sldMk cId="911929153" sldId="2145706707"/>
            <ac:spMk id="3" creationId="{00000000-0000-0000-0000-000000000000}"/>
          </ac:spMkLst>
        </pc:spChg>
        <pc:spChg chg="del">
          <ac:chgData name="Deborah Walter" userId="c20ebd7f-c79a-41c5-a0bc-0c956912b773" providerId="ADAL" clId="{82ACE6A8-40CD-4D1C-B19B-F9933EE5F470}" dt="2024-05-14T09:46:45.316" v="631" actId="478"/>
          <ac:spMkLst>
            <pc:docMk/>
            <pc:sldMk cId="911929153" sldId="2145706707"/>
            <ac:spMk id="10" creationId="{00000000-0000-0000-0000-000000000000}"/>
          </ac:spMkLst>
        </pc:spChg>
        <pc:spChg chg="del">
          <ac:chgData name="Deborah Walter" userId="c20ebd7f-c79a-41c5-a0bc-0c956912b773" providerId="ADAL" clId="{82ACE6A8-40CD-4D1C-B19B-F9933EE5F470}" dt="2024-05-14T09:46:45.316" v="631" actId="478"/>
          <ac:spMkLst>
            <pc:docMk/>
            <pc:sldMk cId="911929153" sldId="2145706707"/>
            <ac:spMk id="17" creationId="{408E489A-17A0-A48F-3360-B60A264A165B}"/>
          </ac:spMkLst>
        </pc:spChg>
        <pc:graphicFrameChg chg="mod modGraphic">
          <ac:chgData name="Deborah Walter" userId="c20ebd7f-c79a-41c5-a0bc-0c956912b773" providerId="ADAL" clId="{82ACE6A8-40CD-4D1C-B19B-F9933EE5F470}" dt="2024-05-21T17:39:18.334" v="1344" actId="20577"/>
          <ac:graphicFrameMkLst>
            <pc:docMk/>
            <pc:sldMk cId="911929153" sldId="2145706707"/>
            <ac:graphicFrameMk id="4" creationId="{C829524B-B9D3-4213-99F8-8AAEA20A4311}"/>
          </ac:graphicFrameMkLst>
        </pc:graphicFrameChg>
      </pc:sldChg>
      <pc:sldChg chg="delSp modSp add mod ord">
        <pc:chgData name="Deborah Walter" userId="c20ebd7f-c79a-41c5-a0bc-0c956912b773" providerId="ADAL" clId="{82ACE6A8-40CD-4D1C-B19B-F9933EE5F470}" dt="2024-05-21T17:38:57.547" v="1338" actId="20577"/>
        <pc:sldMkLst>
          <pc:docMk/>
          <pc:sldMk cId="3055100216" sldId="2145706708"/>
        </pc:sldMkLst>
        <pc:spChg chg="del">
          <ac:chgData name="Deborah Walter" userId="c20ebd7f-c79a-41c5-a0bc-0c956912b773" providerId="ADAL" clId="{82ACE6A8-40CD-4D1C-B19B-F9933EE5F470}" dt="2024-05-14T09:47:02.645" v="632" actId="478"/>
          <ac:spMkLst>
            <pc:docMk/>
            <pc:sldMk cId="3055100216" sldId="2145706708"/>
            <ac:spMk id="3" creationId="{00000000-0000-0000-0000-000000000000}"/>
          </ac:spMkLst>
        </pc:spChg>
        <pc:spChg chg="del">
          <ac:chgData name="Deborah Walter" userId="c20ebd7f-c79a-41c5-a0bc-0c956912b773" providerId="ADAL" clId="{82ACE6A8-40CD-4D1C-B19B-F9933EE5F470}" dt="2024-05-14T09:47:02.645" v="632" actId="478"/>
          <ac:spMkLst>
            <pc:docMk/>
            <pc:sldMk cId="3055100216" sldId="2145706708"/>
            <ac:spMk id="10" creationId="{00000000-0000-0000-0000-000000000000}"/>
          </ac:spMkLst>
        </pc:spChg>
        <pc:spChg chg="del">
          <ac:chgData name="Deborah Walter" userId="c20ebd7f-c79a-41c5-a0bc-0c956912b773" providerId="ADAL" clId="{82ACE6A8-40CD-4D1C-B19B-F9933EE5F470}" dt="2024-05-14T09:47:02.645" v="632" actId="478"/>
          <ac:spMkLst>
            <pc:docMk/>
            <pc:sldMk cId="3055100216" sldId="2145706708"/>
            <ac:spMk id="17" creationId="{408E489A-17A0-A48F-3360-B60A264A165B}"/>
          </ac:spMkLst>
        </pc:spChg>
        <pc:graphicFrameChg chg="mod modGraphic">
          <ac:chgData name="Deborah Walter" userId="c20ebd7f-c79a-41c5-a0bc-0c956912b773" providerId="ADAL" clId="{82ACE6A8-40CD-4D1C-B19B-F9933EE5F470}" dt="2024-05-21T17:38:57.547" v="1338" actId="20577"/>
          <ac:graphicFrameMkLst>
            <pc:docMk/>
            <pc:sldMk cId="3055100216" sldId="2145706708"/>
            <ac:graphicFrameMk id="4" creationId="{C829524B-B9D3-4213-99F8-8AAEA20A4311}"/>
          </ac:graphicFrameMkLst>
        </pc:graphicFrameChg>
      </pc:sldChg>
      <pc:sldChg chg="delSp modSp add mod ord">
        <pc:chgData name="Deborah Walter" userId="c20ebd7f-c79a-41c5-a0bc-0c956912b773" providerId="ADAL" clId="{82ACE6A8-40CD-4D1C-B19B-F9933EE5F470}" dt="2024-05-21T17:38:37.197" v="1332" actId="20577"/>
        <pc:sldMkLst>
          <pc:docMk/>
          <pc:sldMk cId="2455103125" sldId="2145706709"/>
        </pc:sldMkLst>
        <pc:spChg chg="del">
          <ac:chgData name="Deborah Walter" userId="c20ebd7f-c79a-41c5-a0bc-0c956912b773" providerId="ADAL" clId="{82ACE6A8-40CD-4D1C-B19B-F9933EE5F470}" dt="2024-05-14T09:47:09.202" v="633" actId="478"/>
          <ac:spMkLst>
            <pc:docMk/>
            <pc:sldMk cId="2455103125" sldId="2145706709"/>
            <ac:spMk id="3" creationId="{00000000-0000-0000-0000-000000000000}"/>
          </ac:spMkLst>
        </pc:spChg>
        <pc:spChg chg="del">
          <ac:chgData name="Deborah Walter" userId="c20ebd7f-c79a-41c5-a0bc-0c956912b773" providerId="ADAL" clId="{82ACE6A8-40CD-4D1C-B19B-F9933EE5F470}" dt="2024-05-14T09:47:09.202" v="633" actId="478"/>
          <ac:spMkLst>
            <pc:docMk/>
            <pc:sldMk cId="2455103125" sldId="2145706709"/>
            <ac:spMk id="10" creationId="{00000000-0000-0000-0000-000000000000}"/>
          </ac:spMkLst>
        </pc:spChg>
        <pc:spChg chg="del">
          <ac:chgData name="Deborah Walter" userId="c20ebd7f-c79a-41c5-a0bc-0c956912b773" providerId="ADAL" clId="{82ACE6A8-40CD-4D1C-B19B-F9933EE5F470}" dt="2024-05-14T09:47:09.202" v="633" actId="478"/>
          <ac:spMkLst>
            <pc:docMk/>
            <pc:sldMk cId="2455103125" sldId="2145706709"/>
            <ac:spMk id="17" creationId="{408E489A-17A0-A48F-3360-B60A264A165B}"/>
          </ac:spMkLst>
        </pc:spChg>
        <pc:graphicFrameChg chg="mod modGraphic">
          <ac:chgData name="Deborah Walter" userId="c20ebd7f-c79a-41c5-a0bc-0c956912b773" providerId="ADAL" clId="{82ACE6A8-40CD-4D1C-B19B-F9933EE5F470}" dt="2024-05-21T17:38:37.197" v="1332" actId="20577"/>
          <ac:graphicFrameMkLst>
            <pc:docMk/>
            <pc:sldMk cId="2455103125" sldId="2145706709"/>
            <ac:graphicFrameMk id="4" creationId="{C829524B-B9D3-4213-99F8-8AAEA20A4311}"/>
          </ac:graphicFrameMkLst>
        </pc:graphicFrameChg>
      </pc:sldChg>
      <pc:sldChg chg="addSp delSp modSp add mod">
        <pc:chgData name="Deborah Walter" userId="c20ebd7f-c79a-41c5-a0bc-0c956912b773" providerId="ADAL" clId="{82ACE6A8-40CD-4D1C-B19B-F9933EE5F470}" dt="2024-05-22T07:54:33.152" v="2423" actId="12"/>
        <pc:sldMkLst>
          <pc:docMk/>
          <pc:sldMk cId="726519146" sldId="2145706710"/>
        </pc:sldMkLst>
        <pc:spChg chg="mod topLvl">
          <ac:chgData name="Deborah Walter" userId="c20ebd7f-c79a-41c5-a0bc-0c956912b773" providerId="ADAL" clId="{82ACE6A8-40CD-4D1C-B19B-F9933EE5F470}" dt="2024-05-22T07:49:26.041" v="2261" actId="165"/>
          <ac:spMkLst>
            <pc:docMk/>
            <pc:sldMk cId="726519146" sldId="2145706710"/>
            <ac:spMk id="3" creationId="{7153EC2E-C073-CEFE-BE61-F25BD775BB5A}"/>
          </ac:spMkLst>
        </pc:spChg>
        <pc:spChg chg="del mod topLvl">
          <ac:chgData name="Deborah Walter" userId="c20ebd7f-c79a-41c5-a0bc-0c956912b773" providerId="ADAL" clId="{82ACE6A8-40CD-4D1C-B19B-F9933EE5F470}" dt="2024-05-21T17:06:17.502" v="1201" actId="478"/>
          <ac:spMkLst>
            <pc:docMk/>
            <pc:sldMk cId="726519146" sldId="2145706710"/>
            <ac:spMk id="6" creationId="{62D58444-93F0-0BBC-334C-8A574E70368B}"/>
          </ac:spMkLst>
        </pc:spChg>
        <pc:spChg chg="del">
          <ac:chgData name="Deborah Walter" userId="c20ebd7f-c79a-41c5-a0bc-0c956912b773" providerId="ADAL" clId="{82ACE6A8-40CD-4D1C-B19B-F9933EE5F470}" dt="2024-05-21T16:54:38.374" v="1165" actId="478"/>
          <ac:spMkLst>
            <pc:docMk/>
            <pc:sldMk cId="726519146" sldId="2145706710"/>
            <ac:spMk id="7" creationId="{AD7F4570-9171-F535-6539-7D0AB24A38C0}"/>
          </ac:spMkLst>
        </pc:spChg>
        <pc:spChg chg="add mod">
          <ac:chgData name="Deborah Walter" userId="c20ebd7f-c79a-41c5-a0bc-0c956912b773" providerId="ADAL" clId="{82ACE6A8-40CD-4D1C-B19B-F9933EE5F470}" dt="2024-05-22T07:49:26.041" v="2261" actId="165"/>
          <ac:spMkLst>
            <pc:docMk/>
            <pc:sldMk cId="726519146" sldId="2145706710"/>
            <ac:spMk id="8" creationId="{19C1C543-7C1B-2EB5-79A0-44EDB9DD8558}"/>
          </ac:spMkLst>
        </pc:spChg>
        <pc:spChg chg="del">
          <ac:chgData name="Deborah Walter" userId="c20ebd7f-c79a-41c5-a0bc-0c956912b773" providerId="ADAL" clId="{82ACE6A8-40CD-4D1C-B19B-F9933EE5F470}" dt="2024-05-21T16:54:38.374" v="1165" actId="478"/>
          <ac:spMkLst>
            <pc:docMk/>
            <pc:sldMk cId="726519146" sldId="2145706710"/>
            <ac:spMk id="9" creationId="{AF893A03-67E2-BF08-1477-7B678879A484}"/>
          </ac:spMkLst>
        </pc:spChg>
        <pc:spChg chg="add mod topLvl">
          <ac:chgData name="Deborah Walter" userId="c20ebd7f-c79a-41c5-a0bc-0c956912b773" providerId="ADAL" clId="{82ACE6A8-40CD-4D1C-B19B-F9933EE5F470}" dt="2024-05-21T17:50:15.040" v="1446" actId="164"/>
          <ac:spMkLst>
            <pc:docMk/>
            <pc:sldMk cId="726519146" sldId="2145706710"/>
            <ac:spMk id="11" creationId="{12556384-2A54-FFD6-7DA0-F2B7AD092D72}"/>
          </ac:spMkLst>
        </pc:spChg>
        <pc:spChg chg="del">
          <ac:chgData name="Deborah Walter" userId="c20ebd7f-c79a-41c5-a0bc-0c956912b773" providerId="ADAL" clId="{82ACE6A8-40CD-4D1C-B19B-F9933EE5F470}" dt="2024-05-21T16:54:38.374" v="1165" actId="478"/>
          <ac:spMkLst>
            <pc:docMk/>
            <pc:sldMk cId="726519146" sldId="2145706710"/>
            <ac:spMk id="12" creationId="{2083C2E2-D0E7-530E-03DD-C5A396FD6F95}"/>
          </ac:spMkLst>
        </pc:spChg>
        <pc:spChg chg="del">
          <ac:chgData name="Deborah Walter" userId="c20ebd7f-c79a-41c5-a0bc-0c956912b773" providerId="ADAL" clId="{82ACE6A8-40CD-4D1C-B19B-F9933EE5F470}" dt="2024-05-21T16:54:38.374" v="1165" actId="478"/>
          <ac:spMkLst>
            <pc:docMk/>
            <pc:sldMk cId="726519146" sldId="2145706710"/>
            <ac:spMk id="13" creationId="{DED1D366-0125-D613-EE79-C5384D6B413C}"/>
          </ac:spMkLst>
        </pc:spChg>
        <pc:spChg chg="mod">
          <ac:chgData name="Deborah Walter" userId="c20ebd7f-c79a-41c5-a0bc-0c956912b773" providerId="ADAL" clId="{82ACE6A8-40CD-4D1C-B19B-F9933EE5F470}" dt="2024-05-21T17:37:51.921" v="1313" actId="20577"/>
          <ac:spMkLst>
            <pc:docMk/>
            <pc:sldMk cId="726519146" sldId="2145706710"/>
            <ac:spMk id="14" creationId="{60682AB7-02B8-47BB-BB6A-84CBB31B0CC8}"/>
          </ac:spMkLst>
        </pc:spChg>
        <pc:spChg chg="add mod topLvl">
          <ac:chgData name="Deborah Walter" userId="c20ebd7f-c79a-41c5-a0bc-0c956912b773" providerId="ADAL" clId="{82ACE6A8-40CD-4D1C-B19B-F9933EE5F470}" dt="2024-05-21T17:50:15.040" v="1446" actId="164"/>
          <ac:spMkLst>
            <pc:docMk/>
            <pc:sldMk cId="726519146" sldId="2145706710"/>
            <ac:spMk id="15" creationId="{9777B335-8C27-6220-AC0C-405C8869E71B}"/>
          </ac:spMkLst>
        </pc:spChg>
        <pc:spChg chg="add mod topLvl">
          <ac:chgData name="Deborah Walter" userId="c20ebd7f-c79a-41c5-a0bc-0c956912b773" providerId="ADAL" clId="{82ACE6A8-40CD-4D1C-B19B-F9933EE5F470}" dt="2024-05-21T17:50:15.040" v="1446" actId="164"/>
          <ac:spMkLst>
            <pc:docMk/>
            <pc:sldMk cId="726519146" sldId="2145706710"/>
            <ac:spMk id="17" creationId="{32705318-8B33-3145-CB1C-E6812D920C14}"/>
          </ac:spMkLst>
        </pc:spChg>
        <pc:spChg chg="add mod">
          <ac:chgData name="Deborah Walter" userId="c20ebd7f-c79a-41c5-a0bc-0c956912b773" providerId="ADAL" clId="{82ACE6A8-40CD-4D1C-B19B-F9933EE5F470}" dt="2024-05-22T07:49:26.041" v="2261" actId="165"/>
          <ac:spMkLst>
            <pc:docMk/>
            <pc:sldMk cId="726519146" sldId="2145706710"/>
            <ac:spMk id="22" creationId="{28F03F8C-2BE3-46E3-4F5B-2D27260E3514}"/>
          </ac:spMkLst>
        </pc:spChg>
        <pc:spChg chg="add mod">
          <ac:chgData name="Deborah Walter" userId="c20ebd7f-c79a-41c5-a0bc-0c956912b773" providerId="ADAL" clId="{82ACE6A8-40CD-4D1C-B19B-F9933EE5F470}" dt="2024-05-22T07:49:26.041" v="2261" actId="165"/>
          <ac:spMkLst>
            <pc:docMk/>
            <pc:sldMk cId="726519146" sldId="2145706710"/>
            <ac:spMk id="23" creationId="{D4BBE11A-418C-4C87-DDA4-F163B595E0F3}"/>
          </ac:spMkLst>
        </pc:spChg>
        <pc:spChg chg="add mod">
          <ac:chgData name="Deborah Walter" userId="c20ebd7f-c79a-41c5-a0bc-0c956912b773" providerId="ADAL" clId="{82ACE6A8-40CD-4D1C-B19B-F9933EE5F470}" dt="2024-05-22T07:44:30.315" v="2216" actId="113"/>
          <ac:spMkLst>
            <pc:docMk/>
            <pc:sldMk cId="726519146" sldId="2145706710"/>
            <ac:spMk id="24" creationId="{8AE6F818-1AF5-E475-4D53-09D98AC41A49}"/>
          </ac:spMkLst>
        </pc:spChg>
        <pc:spChg chg="add mod">
          <ac:chgData name="Deborah Walter" userId="c20ebd7f-c79a-41c5-a0bc-0c956912b773" providerId="ADAL" clId="{82ACE6A8-40CD-4D1C-B19B-F9933EE5F470}" dt="2024-05-22T07:44:30.315" v="2216" actId="113"/>
          <ac:spMkLst>
            <pc:docMk/>
            <pc:sldMk cId="726519146" sldId="2145706710"/>
            <ac:spMk id="25" creationId="{271492E5-4962-879B-26DD-3E0FC6090F6A}"/>
          </ac:spMkLst>
        </pc:spChg>
        <pc:spChg chg="add mod">
          <ac:chgData name="Deborah Walter" userId="c20ebd7f-c79a-41c5-a0bc-0c956912b773" providerId="ADAL" clId="{82ACE6A8-40CD-4D1C-B19B-F9933EE5F470}" dt="2024-05-22T07:44:30.315" v="2216" actId="113"/>
          <ac:spMkLst>
            <pc:docMk/>
            <pc:sldMk cId="726519146" sldId="2145706710"/>
            <ac:spMk id="26" creationId="{36888E2B-574E-27C2-50F3-5C02AF015F89}"/>
          </ac:spMkLst>
        </pc:spChg>
        <pc:spChg chg="del">
          <ac:chgData name="Deborah Walter" userId="c20ebd7f-c79a-41c5-a0bc-0c956912b773" providerId="ADAL" clId="{82ACE6A8-40CD-4D1C-B19B-F9933EE5F470}" dt="2024-05-21T16:54:38.374" v="1165" actId="478"/>
          <ac:spMkLst>
            <pc:docMk/>
            <pc:sldMk cId="726519146" sldId="2145706710"/>
            <ac:spMk id="37" creationId="{74E6976F-E6B5-736D-50C5-2EA9B1D5017E}"/>
          </ac:spMkLst>
        </pc:spChg>
        <pc:spChg chg="add mod">
          <ac:chgData name="Deborah Walter" userId="c20ebd7f-c79a-41c5-a0bc-0c956912b773" providerId="ADAL" clId="{82ACE6A8-40CD-4D1C-B19B-F9933EE5F470}" dt="2024-05-22T07:49:40.812" v="2262" actId="1076"/>
          <ac:spMkLst>
            <pc:docMk/>
            <pc:sldMk cId="726519146" sldId="2145706710"/>
            <ac:spMk id="38" creationId="{54B13877-2241-5640-CC73-CE1F2B3E45F4}"/>
          </ac:spMkLst>
        </pc:spChg>
        <pc:spChg chg="add mod">
          <ac:chgData name="Deborah Walter" userId="c20ebd7f-c79a-41c5-a0bc-0c956912b773" providerId="ADAL" clId="{82ACE6A8-40CD-4D1C-B19B-F9933EE5F470}" dt="2024-05-21T18:07:42.397" v="1842" actId="20577"/>
          <ac:spMkLst>
            <pc:docMk/>
            <pc:sldMk cId="726519146" sldId="2145706710"/>
            <ac:spMk id="43" creationId="{4546EEEF-0BF9-C1E2-F7E9-3934C2318042}"/>
          </ac:spMkLst>
        </pc:spChg>
        <pc:spChg chg="del">
          <ac:chgData name="Deborah Walter" userId="c20ebd7f-c79a-41c5-a0bc-0c956912b773" providerId="ADAL" clId="{82ACE6A8-40CD-4D1C-B19B-F9933EE5F470}" dt="2024-05-21T16:54:38.374" v="1165" actId="478"/>
          <ac:spMkLst>
            <pc:docMk/>
            <pc:sldMk cId="726519146" sldId="2145706710"/>
            <ac:spMk id="44" creationId="{30A15FC0-76A2-C278-5120-957C94C2CE9C}"/>
          </ac:spMkLst>
        </pc:spChg>
        <pc:spChg chg="add mod">
          <ac:chgData name="Deborah Walter" userId="c20ebd7f-c79a-41c5-a0bc-0c956912b773" providerId="ADAL" clId="{82ACE6A8-40CD-4D1C-B19B-F9933EE5F470}" dt="2024-05-21T18:04:56.704" v="1802" actId="20577"/>
          <ac:spMkLst>
            <pc:docMk/>
            <pc:sldMk cId="726519146" sldId="2145706710"/>
            <ac:spMk id="45" creationId="{C16BEC2C-7349-8A61-17E3-3672F8002D58}"/>
          </ac:spMkLst>
        </pc:spChg>
        <pc:spChg chg="add mod">
          <ac:chgData name="Deborah Walter" userId="c20ebd7f-c79a-41c5-a0bc-0c956912b773" providerId="ADAL" clId="{82ACE6A8-40CD-4D1C-B19B-F9933EE5F470}" dt="2024-05-21T18:08:28.680" v="1849" actId="20577"/>
          <ac:spMkLst>
            <pc:docMk/>
            <pc:sldMk cId="726519146" sldId="2145706710"/>
            <ac:spMk id="46" creationId="{AF14B587-2C28-E532-7DB6-F1A1F8A98F8D}"/>
          </ac:spMkLst>
        </pc:spChg>
        <pc:spChg chg="del">
          <ac:chgData name="Deborah Walter" userId="c20ebd7f-c79a-41c5-a0bc-0c956912b773" providerId="ADAL" clId="{82ACE6A8-40CD-4D1C-B19B-F9933EE5F470}" dt="2024-05-21T16:54:38.374" v="1165" actId="478"/>
          <ac:spMkLst>
            <pc:docMk/>
            <pc:sldMk cId="726519146" sldId="2145706710"/>
            <ac:spMk id="47" creationId="{B3108D0B-4F75-CFC7-57ED-E3CCC2F201EF}"/>
          </ac:spMkLst>
        </pc:spChg>
        <pc:spChg chg="add mod">
          <ac:chgData name="Deborah Walter" userId="c20ebd7f-c79a-41c5-a0bc-0c956912b773" providerId="ADAL" clId="{82ACE6A8-40CD-4D1C-B19B-F9933EE5F470}" dt="2024-05-22T07:54:33.152" v="2423" actId="12"/>
          <ac:spMkLst>
            <pc:docMk/>
            <pc:sldMk cId="726519146" sldId="2145706710"/>
            <ac:spMk id="48" creationId="{1CE00E93-182D-4966-DECF-8E5766D17DB2}"/>
          </ac:spMkLst>
        </pc:spChg>
        <pc:spChg chg="del">
          <ac:chgData name="Deborah Walter" userId="c20ebd7f-c79a-41c5-a0bc-0c956912b773" providerId="ADAL" clId="{82ACE6A8-40CD-4D1C-B19B-F9933EE5F470}" dt="2024-05-21T16:54:38.374" v="1165" actId="478"/>
          <ac:spMkLst>
            <pc:docMk/>
            <pc:sldMk cId="726519146" sldId="2145706710"/>
            <ac:spMk id="49" creationId="{3084BE0F-D5CE-9C9B-EE00-410E16D9AD0F}"/>
          </ac:spMkLst>
        </pc:spChg>
        <pc:spChg chg="del">
          <ac:chgData name="Deborah Walter" userId="c20ebd7f-c79a-41c5-a0bc-0c956912b773" providerId="ADAL" clId="{82ACE6A8-40CD-4D1C-B19B-F9933EE5F470}" dt="2024-05-21T16:54:38.374" v="1165" actId="478"/>
          <ac:spMkLst>
            <pc:docMk/>
            <pc:sldMk cId="726519146" sldId="2145706710"/>
            <ac:spMk id="56" creationId="{FA1B7295-3FFB-F932-0C81-B67DF61D162E}"/>
          </ac:spMkLst>
        </pc:spChg>
        <pc:grpChg chg="add del mod">
          <ac:chgData name="Deborah Walter" userId="c20ebd7f-c79a-41c5-a0bc-0c956912b773" providerId="ADAL" clId="{82ACE6A8-40CD-4D1C-B19B-F9933EE5F470}" dt="2024-05-21T17:06:17.502" v="1201" actId="478"/>
          <ac:grpSpMkLst>
            <pc:docMk/>
            <pc:sldMk cId="726519146" sldId="2145706710"/>
            <ac:grpSpMk id="2" creationId="{FCC432F3-FB2B-59CE-7C5B-A72A6316EA2A}"/>
          </ac:grpSpMkLst>
        </pc:grpChg>
        <pc:grpChg chg="add mod topLvl">
          <ac:chgData name="Deborah Walter" userId="c20ebd7f-c79a-41c5-a0bc-0c956912b773" providerId="ADAL" clId="{82ACE6A8-40CD-4D1C-B19B-F9933EE5F470}" dt="2024-05-22T07:49:26.041" v="2261" actId="165"/>
          <ac:grpSpMkLst>
            <pc:docMk/>
            <pc:sldMk cId="726519146" sldId="2145706710"/>
            <ac:grpSpMk id="10" creationId="{5740255D-F8E2-4CD2-E951-BDD79AF33703}"/>
          </ac:grpSpMkLst>
        </pc:grpChg>
        <pc:grpChg chg="add del mod">
          <ac:chgData name="Deborah Walter" userId="c20ebd7f-c79a-41c5-a0bc-0c956912b773" providerId="ADAL" clId="{82ACE6A8-40CD-4D1C-B19B-F9933EE5F470}" dt="2024-05-21T17:49:49.958" v="1443" actId="165"/>
          <ac:grpSpMkLst>
            <pc:docMk/>
            <pc:sldMk cId="726519146" sldId="2145706710"/>
            <ac:grpSpMk id="19" creationId="{77D04DC4-F96A-679E-C816-10F12E5F01BE}"/>
          </ac:grpSpMkLst>
        </pc:grpChg>
        <pc:grpChg chg="add mod topLvl">
          <ac:chgData name="Deborah Walter" userId="c20ebd7f-c79a-41c5-a0bc-0c956912b773" providerId="ADAL" clId="{82ACE6A8-40CD-4D1C-B19B-F9933EE5F470}" dt="2024-05-22T07:49:26.041" v="2261" actId="165"/>
          <ac:grpSpMkLst>
            <pc:docMk/>
            <pc:sldMk cId="726519146" sldId="2145706710"/>
            <ac:grpSpMk id="40" creationId="{E9915658-2E85-F544-8977-7DD086296311}"/>
          </ac:grpSpMkLst>
        </pc:grpChg>
        <pc:grpChg chg="add del mod">
          <ac:chgData name="Deborah Walter" userId="c20ebd7f-c79a-41c5-a0bc-0c956912b773" providerId="ADAL" clId="{82ACE6A8-40CD-4D1C-B19B-F9933EE5F470}" dt="2024-05-22T07:49:26.041" v="2261" actId="165"/>
          <ac:grpSpMkLst>
            <pc:docMk/>
            <pc:sldMk cId="726519146" sldId="2145706710"/>
            <ac:grpSpMk id="41" creationId="{208ADDEE-1E48-FBF8-E739-C3CA779BB5C4}"/>
          </ac:grpSpMkLst>
        </pc:grpChg>
        <pc:grpChg chg="add mod">
          <ac:chgData name="Deborah Walter" userId="c20ebd7f-c79a-41c5-a0bc-0c956912b773" providerId="ADAL" clId="{82ACE6A8-40CD-4D1C-B19B-F9933EE5F470}" dt="2024-05-21T17:57:57.923" v="1630" actId="14100"/>
          <ac:grpSpMkLst>
            <pc:docMk/>
            <pc:sldMk cId="726519146" sldId="2145706710"/>
            <ac:grpSpMk id="42" creationId="{E792F667-D424-C9A4-B419-4A3D9E1EB4FE}"/>
          </ac:grpSpMkLst>
        </pc:grpChg>
        <pc:picChg chg="del">
          <ac:chgData name="Deborah Walter" userId="c20ebd7f-c79a-41c5-a0bc-0c956912b773" providerId="ADAL" clId="{82ACE6A8-40CD-4D1C-B19B-F9933EE5F470}" dt="2024-05-21T16:54:38.374" v="1165" actId="478"/>
          <ac:picMkLst>
            <pc:docMk/>
            <pc:sldMk cId="726519146" sldId="2145706710"/>
            <ac:picMk id="55" creationId="{5A1A4070-15E9-A61F-989A-A235E6641AD2}"/>
          </ac:picMkLst>
        </pc:picChg>
        <pc:picChg chg="del">
          <ac:chgData name="Deborah Walter" userId="c20ebd7f-c79a-41c5-a0bc-0c956912b773" providerId="ADAL" clId="{82ACE6A8-40CD-4D1C-B19B-F9933EE5F470}" dt="2024-05-21T16:54:38.374" v="1165" actId="478"/>
          <ac:picMkLst>
            <pc:docMk/>
            <pc:sldMk cId="726519146" sldId="2145706710"/>
            <ac:picMk id="59" creationId="{F9444B39-6C73-0A7C-9AAB-D731808043DB}"/>
          </ac:picMkLst>
        </pc:picChg>
        <pc:picChg chg="del">
          <ac:chgData name="Deborah Walter" userId="c20ebd7f-c79a-41c5-a0bc-0c956912b773" providerId="ADAL" clId="{82ACE6A8-40CD-4D1C-B19B-F9933EE5F470}" dt="2024-05-21T16:54:40.272" v="1166" actId="478"/>
          <ac:picMkLst>
            <pc:docMk/>
            <pc:sldMk cId="726519146" sldId="2145706710"/>
            <ac:picMk id="61" creationId="{3C5A40CE-7279-10CF-BD5D-63BAE53E53A5}"/>
          </ac:picMkLst>
        </pc:picChg>
        <pc:picChg chg="del">
          <ac:chgData name="Deborah Walter" userId="c20ebd7f-c79a-41c5-a0bc-0c956912b773" providerId="ADAL" clId="{82ACE6A8-40CD-4D1C-B19B-F9933EE5F470}" dt="2024-05-21T16:54:38.374" v="1165" actId="478"/>
          <ac:picMkLst>
            <pc:docMk/>
            <pc:sldMk cId="726519146" sldId="2145706710"/>
            <ac:picMk id="62" creationId="{0CC52A94-861A-1782-A615-F2F82D6E4B62}"/>
          </ac:picMkLst>
        </pc:picChg>
        <pc:picChg chg="del">
          <ac:chgData name="Deborah Walter" userId="c20ebd7f-c79a-41c5-a0bc-0c956912b773" providerId="ADAL" clId="{82ACE6A8-40CD-4D1C-B19B-F9933EE5F470}" dt="2024-05-21T16:54:38.374" v="1165" actId="478"/>
          <ac:picMkLst>
            <pc:docMk/>
            <pc:sldMk cId="726519146" sldId="2145706710"/>
            <ac:picMk id="63" creationId="{DA874253-CD96-C6B7-B055-2328F2D3E035}"/>
          </ac:picMkLst>
        </pc:picChg>
        <pc:picChg chg="del">
          <ac:chgData name="Deborah Walter" userId="c20ebd7f-c79a-41c5-a0bc-0c956912b773" providerId="ADAL" clId="{82ACE6A8-40CD-4D1C-B19B-F9933EE5F470}" dt="2024-05-21T16:54:38.374" v="1165" actId="478"/>
          <ac:picMkLst>
            <pc:docMk/>
            <pc:sldMk cId="726519146" sldId="2145706710"/>
            <ac:picMk id="64" creationId="{C00350CD-7E36-B01C-63E7-96F13DA3D55C}"/>
          </ac:picMkLst>
        </pc:picChg>
        <pc:cxnChg chg="del">
          <ac:chgData name="Deborah Walter" userId="c20ebd7f-c79a-41c5-a0bc-0c956912b773" providerId="ADAL" clId="{82ACE6A8-40CD-4D1C-B19B-F9933EE5F470}" dt="2024-05-21T16:54:38.374" v="1165" actId="478"/>
          <ac:cxnSpMkLst>
            <pc:docMk/>
            <pc:sldMk cId="726519146" sldId="2145706710"/>
            <ac:cxnSpMk id="16" creationId="{4ABA0C06-A0F0-2823-1D09-B7DCE57E57B4}"/>
          </ac:cxnSpMkLst>
        </pc:cxnChg>
        <pc:cxnChg chg="del">
          <ac:chgData name="Deborah Walter" userId="c20ebd7f-c79a-41c5-a0bc-0c956912b773" providerId="ADAL" clId="{82ACE6A8-40CD-4D1C-B19B-F9933EE5F470}" dt="2024-05-21T16:54:38.374" v="1165" actId="478"/>
          <ac:cxnSpMkLst>
            <pc:docMk/>
            <pc:sldMk cId="726519146" sldId="2145706710"/>
            <ac:cxnSpMk id="18" creationId="{3ED8BDD3-9B1F-9ADD-D8D5-03368C041CF3}"/>
          </ac:cxnSpMkLst>
        </pc:cxnChg>
        <pc:cxnChg chg="del">
          <ac:chgData name="Deborah Walter" userId="c20ebd7f-c79a-41c5-a0bc-0c956912b773" providerId="ADAL" clId="{82ACE6A8-40CD-4D1C-B19B-F9933EE5F470}" dt="2024-05-21T16:54:38.374" v="1165" actId="478"/>
          <ac:cxnSpMkLst>
            <pc:docMk/>
            <pc:sldMk cId="726519146" sldId="2145706710"/>
            <ac:cxnSpMk id="20" creationId="{7BB7EF0A-F33F-A057-4BBB-EEE36B6935BB}"/>
          </ac:cxnSpMkLst>
        </pc:cxnChg>
        <pc:cxnChg chg="del">
          <ac:chgData name="Deborah Walter" userId="c20ebd7f-c79a-41c5-a0bc-0c956912b773" providerId="ADAL" clId="{82ACE6A8-40CD-4D1C-B19B-F9933EE5F470}" dt="2024-05-21T16:54:38.374" v="1165" actId="478"/>
          <ac:cxnSpMkLst>
            <pc:docMk/>
            <pc:sldMk cId="726519146" sldId="2145706710"/>
            <ac:cxnSpMk id="21" creationId="{1314DF60-6EE5-4658-A1BE-C9154B1CBEDC}"/>
          </ac:cxnSpMkLst>
        </pc:cxnChg>
        <pc:cxnChg chg="add del">
          <ac:chgData name="Deborah Walter" userId="c20ebd7f-c79a-41c5-a0bc-0c956912b773" providerId="ADAL" clId="{82ACE6A8-40CD-4D1C-B19B-F9933EE5F470}" dt="2024-05-21T17:40:11.023" v="1353" actId="11529"/>
          <ac:cxnSpMkLst>
            <pc:docMk/>
            <pc:sldMk cId="726519146" sldId="2145706710"/>
            <ac:cxnSpMk id="28" creationId="{E60E47C4-1534-1D24-72BB-A68C1EA42744}"/>
          </ac:cxnSpMkLst>
        </pc:cxnChg>
        <pc:cxnChg chg="add mod">
          <ac:chgData name="Deborah Walter" userId="c20ebd7f-c79a-41c5-a0bc-0c956912b773" providerId="ADAL" clId="{82ACE6A8-40CD-4D1C-B19B-F9933EE5F470}" dt="2024-05-22T07:49:26.041" v="2261" actId="165"/>
          <ac:cxnSpMkLst>
            <pc:docMk/>
            <pc:sldMk cId="726519146" sldId="2145706710"/>
            <ac:cxnSpMk id="29" creationId="{B478FF3D-D30A-294A-5D28-D11F9C1371D2}"/>
          </ac:cxnSpMkLst>
        </pc:cxnChg>
        <pc:cxnChg chg="add mod">
          <ac:chgData name="Deborah Walter" userId="c20ebd7f-c79a-41c5-a0bc-0c956912b773" providerId="ADAL" clId="{82ACE6A8-40CD-4D1C-B19B-F9933EE5F470}" dt="2024-05-22T07:49:26.041" v="2261" actId="165"/>
          <ac:cxnSpMkLst>
            <pc:docMk/>
            <pc:sldMk cId="726519146" sldId="2145706710"/>
            <ac:cxnSpMk id="31" creationId="{BCBAFE91-BCC1-B9BC-E097-A65F15D79C5B}"/>
          </ac:cxnSpMkLst>
        </pc:cxnChg>
        <pc:cxnChg chg="del">
          <ac:chgData name="Deborah Walter" userId="c20ebd7f-c79a-41c5-a0bc-0c956912b773" providerId="ADAL" clId="{82ACE6A8-40CD-4D1C-B19B-F9933EE5F470}" dt="2024-05-21T16:54:38.374" v="1165" actId="478"/>
          <ac:cxnSpMkLst>
            <pc:docMk/>
            <pc:sldMk cId="726519146" sldId="2145706710"/>
            <ac:cxnSpMk id="32" creationId="{D5BE6D46-E7D8-2677-2654-18D2971133E0}"/>
          </ac:cxnSpMkLst>
        </pc:cxnChg>
        <pc:cxnChg chg="add mod">
          <ac:chgData name="Deborah Walter" userId="c20ebd7f-c79a-41c5-a0bc-0c956912b773" providerId="ADAL" clId="{82ACE6A8-40CD-4D1C-B19B-F9933EE5F470}" dt="2024-05-21T17:58:26.362" v="1660" actId="1035"/>
          <ac:cxnSpMkLst>
            <pc:docMk/>
            <pc:sldMk cId="726519146" sldId="2145706710"/>
            <ac:cxnSpMk id="33" creationId="{8B098635-46B0-9162-53C0-B714BC0B1F85}"/>
          </ac:cxnSpMkLst>
        </pc:cxnChg>
        <pc:cxnChg chg="del">
          <ac:chgData name="Deborah Walter" userId="c20ebd7f-c79a-41c5-a0bc-0c956912b773" providerId="ADAL" clId="{82ACE6A8-40CD-4D1C-B19B-F9933EE5F470}" dt="2024-05-21T16:54:38.374" v="1165" actId="478"/>
          <ac:cxnSpMkLst>
            <pc:docMk/>
            <pc:sldMk cId="726519146" sldId="2145706710"/>
            <ac:cxnSpMk id="34" creationId="{A88263D9-0A9D-73A7-2E66-E42951627A88}"/>
          </ac:cxnSpMkLst>
        </pc:cxnChg>
        <pc:cxnChg chg="add mod">
          <ac:chgData name="Deborah Walter" userId="c20ebd7f-c79a-41c5-a0bc-0c956912b773" providerId="ADAL" clId="{82ACE6A8-40CD-4D1C-B19B-F9933EE5F470}" dt="2024-05-21T17:58:30.141" v="1665" actId="1035"/>
          <ac:cxnSpMkLst>
            <pc:docMk/>
            <pc:sldMk cId="726519146" sldId="2145706710"/>
            <ac:cxnSpMk id="35" creationId="{76E74D66-8BB9-812C-21D5-B14F63853361}"/>
          </ac:cxnSpMkLst>
        </pc:cxnChg>
        <pc:cxnChg chg="add mod">
          <ac:chgData name="Deborah Walter" userId="c20ebd7f-c79a-41c5-a0bc-0c956912b773" providerId="ADAL" clId="{82ACE6A8-40CD-4D1C-B19B-F9933EE5F470}" dt="2024-05-21T17:58:36.486" v="1686" actId="1036"/>
          <ac:cxnSpMkLst>
            <pc:docMk/>
            <pc:sldMk cId="726519146" sldId="2145706710"/>
            <ac:cxnSpMk id="36" creationId="{B215064E-34AD-9570-8AF1-951E042909EA}"/>
          </ac:cxnSpMkLst>
        </pc:cxnChg>
        <pc:cxnChg chg="del">
          <ac:chgData name="Deborah Walter" userId="c20ebd7f-c79a-41c5-a0bc-0c956912b773" providerId="ADAL" clId="{82ACE6A8-40CD-4D1C-B19B-F9933EE5F470}" dt="2024-05-21T16:54:38.374" v="1165" actId="478"/>
          <ac:cxnSpMkLst>
            <pc:docMk/>
            <pc:sldMk cId="726519146" sldId="2145706710"/>
            <ac:cxnSpMk id="39" creationId="{60E828C2-948E-96AB-95E3-A875ECFB2BD1}"/>
          </ac:cxnSpMkLst>
        </pc:cxnChg>
      </pc:sldChg>
      <pc:sldChg chg="addSp delSp modSp add mod">
        <pc:chgData name="Deborah Walter" userId="c20ebd7f-c79a-41c5-a0bc-0c956912b773" providerId="ADAL" clId="{82ACE6A8-40CD-4D1C-B19B-F9933EE5F470}" dt="2024-05-21T17:03:23.665" v="1198" actId="1036"/>
        <pc:sldMkLst>
          <pc:docMk/>
          <pc:sldMk cId="2465477624" sldId="2145706711"/>
        </pc:sldMkLst>
        <pc:spChg chg="mod">
          <ac:chgData name="Deborah Walter" userId="c20ebd7f-c79a-41c5-a0bc-0c956912b773" providerId="ADAL" clId="{82ACE6A8-40CD-4D1C-B19B-F9933EE5F470}" dt="2024-05-21T16:58:42.291" v="1180" actId="20577"/>
          <ac:spMkLst>
            <pc:docMk/>
            <pc:sldMk cId="2465477624" sldId="2145706711"/>
            <ac:spMk id="18" creationId="{0CFC7E56-D369-39B9-5923-72066F7D4AA2}"/>
          </ac:spMkLst>
        </pc:spChg>
        <pc:spChg chg="mod">
          <ac:chgData name="Deborah Walter" userId="c20ebd7f-c79a-41c5-a0bc-0c956912b773" providerId="ADAL" clId="{82ACE6A8-40CD-4D1C-B19B-F9933EE5F470}" dt="2024-05-21T16:58:13.473" v="1178"/>
          <ac:spMkLst>
            <pc:docMk/>
            <pc:sldMk cId="2465477624" sldId="2145706711"/>
            <ac:spMk id="20" creationId="{43196D6D-527B-40FE-C400-4A9C690959DA}"/>
          </ac:spMkLst>
        </pc:spChg>
        <pc:spChg chg="mod">
          <ac:chgData name="Deborah Walter" userId="c20ebd7f-c79a-41c5-a0bc-0c956912b773" providerId="ADAL" clId="{82ACE6A8-40CD-4D1C-B19B-F9933EE5F470}" dt="2024-05-21T16:59:15.115" v="1183"/>
          <ac:spMkLst>
            <pc:docMk/>
            <pc:sldMk cId="2465477624" sldId="2145706711"/>
            <ac:spMk id="21" creationId="{AF7106C0-C80F-6AE5-3878-350B97B2F5A7}"/>
          </ac:spMkLst>
        </pc:spChg>
        <pc:grpChg chg="mod">
          <ac:chgData name="Deborah Walter" userId="c20ebd7f-c79a-41c5-a0bc-0c956912b773" providerId="ADAL" clId="{82ACE6A8-40CD-4D1C-B19B-F9933EE5F470}" dt="2024-05-21T17:03:23.665" v="1198" actId="1036"/>
          <ac:grpSpMkLst>
            <pc:docMk/>
            <pc:sldMk cId="2465477624" sldId="2145706711"/>
            <ac:grpSpMk id="78" creationId="{11DD70FD-83C7-87BD-43BB-CBB827349EB7}"/>
          </ac:grpSpMkLst>
        </pc:grpChg>
        <pc:picChg chg="add mod">
          <ac:chgData name="Deborah Walter" userId="c20ebd7f-c79a-41c5-a0bc-0c956912b773" providerId="ADAL" clId="{82ACE6A8-40CD-4D1C-B19B-F9933EE5F470}" dt="2024-05-21T17:01:24.442" v="1187" actId="1076"/>
          <ac:picMkLst>
            <pc:docMk/>
            <pc:sldMk cId="2465477624" sldId="2145706711"/>
            <ac:picMk id="2" creationId="{DA4C314A-1BE2-F9AB-D8C5-24A6376B1146}"/>
          </ac:picMkLst>
        </pc:picChg>
        <pc:picChg chg="add mod">
          <ac:chgData name="Deborah Walter" userId="c20ebd7f-c79a-41c5-a0bc-0c956912b773" providerId="ADAL" clId="{82ACE6A8-40CD-4D1C-B19B-F9933EE5F470}" dt="2024-05-21T17:03:13.366" v="1192" actId="1076"/>
          <ac:picMkLst>
            <pc:docMk/>
            <pc:sldMk cId="2465477624" sldId="2145706711"/>
            <ac:picMk id="10" creationId="{CFFA10D9-0BEC-F73D-B223-64BED7CCAD15}"/>
          </ac:picMkLst>
        </pc:picChg>
        <pc:picChg chg="mod">
          <ac:chgData name="Deborah Walter" userId="c20ebd7f-c79a-41c5-a0bc-0c956912b773" providerId="ADAL" clId="{82ACE6A8-40CD-4D1C-B19B-F9933EE5F470}" dt="2024-05-21T16:57:57.870" v="1177" actId="1076"/>
          <ac:picMkLst>
            <pc:docMk/>
            <pc:sldMk cId="2465477624" sldId="2145706711"/>
            <ac:picMk id="27" creationId="{0130FBE6-AB25-E10F-DB83-C7A841DEC177}"/>
          </ac:picMkLst>
        </pc:picChg>
        <pc:picChg chg="del">
          <ac:chgData name="Deborah Walter" userId="c20ebd7f-c79a-41c5-a0bc-0c956912b773" providerId="ADAL" clId="{82ACE6A8-40CD-4D1C-B19B-F9933EE5F470}" dt="2024-05-21T16:57:51.935" v="1175" actId="478"/>
          <ac:picMkLst>
            <pc:docMk/>
            <pc:sldMk cId="2465477624" sldId="2145706711"/>
            <ac:picMk id="28" creationId="{F1DE3D1A-E03E-3ADA-38AA-82BE81F7D18E}"/>
          </ac:picMkLst>
        </pc:picChg>
        <pc:picChg chg="del">
          <ac:chgData name="Deborah Walter" userId="c20ebd7f-c79a-41c5-a0bc-0c956912b773" providerId="ADAL" clId="{82ACE6A8-40CD-4D1C-B19B-F9933EE5F470}" dt="2024-05-21T16:57:53.728" v="1176" actId="478"/>
          <ac:picMkLst>
            <pc:docMk/>
            <pc:sldMk cId="2465477624" sldId="2145706711"/>
            <ac:picMk id="29" creationId="{AD712426-6194-BC88-AD2A-D6EDCFB376F6}"/>
          </ac:picMkLst>
        </pc:picChg>
      </pc:sldChg>
      <pc:sldChg chg="addSp delSp modSp new del mod">
        <pc:chgData name="Deborah Walter" userId="c20ebd7f-c79a-41c5-a0bc-0c956912b773" providerId="ADAL" clId="{82ACE6A8-40CD-4D1C-B19B-F9933EE5F470}" dt="2024-05-22T08:23:15.605" v="2639" actId="2696"/>
        <pc:sldMkLst>
          <pc:docMk/>
          <pc:sldMk cId="105603608" sldId="2145706712"/>
        </pc:sldMkLst>
        <pc:spChg chg="add del mod">
          <ac:chgData name="Deborah Walter" userId="c20ebd7f-c79a-41c5-a0bc-0c956912b773" providerId="ADAL" clId="{82ACE6A8-40CD-4D1C-B19B-F9933EE5F470}" dt="2024-05-22T08:20:55.491" v="2623" actId="478"/>
          <ac:spMkLst>
            <pc:docMk/>
            <pc:sldMk cId="105603608" sldId="2145706712"/>
            <ac:spMk id="2" creationId="{AC11A75E-2FB9-62EA-7B92-567A2F7EB0E3}"/>
          </ac:spMkLst>
        </pc:spChg>
        <pc:spChg chg="add del mod">
          <ac:chgData name="Deborah Walter" userId="c20ebd7f-c79a-41c5-a0bc-0c956912b773" providerId="ADAL" clId="{82ACE6A8-40CD-4D1C-B19B-F9933EE5F470}" dt="2024-05-22T08:23:12.958" v="2638" actId="478"/>
          <ac:spMkLst>
            <pc:docMk/>
            <pc:sldMk cId="105603608" sldId="2145706712"/>
            <ac:spMk id="3" creationId="{72FCF9D7-5A66-2018-1666-4647B035D4E7}"/>
          </ac:spMkLst>
        </pc:spChg>
        <pc:picChg chg="add del mod">
          <ac:chgData name="Deborah Walter" userId="c20ebd7f-c79a-41c5-a0bc-0c956912b773" providerId="ADAL" clId="{82ACE6A8-40CD-4D1C-B19B-F9933EE5F470}" dt="2024-05-22T08:23:11.859" v="2637" actId="478"/>
          <ac:picMkLst>
            <pc:docMk/>
            <pc:sldMk cId="105603608" sldId="2145706712"/>
            <ac:picMk id="4" creationId="{C0A61793-78D2-AE56-0422-F91E7C18FE0E}"/>
          </ac:picMkLst>
        </pc:picChg>
      </pc:sldChg>
      <pc:sldChg chg="addSp delSp modSp add mod ord">
        <pc:chgData name="Deborah Walter" userId="c20ebd7f-c79a-41c5-a0bc-0c956912b773" providerId="ADAL" clId="{82ACE6A8-40CD-4D1C-B19B-F9933EE5F470}" dt="2024-05-22T08:28:28.914" v="2697" actId="207"/>
        <pc:sldMkLst>
          <pc:docMk/>
          <pc:sldMk cId="731946538" sldId="2145706713"/>
        </pc:sldMkLst>
        <pc:spChg chg="del">
          <ac:chgData name="Deborah Walter" userId="c20ebd7f-c79a-41c5-a0bc-0c956912b773" providerId="ADAL" clId="{82ACE6A8-40CD-4D1C-B19B-F9933EE5F470}" dt="2024-05-22T08:21:13.667" v="2627" actId="478"/>
          <ac:spMkLst>
            <pc:docMk/>
            <pc:sldMk cId="731946538" sldId="2145706713"/>
            <ac:spMk id="2" creationId="{3BBCD8B5-AD25-368F-5E89-C7DFE1892CB3}"/>
          </ac:spMkLst>
        </pc:spChg>
        <pc:spChg chg="add del mod">
          <ac:chgData name="Deborah Walter" userId="c20ebd7f-c79a-41c5-a0bc-0c956912b773" providerId="ADAL" clId="{82ACE6A8-40CD-4D1C-B19B-F9933EE5F470}" dt="2024-05-22T08:21:16.660" v="2628" actId="478"/>
          <ac:spMkLst>
            <pc:docMk/>
            <pc:sldMk cId="731946538" sldId="2145706713"/>
            <ac:spMk id="4" creationId="{0EFDDB00-7213-FF79-2F7B-080F2FA9FD62}"/>
          </ac:spMkLst>
        </pc:spChg>
        <pc:spChg chg="del">
          <ac:chgData name="Deborah Walter" userId="c20ebd7f-c79a-41c5-a0bc-0c956912b773" providerId="ADAL" clId="{82ACE6A8-40CD-4D1C-B19B-F9933EE5F470}" dt="2024-05-22T08:21:13.667" v="2627" actId="478"/>
          <ac:spMkLst>
            <pc:docMk/>
            <pc:sldMk cId="731946538" sldId="2145706713"/>
            <ac:spMk id="5" creationId="{00000000-0000-0000-0000-000000000000}"/>
          </ac:spMkLst>
        </pc:spChg>
        <pc:spChg chg="del">
          <ac:chgData name="Deborah Walter" userId="c20ebd7f-c79a-41c5-a0bc-0c956912b773" providerId="ADAL" clId="{82ACE6A8-40CD-4D1C-B19B-F9933EE5F470}" dt="2024-05-22T08:21:13.667" v="2627" actId="478"/>
          <ac:spMkLst>
            <pc:docMk/>
            <pc:sldMk cId="731946538" sldId="2145706713"/>
            <ac:spMk id="8" creationId="{E57CDEBE-3B5E-4081-BBBC-468CAB95C23C}"/>
          </ac:spMkLst>
        </pc:spChg>
        <pc:spChg chg="add del mod">
          <ac:chgData name="Deborah Walter" userId="c20ebd7f-c79a-41c5-a0bc-0c956912b773" providerId="ADAL" clId="{82ACE6A8-40CD-4D1C-B19B-F9933EE5F470}" dt="2024-05-22T08:21:16.660" v="2628" actId="478"/>
          <ac:spMkLst>
            <pc:docMk/>
            <pc:sldMk cId="731946538" sldId="2145706713"/>
            <ac:spMk id="12" creationId="{B1FB7F09-0F89-F679-69D6-55A8D014E62E}"/>
          </ac:spMkLst>
        </pc:spChg>
        <pc:spChg chg="add mod">
          <ac:chgData name="Deborah Walter" userId="c20ebd7f-c79a-41c5-a0bc-0c956912b773" providerId="ADAL" clId="{82ACE6A8-40CD-4D1C-B19B-F9933EE5F470}" dt="2024-05-22T08:27:49.644" v="2696" actId="1035"/>
          <ac:spMkLst>
            <pc:docMk/>
            <pc:sldMk cId="731946538" sldId="2145706713"/>
            <ac:spMk id="15" creationId="{AF03DF8C-A35A-CE54-03CE-CE122D174557}"/>
          </ac:spMkLst>
        </pc:spChg>
        <pc:spChg chg="del">
          <ac:chgData name="Deborah Walter" userId="c20ebd7f-c79a-41c5-a0bc-0c956912b773" providerId="ADAL" clId="{82ACE6A8-40CD-4D1C-B19B-F9933EE5F470}" dt="2024-05-22T08:21:13.667" v="2627" actId="478"/>
          <ac:spMkLst>
            <pc:docMk/>
            <pc:sldMk cId="731946538" sldId="2145706713"/>
            <ac:spMk id="16" creationId="{00000000-0000-0000-0000-000000000000}"/>
          </ac:spMkLst>
        </pc:spChg>
        <pc:spChg chg="del">
          <ac:chgData name="Deborah Walter" userId="c20ebd7f-c79a-41c5-a0bc-0c956912b773" providerId="ADAL" clId="{82ACE6A8-40CD-4D1C-B19B-F9933EE5F470}" dt="2024-05-22T08:21:13.667" v="2627" actId="478"/>
          <ac:spMkLst>
            <pc:docMk/>
            <pc:sldMk cId="731946538" sldId="2145706713"/>
            <ac:spMk id="17" creationId="{00000000-0000-0000-0000-000000000000}"/>
          </ac:spMkLst>
        </pc:spChg>
        <pc:spChg chg="add mod">
          <ac:chgData name="Deborah Walter" userId="c20ebd7f-c79a-41c5-a0bc-0c956912b773" providerId="ADAL" clId="{82ACE6A8-40CD-4D1C-B19B-F9933EE5F470}" dt="2024-05-22T08:28:28.914" v="2697" actId="207"/>
          <ac:spMkLst>
            <pc:docMk/>
            <pc:sldMk cId="731946538" sldId="2145706713"/>
            <ac:spMk id="21" creationId="{799431C3-A61C-5826-F0B5-30340F4F2B45}"/>
          </ac:spMkLst>
        </pc:spChg>
        <pc:spChg chg="add mod">
          <ac:chgData name="Deborah Walter" userId="c20ebd7f-c79a-41c5-a0bc-0c956912b773" providerId="ADAL" clId="{82ACE6A8-40CD-4D1C-B19B-F9933EE5F470}" dt="2024-05-22T08:27:41.330" v="2692" actId="122"/>
          <ac:spMkLst>
            <pc:docMk/>
            <pc:sldMk cId="731946538" sldId="2145706713"/>
            <ac:spMk id="22" creationId="{1ACC8F18-4891-C6C1-E97B-9B677EAC117F}"/>
          </ac:spMkLst>
        </pc:spChg>
        <pc:grpChg chg="add mod">
          <ac:chgData name="Deborah Walter" userId="c20ebd7f-c79a-41c5-a0bc-0c956912b773" providerId="ADAL" clId="{82ACE6A8-40CD-4D1C-B19B-F9933EE5F470}" dt="2024-05-22T08:25:34.597" v="2663" actId="1076"/>
          <ac:grpSpMkLst>
            <pc:docMk/>
            <pc:sldMk cId="731946538" sldId="2145706713"/>
            <ac:grpSpMk id="20" creationId="{E419EDA9-6042-31F3-452D-9CD33BB7A281}"/>
          </ac:grpSpMkLst>
        </pc:grpChg>
        <pc:picChg chg="mod">
          <ac:chgData name="Deborah Walter" userId="c20ebd7f-c79a-41c5-a0bc-0c956912b773" providerId="ADAL" clId="{82ACE6A8-40CD-4D1C-B19B-F9933EE5F470}" dt="2024-05-22T08:25:34.597" v="2663" actId="1076"/>
          <ac:picMkLst>
            <pc:docMk/>
            <pc:sldMk cId="731946538" sldId="2145706713"/>
            <ac:picMk id="6" creationId="{5A3F04A0-120B-8297-AEF1-6EF3C299CC85}"/>
          </ac:picMkLst>
        </pc:picChg>
        <pc:picChg chg="mod">
          <ac:chgData name="Deborah Walter" userId="c20ebd7f-c79a-41c5-a0bc-0c956912b773" providerId="ADAL" clId="{82ACE6A8-40CD-4D1C-B19B-F9933EE5F470}" dt="2024-05-22T08:25:34.597" v="2663" actId="1076"/>
          <ac:picMkLst>
            <pc:docMk/>
            <pc:sldMk cId="731946538" sldId="2145706713"/>
            <ac:picMk id="9" creationId="{00000000-0000-0000-0000-000000000000}"/>
          </ac:picMkLst>
        </pc:picChg>
        <pc:picChg chg="add del mod">
          <ac:chgData name="Deborah Walter" userId="c20ebd7f-c79a-41c5-a0bc-0c956912b773" providerId="ADAL" clId="{82ACE6A8-40CD-4D1C-B19B-F9933EE5F470}" dt="2024-05-22T08:21:52.505" v="2632" actId="478"/>
          <ac:picMkLst>
            <pc:docMk/>
            <pc:sldMk cId="731946538" sldId="2145706713"/>
            <ac:picMk id="14" creationId="{5E20185E-C6C5-E45F-F4FC-EE2035E42444}"/>
          </ac:picMkLst>
        </pc:picChg>
        <pc:picChg chg="add mod">
          <ac:chgData name="Deborah Walter" userId="c20ebd7f-c79a-41c5-a0bc-0c956912b773" providerId="ADAL" clId="{82ACE6A8-40CD-4D1C-B19B-F9933EE5F470}" dt="2024-05-22T08:27:16.122" v="2683" actId="12788"/>
          <ac:picMkLst>
            <pc:docMk/>
            <pc:sldMk cId="731946538" sldId="2145706713"/>
            <ac:picMk id="19" creationId="{AE652AB3-E1AB-F247-278C-F067DDF4297E}"/>
          </ac:picMkLst>
        </pc:picChg>
        <pc:cxnChg chg="add mod">
          <ac:chgData name="Deborah Walter" userId="c20ebd7f-c79a-41c5-a0bc-0c956912b773" providerId="ADAL" clId="{82ACE6A8-40CD-4D1C-B19B-F9933EE5F470}" dt="2024-05-22T08:21:27.309" v="2629"/>
          <ac:cxnSpMkLst>
            <pc:docMk/>
            <pc:sldMk cId="731946538" sldId="2145706713"/>
            <ac:cxnSpMk id="13" creationId="{737C39FD-6659-CE11-95A4-5172F3261935}"/>
          </ac:cxnSpMkLst>
        </pc:cxnChg>
      </pc:sldChg>
    </pc:docChg>
  </pc:docChgLst>
  <pc:docChgLst>
    <pc:chgData name="Maria Irene Cristini" userId="902a7159-52f1-42f7-a44a-8115b74a49bd" providerId="ADAL" clId="{ACCB1A70-4474-4237-A5E7-4115D06A281D}"/>
    <pc:docChg chg="modSld">
      <pc:chgData name="Maria Irene Cristini" userId="902a7159-52f1-42f7-a44a-8115b74a49bd" providerId="ADAL" clId="{ACCB1A70-4474-4237-A5E7-4115D06A281D}" dt="2024-05-21T12:27:57.998" v="2" actId="20577"/>
      <pc:docMkLst>
        <pc:docMk/>
      </pc:docMkLst>
      <pc:sldChg chg="modSp mod">
        <pc:chgData name="Maria Irene Cristini" userId="902a7159-52f1-42f7-a44a-8115b74a49bd" providerId="ADAL" clId="{ACCB1A70-4474-4237-A5E7-4115D06A281D}" dt="2024-05-21T12:27:57.998" v="2" actId="20577"/>
        <pc:sldMkLst>
          <pc:docMk/>
          <pc:sldMk cId="4014942499" sldId="2145706697"/>
        </pc:sldMkLst>
        <pc:spChg chg="mod">
          <ac:chgData name="Maria Irene Cristini" userId="902a7159-52f1-42f7-a44a-8115b74a49bd" providerId="ADAL" clId="{ACCB1A70-4474-4237-A5E7-4115D06A281D}" dt="2024-05-21T12:27:57.998" v="2" actId="20577"/>
          <ac:spMkLst>
            <pc:docMk/>
            <pc:sldMk cId="4014942499" sldId="2145706697"/>
            <ac:spMk id="30" creationId="{2E703DF4-86F4-482C-189B-9DE2560B5A6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3"/>
            <a:ext cx="2766801" cy="588778"/>
          </a:xfrm>
          <a:prstGeom prst="rect">
            <a:avLst/>
          </a:prstGeom>
        </p:spPr>
        <p:txBody>
          <a:bodyPr vert="horz" lIns="99475" tIns="49737" rIns="99475" bIns="49737" rtlCol="0"/>
          <a:lstStyle>
            <a:lvl1pPr algn="l">
              <a:defRPr sz="1200"/>
            </a:lvl1pPr>
          </a:lstStyle>
          <a:p>
            <a:endParaRPr lang="it-IT"/>
          </a:p>
        </p:txBody>
      </p:sp>
      <p:sp>
        <p:nvSpPr>
          <p:cNvPr id="3" name="Date Placeholder 2"/>
          <p:cNvSpPr>
            <a:spLocks noGrp="1"/>
          </p:cNvSpPr>
          <p:nvPr>
            <p:ph type="dt" sz="quarter" idx="1"/>
          </p:nvPr>
        </p:nvSpPr>
        <p:spPr>
          <a:xfrm>
            <a:off x="3616653" y="3"/>
            <a:ext cx="2766801" cy="588778"/>
          </a:xfrm>
          <a:prstGeom prst="rect">
            <a:avLst/>
          </a:prstGeom>
        </p:spPr>
        <p:txBody>
          <a:bodyPr vert="horz" lIns="99475" tIns="49737" rIns="99475" bIns="49737" rtlCol="0"/>
          <a:lstStyle>
            <a:lvl1pPr algn="r">
              <a:defRPr sz="1200"/>
            </a:lvl1pPr>
          </a:lstStyle>
          <a:p>
            <a:fld id="{12CD703D-CDB1-415D-B588-D4F856AD1914}" type="datetimeFigureOut">
              <a:rPr lang="it-IT" smtClean="0"/>
              <a:t>22/05/2024</a:t>
            </a:fld>
            <a:endParaRPr lang="it-IT"/>
          </a:p>
        </p:txBody>
      </p:sp>
      <p:sp>
        <p:nvSpPr>
          <p:cNvPr id="4" name="Footer Placeholder 3"/>
          <p:cNvSpPr>
            <a:spLocks noGrp="1"/>
          </p:cNvSpPr>
          <p:nvPr>
            <p:ph type="ftr" sz="quarter" idx="2"/>
          </p:nvPr>
        </p:nvSpPr>
        <p:spPr>
          <a:xfrm>
            <a:off x="6" y="11146031"/>
            <a:ext cx="2766801" cy="588777"/>
          </a:xfrm>
          <a:prstGeom prst="rect">
            <a:avLst/>
          </a:prstGeom>
        </p:spPr>
        <p:txBody>
          <a:bodyPr vert="horz" lIns="99475" tIns="49737" rIns="99475" bIns="49737" rtlCol="0" anchor="b"/>
          <a:lstStyle>
            <a:lvl1pPr algn="l">
              <a:defRPr sz="1200"/>
            </a:lvl1pPr>
          </a:lstStyle>
          <a:p>
            <a:endParaRPr lang="it-IT"/>
          </a:p>
        </p:txBody>
      </p:sp>
      <p:sp>
        <p:nvSpPr>
          <p:cNvPr id="5" name="Slide Number Placeholder 4"/>
          <p:cNvSpPr>
            <a:spLocks noGrp="1"/>
          </p:cNvSpPr>
          <p:nvPr>
            <p:ph type="sldNum" sz="quarter" idx="3"/>
          </p:nvPr>
        </p:nvSpPr>
        <p:spPr>
          <a:xfrm>
            <a:off x="3616653" y="11146031"/>
            <a:ext cx="2766801" cy="588777"/>
          </a:xfrm>
          <a:prstGeom prst="rect">
            <a:avLst/>
          </a:prstGeom>
        </p:spPr>
        <p:txBody>
          <a:bodyPr vert="horz" lIns="99475" tIns="49737" rIns="99475" bIns="49737" rtlCol="0" anchor="b"/>
          <a:lstStyle>
            <a:lvl1pPr algn="r">
              <a:defRPr sz="1200"/>
            </a:lvl1pPr>
          </a:lstStyle>
          <a:p>
            <a:fld id="{526C627E-9523-4749-800A-893A70D41CCC}" type="slidenum">
              <a:rPr lang="it-IT" smtClean="0"/>
              <a:t>‹#›</a:t>
            </a:fld>
            <a:endParaRPr lang="it-IT"/>
          </a:p>
        </p:txBody>
      </p:sp>
    </p:spTree>
    <p:extLst>
      <p:ext uri="{BB962C8B-B14F-4D97-AF65-F5344CB8AC3E}">
        <p14:creationId xmlns:p14="http://schemas.microsoft.com/office/powerpoint/2010/main" val="20069594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3"/>
            <a:ext cx="2766801" cy="588778"/>
          </a:xfrm>
          <a:prstGeom prst="rect">
            <a:avLst/>
          </a:prstGeom>
        </p:spPr>
        <p:txBody>
          <a:bodyPr vert="horz" lIns="99475" tIns="49737" rIns="99475" bIns="49737" rtlCol="0"/>
          <a:lstStyle>
            <a:lvl1pPr algn="l">
              <a:defRPr sz="1200"/>
            </a:lvl1pPr>
          </a:lstStyle>
          <a:p>
            <a:endParaRPr lang="it-IT"/>
          </a:p>
        </p:txBody>
      </p:sp>
      <p:sp>
        <p:nvSpPr>
          <p:cNvPr id="3" name="Date Placeholder 2"/>
          <p:cNvSpPr>
            <a:spLocks noGrp="1"/>
          </p:cNvSpPr>
          <p:nvPr>
            <p:ph type="dt" idx="1"/>
          </p:nvPr>
        </p:nvSpPr>
        <p:spPr>
          <a:xfrm>
            <a:off x="3616653" y="3"/>
            <a:ext cx="2766801" cy="588778"/>
          </a:xfrm>
          <a:prstGeom prst="rect">
            <a:avLst/>
          </a:prstGeom>
        </p:spPr>
        <p:txBody>
          <a:bodyPr vert="horz" lIns="99475" tIns="49737" rIns="99475" bIns="49737" rtlCol="0"/>
          <a:lstStyle>
            <a:lvl1pPr algn="r">
              <a:defRPr sz="1200"/>
            </a:lvl1pPr>
          </a:lstStyle>
          <a:p>
            <a:fld id="{9EC6ADB9-3996-45F7-937B-5BA7978AB9FA}" type="datetimeFigureOut">
              <a:rPr lang="it-IT" smtClean="0"/>
              <a:t>22/05/2024</a:t>
            </a:fld>
            <a:endParaRPr lang="it-IT"/>
          </a:p>
        </p:txBody>
      </p:sp>
      <p:sp>
        <p:nvSpPr>
          <p:cNvPr id="4" name="Slide Image Placeholder 3"/>
          <p:cNvSpPr>
            <a:spLocks noGrp="1" noRot="1" noChangeAspect="1"/>
          </p:cNvSpPr>
          <p:nvPr>
            <p:ph type="sldImg" idx="2"/>
          </p:nvPr>
        </p:nvSpPr>
        <p:spPr>
          <a:xfrm>
            <a:off x="-325438" y="1468438"/>
            <a:ext cx="7035801" cy="3959225"/>
          </a:xfrm>
          <a:prstGeom prst="rect">
            <a:avLst/>
          </a:prstGeom>
          <a:noFill/>
          <a:ln w="12700">
            <a:solidFill>
              <a:prstClr val="black"/>
            </a:solidFill>
          </a:ln>
        </p:spPr>
        <p:txBody>
          <a:bodyPr vert="horz" lIns="99475" tIns="49737" rIns="99475" bIns="49737" rtlCol="0" anchor="ctr"/>
          <a:lstStyle/>
          <a:p>
            <a:endParaRPr lang="it-IT"/>
          </a:p>
        </p:txBody>
      </p:sp>
      <p:sp>
        <p:nvSpPr>
          <p:cNvPr id="5" name="Notes Placeholder 4"/>
          <p:cNvSpPr>
            <a:spLocks noGrp="1"/>
          </p:cNvSpPr>
          <p:nvPr>
            <p:ph type="body" sz="quarter" idx="3"/>
          </p:nvPr>
        </p:nvSpPr>
        <p:spPr>
          <a:xfrm>
            <a:off x="638493" y="5647372"/>
            <a:ext cx="5107940" cy="4620579"/>
          </a:xfrm>
          <a:prstGeom prst="rect">
            <a:avLst/>
          </a:prstGeom>
        </p:spPr>
        <p:txBody>
          <a:bodyPr vert="horz" lIns="99475" tIns="49737" rIns="99475" bIns="4973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6" y="11146031"/>
            <a:ext cx="2766801" cy="588777"/>
          </a:xfrm>
          <a:prstGeom prst="rect">
            <a:avLst/>
          </a:prstGeom>
        </p:spPr>
        <p:txBody>
          <a:bodyPr vert="horz" lIns="99475" tIns="49737" rIns="99475" bIns="49737" rtlCol="0" anchor="b"/>
          <a:lstStyle>
            <a:lvl1pPr algn="l">
              <a:defRPr sz="1200"/>
            </a:lvl1pPr>
          </a:lstStyle>
          <a:p>
            <a:endParaRPr lang="it-IT"/>
          </a:p>
        </p:txBody>
      </p:sp>
      <p:sp>
        <p:nvSpPr>
          <p:cNvPr id="7" name="Slide Number Placeholder 6"/>
          <p:cNvSpPr>
            <a:spLocks noGrp="1"/>
          </p:cNvSpPr>
          <p:nvPr>
            <p:ph type="sldNum" sz="quarter" idx="5"/>
          </p:nvPr>
        </p:nvSpPr>
        <p:spPr>
          <a:xfrm>
            <a:off x="3616653" y="11146031"/>
            <a:ext cx="2766801" cy="588777"/>
          </a:xfrm>
          <a:prstGeom prst="rect">
            <a:avLst/>
          </a:prstGeom>
        </p:spPr>
        <p:txBody>
          <a:bodyPr vert="horz" lIns="99475" tIns="49737" rIns="99475" bIns="49737" rtlCol="0" anchor="b"/>
          <a:lstStyle>
            <a:lvl1pPr algn="r">
              <a:defRPr sz="1200"/>
            </a:lvl1pPr>
          </a:lstStyle>
          <a:p>
            <a:fld id="{73A84A98-B9A8-4DA8-839B-E5D42D1AE6F2}" type="slidenum">
              <a:rPr lang="it-IT" smtClean="0"/>
              <a:t>‹#›</a:t>
            </a:fld>
            <a:endParaRPr lang="it-IT"/>
          </a:p>
        </p:txBody>
      </p:sp>
    </p:spTree>
    <p:extLst>
      <p:ext uri="{BB962C8B-B14F-4D97-AF65-F5344CB8AC3E}">
        <p14:creationId xmlns:p14="http://schemas.microsoft.com/office/powerpoint/2010/main" val="7964594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205834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73A84A98-B9A8-4DA8-839B-E5D42D1AE6F2}" type="slidenum">
              <a:rPr lang="it-IT" smtClean="0"/>
              <a:t>3</a:t>
            </a:fld>
            <a:endParaRPr lang="it-IT"/>
          </a:p>
        </p:txBody>
      </p:sp>
    </p:spTree>
    <p:extLst>
      <p:ext uri="{BB962C8B-B14F-4D97-AF65-F5344CB8AC3E}">
        <p14:creationId xmlns:p14="http://schemas.microsoft.com/office/powerpoint/2010/main" val="3717136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5</a:t>
            </a:fld>
            <a:endParaRPr lang="en-GB" dirty="0"/>
          </a:p>
        </p:txBody>
      </p:sp>
    </p:spTree>
    <p:extLst>
      <p:ext uri="{BB962C8B-B14F-4D97-AF65-F5344CB8AC3E}">
        <p14:creationId xmlns:p14="http://schemas.microsoft.com/office/powerpoint/2010/main" val="2252182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0.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13.jpe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image" Target="../media/image14.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5.jpeg"/><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6.jpeg"/><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image" Target="../media/image18.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image" Target="../media/image19.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wmf"/><Relationship Id="rId1" Type="http://schemas.openxmlformats.org/officeDocument/2006/relationships/slideMaster" Target="../slideMasters/slideMaster4.xml"/><Relationship Id="rId4"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28.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42.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image" Target="../media/image10.jpe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42.xml"/><Relationship Id="rId5" Type="http://schemas.openxmlformats.org/officeDocument/2006/relationships/image" Target="../media/image13.jpeg"/><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image" Target="../media/image14.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5.jpe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7.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jpeg"/><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9.emf"/><Relationship Id="rId5" Type="http://schemas.openxmlformats.org/officeDocument/2006/relationships/oleObject" Target="../embeddings/oleObject18.bin"/><Relationship Id="rId4" Type="http://schemas.openxmlformats.org/officeDocument/2006/relationships/image" Target="../media/image19.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1.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image" Target="../media/image10.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67.xml"/><Relationship Id="rId5" Type="http://schemas.openxmlformats.org/officeDocument/2006/relationships/image" Target="../media/image13.jpeg"/><Relationship Id="rId4" Type="http://schemas.openxmlformats.org/officeDocument/2006/relationships/image" Target="../media/image9.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image" Target="../media/image14.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5.jpe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7.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6.jpe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image" Target="../media/image18.jpe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image" Target="../media/image19.jpe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6.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image" Target="../media/image10.jpe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92.xml"/><Relationship Id="rId5" Type="http://schemas.openxmlformats.org/officeDocument/2006/relationships/image" Target="../media/image13.jpeg"/><Relationship Id="rId4" Type="http://schemas.openxmlformats.org/officeDocument/2006/relationships/image" Target="../media/image9.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9.emf"/><Relationship Id="rId5" Type="http://schemas.openxmlformats.org/officeDocument/2006/relationships/oleObject" Target="../embeddings/oleObject30.bin"/><Relationship Id="rId4" Type="http://schemas.openxmlformats.org/officeDocument/2006/relationships/image" Target="../media/image14.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5.jpeg"/><Relationship Id="rId5" Type="http://schemas.openxmlformats.org/officeDocument/2006/relationships/image" Target="../media/image9.emf"/><Relationship Id="rId4" Type="http://schemas.openxmlformats.org/officeDocument/2006/relationships/oleObject" Target="../embeddings/oleObject3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8.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47.jpeg"/><Relationship Id="rId5" Type="http://schemas.openxmlformats.org/officeDocument/2006/relationships/image" Target="../media/image9.emf"/><Relationship Id="rId4" Type="http://schemas.openxmlformats.org/officeDocument/2006/relationships/oleObject" Target="../embeddings/oleObject3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image" Target="../media/image18.jpe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9.emf"/><Relationship Id="rId5" Type="http://schemas.openxmlformats.org/officeDocument/2006/relationships/oleObject" Target="../embeddings/oleObject34.bin"/><Relationship Id="rId4" Type="http://schemas.openxmlformats.org/officeDocument/2006/relationships/image" Target="../media/image19.jpe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7557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Cover alterna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173FA3E-3FA2-45ED-8908-0C2442B4FB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5674"/>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640394" y="1954221"/>
            <a:ext cx="4642768"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640394" y="3046159"/>
            <a:ext cx="4642768"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63861200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Standard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40339E-1F27-4CDF-9FDA-09986509FB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239"/>
            <a:ext cx="12204869" cy="6865239"/>
          </a:xfrm>
          <a:prstGeom prst="rect">
            <a:avLst/>
          </a:prstGeom>
        </p:spPr>
      </p:pic>
      <p:pic>
        <p:nvPicPr>
          <p:cNvPr id="9" name="Picture 8">
            <a:extLst>
              <a:ext uri="{FF2B5EF4-FFF2-40B4-BE49-F238E27FC236}">
                <a16:creationId xmlns:a16="http://schemas.microsoft.com/office/drawing/2014/main" id="{B65848F7-5E53-435E-99A4-A0068B3FBC9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5674"/>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51A3807-32FA-4307-8CF5-6821FDB65D80}"/>
              </a:ext>
            </a:extLst>
          </p:cNvPr>
          <p:cNvSpPr/>
          <p:nvPr userDrawn="1"/>
        </p:nvSpPr>
        <p:spPr>
          <a:xfrm rot="5400000">
            <a:off x="2663379" y="-2670619"/>
            <a:ext cx="6865243" cy="12192000"/>
          </a:xfrm>
          <a:prstGeom prst="rect">
            <a:avLst/>
          </a:prstGeom>
          <a:gradFill flip="none" rotWithShape="1">
            <a:gsLst>
              <a:gs pos="33000">
                <a:srgbClr val="2E2E38"/>
              </a:gs>
              <a:gs pos="79000">
                <a:srgbClr val="2E2E38">
                  <a:alpha val="78000"/>
                </a:srgbClr>
              </a:gs>
            </a:gsLst>
            <a:lin ang="1620000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it-IT" sz="1087"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Title 1"/>
          <p:cNvSpPr>
            <a:spLocks noGrp="1"/>
          </p:cNvSpPr>
          <p:nvPr>
            <p:ph type="title"/>
          </p:nvPr>
        </p:nvSpPr>
        <p:spPr>
          <a:xfrm>
            <a:off x="660056" y="294200"/>
            <a:ext cx="10921206" cy="590400"/>
          </a:xfrm>
        </p:spPr>
        <p:txBody>
          <a:bodyPr/>
          <a:lstStyle>
            <a:lvl1pPr>
              <a:defRPr sz="4798" b="1">
                <a:solidFill>
                  <a:schemeClr val="bg1"/>
                </a:solidFill>
              </a:defRPr>
            </a:lvl1pPr>
          </a:lstStyle>
          <a:p>
            <a:r>
              <a:rPr lang="en-US"/>
              <a:t>Click to edit Master title style</a:t>
            </a:r>
            <a:endParaRPr lang="en-GB"/>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lvl1pPr>
              <a:defRPr>
                <a:solidFill>
                  <a:schemeClr val="tx1"/>
                </a:solidFill>
              </a:defRPr>
            </a:lvl1pPr>
          </a:lstStyle>
          <a:p>
            <a:r>
              <a:rPr lang="it-IT"/>
              <a:t>Page </a:t>
            </a:r>
            <a:fld id="{F1BC30E3-FFE5-4B91-AA19-87A149EBB9EE}" type="slidenum">
              <a:rPr smtClean="0">
                <a:solidFill>
                  <a:schemeClr val="bg1"/>
                </a:solidFill>
              </a:rPr>
              <a:pPr/>
              <a:t>‹#›</a:t>
            </a:fld>
            <a:endParaRPr>
              <a:solidFill>
                <a:schemeClr val="bg1"/>
              </a:solidFill>
            </a:endParaRPr>
          </a:p>
        </p:txBody>
      </p:sp>
      <p:sp>
        <p:nvSpPr>
          <p:cNvPr id="12" name="Text Placeholder 2">
            <a:extLst>
              <a:ext uri="{FF2B5EF4-FFF2-40B4-BE49-F238E27FC236}">
                <a16:creationId xmlns:a16="http://schemas.microsoft.com/office/drawing/2014/main" id="{B99EAC18-BBD0-481B-ACDA-057E33A40DDB}"/>
              </a:ext>
            </a:extLst>
          </p:cNvPr>
          <p:cNvSpPr>
            <a:spLocks noGrp="1"/>
          </p:cNvSpPr>
          <p:nvPr>
            <p:ph idx="1"/>
          </p:nvPr>
        </p:nvSpPr>
        <p:spPr>
          <a:xfrm>
            <a:off x="660056" y="1137920"/>
            <a:ext cx="10941076"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 name="Group 4">
            <a:extLst>
              <a:ext uri="{FF2B5EF4-FFF2-40B4-BE49-F238E27FC236}">
                <a16:creationId xmlns:a16="http://schemas.microsoft.com/office/drawing/2014/main" id="{1FC3CBF8-A9C6-45E3-8BB9-44FF9A56468B}"/>
              </a:ext>
            </a:extLst>
          </p:cNvPr>
          <p:cNvGrpSpPr>
            <a:grpSpLocks noChangeAspect="1"/>
          </p:cNvGrpSpPr>
          <p:nvPr userDrawn="1"/>
        </p:nvGrpSpPr>
        <p:grpSpPr bwMode="auto">
          <a:xfrm>
            <a:off x="10359392" y="199174"/>
            <a:ext cx="1224912" cy="1435100"/>
            <a:chOff x="6529" y="3125"/>
            <a:chExt cx="772" cy="904"/>
          </a:xfrm>
        </p:grpSpPr>
        <p:sp>
          <p:nvSpPr>
            <p:cNvPr id="11" name="Freeform 5">
              <a:extLst>
                <a:ext uri="{FF2B5EF4-FFF2-40B4-BE49-F238E27FC236}">
                  <a16:creationId xmlns:a16="http://schemas.microsoft.com/office/drawing/2014/main" id="{2B41AB6D-296D-4598-B0BF-37BF1D7E245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6">
              <a:extLst>
                <a:ext uri="{FF2B5EF4-FFF2-40B4-BE49-F238E27FC236}">
                  <a16:creationId xmlns:a16="http://schemas.microsoft.com/office/drawing/2014/main" id="{64058CE7-AB78-4C97-8AAF-7727CEC8B3C0}"/>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9438062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Standard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B3F6ADF-0ED6-479F-AC60-ACC9411C38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5674"/>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F5A74E3-2605-437B-A670-CECF92F3DF49}"/>
              </a:ext>
            </a:extLst>
          </p:cNvPr>
          <p:cNvSpPr/>
          <p:nvPr userDrawn="1"/>
        </p:nvSpPr>
        <p:spPr>
          <a:xfrm>
            <a:off x="0" y="0"/>
            <a:ext cx="12192001" cy="6858000"/>
          </a:xfrm>
          <a:prstGeom prst="rect">
            <a:avLst/>
          </a:prstGeom>
          <a:gradFill>
            <a:gsLst>
              <a:gs pos="16072">
                <a:srgbClr val="2E2E38">
                  <a:alpha val="88000"/>
                </a:srgbClr>
              </a:gs>
              <a:gs pos="28000">
                <a:srgbClr val="2E2E38">
                  <a:alpha val="90000"/>
                </a:srgbClr>
              </a:gs>
              <a:gs pos="0">
                <a:srgbClr val="2E2E38">
                  <a:alpha val="37000"/>
                </a:srgbClr>
              </a:gs>
              <a:gs pos="54000">
                <a:srgbClr val="2E2E38"/>
              </a:gs>
            </a:gsLst>
            <a:lin ang="3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ln>
                <a:noFill/>
              </a:ln>
              <a:solidFill>
                <a:schemeClr val="tx1"/>
              </a:solidFill>
            </a:endParaRP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userDrawn="1">
            <p:ph type="sldNum" sz="quarter" idx="12"/>
          </p:nvPr>
        </p:nvSpPr>
        <p:spPr/>
        <p:txBody>
          <a:bodyPr/>
          <a:lstStyle/>
          <a:p>
            <a:r>
              <a:rPr lang="en-GB"/>
              <a:t>Page </a:t>
            </a:r>
            <a:fld id="{F1BC30E3-FFE5-4B91-AA19-87A149EBB9EE}" type="slidenum">
              <a:rPr smtClean="0"/>
              <a:pPr/>
              <a:t>‹#›</a:t>
            </a:fld>
            <a:endParaRPr/>
          </a:p>
        </p:txBody>
      </p:sp>
      <p:cxnSp>
        <p:nvCxnSpPr>
          <p:cNvPr id="16" name="Straight Connector 15">
            <a:extLst>
              <a:ext uri="{FF2B5EF4-FFF2-40B4-BE49-F238E27FC236}">
                <a16:creationId xmlns:a16="http://schemas.microsoft.com/office/drawing/2014/main" id="{97C78909-5FD3-41BA-B90A-BD70A733359D}"/>
              </a:ext>
            </a:extLst>
          </p:cNvPr>
          <p:cNvCxnSpPr/>
          <p:nvPr userDrawn="1"/>
        </p:nvCxnSpPr>
        <p:spPr>
          <a:xfrm>
            <a:off x="431371" y="773838"/>
            <a:ext cx="864096"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5D97C3C4-63E4-489F-ADE2-C45256230395}"/>
              </a:ext>
            </a:extLst>
          </p:cNvPr>
          <p:cNvSpPr>
            <a:spLocks noGrp="1"/>
          </p:cNvSpPr>
          <p:nvPr userDrawn="1">
            <p:ph type="title"/>
          </p:nvPr>
        </p:nvSpPr>
        <p:spPr>
          <a:xfrm>
            <a:off x="431371" y="138625"/>
            <a:ext cx="11349682" cy="590400"/>
          </a:xfrm>
        </p:spPr>
        <p:txBody>
          <a:bodyPr/>
          <a:lstStyle>
            <a:lvl1pPr>
              <a:defRPr kumimoji="0" lang="en-GB" sz="2199" b="0" i="0" u="none" strike="noStrike" kern="0" cap="none" spc="0" normalizeH="0" baseline="0" dirty="0">
                <a:ln>
                  <a:noFill/>
                </a:ln>
                <a:solidFill>
                  <a:prstClr val="white"/>
                </a:solidFill>
                <a:effectLst/>
                <a:uLnTx/>
                <a:uFillTx/>
                <a:latin typeface="+mn-lt"/>
                <a:ea typeface="+mn-ea"/>
                <a:cs typeface="Arial"/>
              </a:defRPr>
            </a:lvl1pPr>
          </a:lstStyle>
          <a:p>
            <a:r>
              <a:rPr lang="en-US"/>
              <a:t>Click to edit Master title style</a:t>
            </a:r>
            <a:endParaRPr lang="en-GB"/>
          </a:p>
        </p:txBody>
      </p:sp>
      <p:grpSp>
        <p:nvGrpSpPr>
          <p:cNvPr id="12" name="Group 4">
            <a:extLst>
              <a:ext uri="{FF2B5EF4-FFF2-40B4-BE49-F238E27FC236}">
                <a16:creationId xmlns:a16="http://schemas.microsoft.com/office/drawing/2014/main" id="{58AD710D-D052-4DD7-A272-CC197EBEE64E}"/>
              </a:ext>
            </a:extLst>
          </p:cNvPr>
          <p:cNvGrpSpPr>
            <a:grpSpLocks noChangeAspect="1"/>
          </p:cNvGrpSpPr>
          <p:nvPr userDrawn="1"/>
        </p:nvGrpSpPr>
        <p:grpSpPr bwMode="invGray">
          <a:xfrm>
            <a:off x="11735674" y="6372818"/>
            <a:ext cx="303055" cy="311150"/>
            <a:chOff x="7110" y="4004"/>
            <a:chExt cx="191" cy="196"/>
          </a:xfrm>
        </p:grpSpPr>
        <p:sp>
          <p:nvSpPr>
            <p:cNvPr id="15" name="Freeform 5">
              <a:extLst>
                <a:ext uri="{FF2B5EF4-FFF2-40B4-BE49-F238E27FC236}">
                  <a16:creationId xmlns:a16="http://schemas.microsoft.com/office/drawing/2014/main" id="{8DD1C35E-DB7E-48DD-BAEE-842A442239B5}"/>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18" name="Freeform 6">
              <a:extLst>
                <a:ext uri="{FF2B5EF4-FFF2-40B4-BE49-F238E27FC236}">
                  <a16:creationId xmlns:a16="http://schemas.microsoft.com/office/drawing/2014/main" id="{98A7F7FE-EAB6-402F-9603-FD2D2831FF29}"/>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19" name="Freeform 7">
              <a:extLst>
                <a:ext uri="{FF2B5EF4-FFF2-40B4-BE49-F238E27FC236}">
                  <a16:creationId xmlns:a16="http://schemas.microsoft.com/office/drawing/2014/main" id="{E32CE88A-6B51-4608-82FB-1DD261536691}"/>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grpSp>
    </p:spTree>
    <p:extLst>
      <p:ext uri="{BB962C8B-B14F-4D97-AF65-F5344CB8AC3E}">
        <p14:creationId xmlns:p14="http://schemas.microsoft.com/office/powerpoint/2010/main" val="1256336232"/>
      </p:ext>
    </p:extLst>
  </p:cSld>
  <p:clrMapOvr>
    <a:masterClrMapping/>
  </p:clrMapOvr>
  <p:extLst>
    <p:ext uri="{DCECCB84-F9BA-43D5-87BE-67443E8EF086}">
      <p15:sldGuideLst xmlns:p15="http://schemas.microsoft.com/office/powerpoint/2012/main">
        <p15:guide id="1" pos="259">
          <p15:clr>
            <a:srgbClr val="FBAE40"/>
          </p15:clr>
        </p15:guide>
        <p15:guide id="2" pos="3842">
          <p15:clr>
            <a:srgbClr val="FBAE40"/>
          </p15:clr>
        </p15:guide>
        <p15:guide id="3" pos="7425">
          <p15:clr>
            <a:srgbClr val="FBAE40"/>
          </p15:clr>
        </p15:guide>
        <p15:guide id="4" orient="horz" pos="550">
          <p15:clr>
            <a:srgbClr val="FBAE40"/>
          </p15:clr>
        </p15:guide>
        <p15:guide id="5" orient="horz" pos="2251">
          <p15:clr>
            <a:srgbClr val="FBAE40"/>
          </p15:clr>
        </p15:guide>
        <p15:guide id="6" orient="horz" pos="39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2_Standard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B3F6ADF-0ED6-479F-AC60-ACC9411C38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5674"/>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F5A74E3-2605-437B-A670-CECF92F3DF49}"/>
              </a:ext>
            </a:extLst>
          </p:cNvPr>
          <p:cNvSpPr/>
          <p:nvPr userDrawn="1"/>
        </p:nvSpPr>
        <p:spPr>
          <a:xfrm>
            <a:off x="0" y="0"/>
            <a:ext cx="12192001" cy="6858000"/>
          </a:xfrm>
          <a:prstGeom prst="rect">
            <a:avLst/>
          </a:prstGeom>
          <a:gradFill>
            <a:gsLst>
              <a:gs pos="16072">
                <a:srgbClr val="2E2E38">
                  <a:alpha val="88000"/>
                </a:srgbClr>
              </a:gs>
              <a:gs pos="28000">
                <a:srgbClr val="2E2E38">
                  <a:alpha val="90000"/>
                </a:srgbClr>
              </a:gs>
              <a:gs pos="0">
                <a:srgbClr val="2E2E38">
                  <a:alpha val="37000"/>
                </a:srgbClr>
              </a:gs>
              <a:gs pos="54000">
                <a:srgbClr val="2E2E38"/>
              </a:gs>
            </a:gsLst>
            <a:lin ang="3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ln>
                <a:noFill/>
              </a:ln>
              <a:solidFill>
                <a:schemeClr val="tx1"/>
              </a:solidFill>
            </a:endParaRPr>
          </a:p>
        </p:txBody>
      </p:sp>
      <p:sp>
        <p:nvSpPr>
          <p:cNvPr id="3" name="Rectangle 2">
            <a:extLst>
              <a:ext uri="{FF2B5EF4-FFF2-40B4-BE49-F238E27FC236}">
                <a16:creationId xmlns:a16="http://schemas.microsoft.com/office/drawing/2014/main" id="{24CF763A-11FC-4F92-8068-A01587D39C89}"/>
              </a:ext>
            </a:extLst>
          </p:cNvPr>
          <p:cNvSpPr/>
          <p:nvPr userDrawn="1"/>
        </p:nvSpPr>
        <p:spPr>
          <a:xfrm>
            <a:off x="-1" y="0"/>
            <a:ext cx="12192001" cy="2578100"/>
          </a:xfrm>
          <a:prstGeom prst="rect">
            <a:avLst/>
          </a:prstGeom>
          <a:gradFill>
            <a:gsLst>
              <a:gs pos="4000">
                <a:schemeClr val="tx2">
                  <a:lumMod val="75000"/>
                </a:schemeClr>
              </a:gs>
              <a:gs pos="100000">
                <a:schemeClr val="tx2"/>
              </a:gs>
            </a:gsLst>
            <a:lin ang="18900000" scaled="1"/>
          </a:gradFill>
          <a:ln w="6258" cap="flat">
            <a:noFill/>
            <a:prstDash val="solid"/>
            <a:miter/>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lvl="0"/>
            <a:endParaRPr lang="it-IT" sz="1799">
              <a:solidFill>
                <a:schemeClr val="tx1"/>
              </a:solidFill>
            </a:endParaRP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userDrawn="1">
            <p:ph type="sldNum" sz="quarter" idx="12"/>
          </p:nvPr>
        </p:nvSpPr>
        <p:spPr/>
        <p:txBody>
          <a:bodyPr/>
          <a:lstStyle/>
          <a:p>
            <a:r>
              <a:rPr lang="en-GB"/>
              <a:t>Page </a:t>
            </a:r>
            <a:fld id="{F1BC30E3-FFE5-4B91-AA19-87A149EBB9EE}" type="slidenum">
              <a:rPr smtClean="0"/>
              <a:pPr/>
              <a:t>‹#›</a:t>
            </a:fld>
            <a:endParaRPr/>
          </a:p>
        </p:txBody>
      </p:sp>
      <p:sp>
        <p:nvSpPr>
          <p:cNvPr id="17" name="Title 1">
            <a:extLst>
              <a:ext uri="{FF2B5EF4-FFF2-40B4-BE49-F238E27FC236}">
                <a16:creationId xmlns:a16="http://schemas.microsoft.com/office/drawing/2014/main" id="{5D97C3C4-63E4-489F-ADE2-C45256230395}"/>
              </a:ext>
            </a:extLst>
          </p:cNvPr>
          <p:cNvSpPr>
            <a:spLocks noGrp="1"/>
          </p:cNvSpPr>
          <p:nvPr userDrawn="1">
            <p:ph type="title"/>
          </p:nvPr>
        </p:nvSpPr>
        <p:spPr>
          <a:xfrm>
            <a:off x="431371" y="138625"/>
            <a:ext cx="11349682" cy="590400"/>
          </a:xfrm>
        </p:spPr>
        <p:txBody>
          <a:bodyPr/>
          <a:lstStyle>
            <a:lvl1pPr>
              <a:defRPr kumimoji="0" lang="en-GB" sz="2799" b="1" i="0" u="none" strike="noStrike" kern="0" cap="none" spc="0" normalizeH="0" baseline="0" dirty="0">
                <a:ln>
                  <a:noFill/>
                </a:ln>
                <a:solidFill>
                  <a:schemeClr val="bg2"/>
                </a:solidFill>
                <a:effectLst/>
                <a:uLnTx/>
                <a:uFillTx/>
                <a:latin typeface="+mn-lt"/>
                <a:ea typeface="+mn-ea"/>
                <a:cs typeface="Arial"/>
              </a:defRPr>
            </a:lvl1pPr>
          </a:lstStyle>
          <a:p>
            <a:r>
              <a:rPr lang="en-US"/>
              <a:t>Click to edit Master title style</a:t>
            </a:r>
            <a:endParaRPr lang="en-GB"/>
          </a:p>
        </p:txBody>
      </p:sp>
      <p:grpSp>
        <p:nvGrpSpPr>
          <p:cNvPr id="12" name="Group 4">
            <a:extLst>
              <a:ext uri="{FF2B5EF4-FFF2-40B4-BE49-F238E27FC236}">
                <a16:creationId xmlns:a16="http://schemas.microsoft.com/office/drawing/2014/main" id="{58AD710D-D052-4DD7-A272-CC197EBEE64E}"/>
              </a:ext>
            </a:extLst>
          </p:cNvPr>
          <p:cNvGrpSpPr>
            <a:grpSpLocks noChangeAspect="1"/>
          </p:cNvGrpSpPr>
          <p:nvPr userDrawn="1"/>
        </p:nvGrpSpPr>
        <p:grpSpPr bwMode="invGray">
          <a:xfrm>
            <a:off x="11735674" y="6372818"/>
            <a:ext cx="303055" cy="311150"/>
            <a:chOff x="7110" y="4004"/>
            <a:chExt cx="191" cy="196"/>
          </a:xfrm>
        </p:grpSpPr>
        <p:sp>
          <p:nvSpPr>
            <p:cNvPr id="15" name="Freeform 5">
              <a:extLst>
                <a:ext uri="{FF2B5EF4-FFF2-40B4-BE49-F238E27FC236}">
                  <a16:creationId xmlns:a16="http://schemas.microsoft.com/office/drawing/2014/main" id="{8DD1C35E-DB7E-48DD-BAEE-842A442239B5}"/>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18" name="Freeform 6">
              <a:extLst>
                <a:ext uri="{FF2B5EF4-FFF2-40B4-BE49-F238E27FC236}">
                  <a16:creationId xmlns:a16="http://schemas.microsoft.com/office/drawing/2014/main" id="{98A7F7FE-EAB6-402F-9603-FD2D2831FF29}"/>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19" name="Freeform 7">
              <a:extLst>
                <a:ext uri="{FF2B5EF4-FFF2-40B4-BE49-F238E27FC236}">
                  <a16:creationId xmlns:a16="http://schemas.microsoft.com/office/drawing/2014/main" id="{E32CE88A-6B51-4608-82FB-1DD261536691}"/>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grpSp>
    </p:spTree>
    <p:extLst>
      <p:ext uri="{BB962C8B-B14F-4D97-AF65-F5344CB8AC3E}">
        <p14:creationId xmlns:p14="http://schemas.microsoft.com/office/powerpoint/2010/main" val="2366990315"/>
      </p:ext>
    </p:extLst>
  </p:cSld>
  <p:clrMapOvr>
    <a:masterClrMapping/>
  </p:clrMapOvr>
  <p:extLst>
    <p:ext uri="{DCECCB84-F9BA-43D5-87BE-67443E8EF086}">
      <p15:sldGuideLst xmlns:p15="http://schemas.microsoft.com/office/powerpoint/2012/main">
        <p15:guide id="1" pos="259">
          <p15:clr>
            <a:srgbClr val="FBAE40"/>
          </p15:clr>
        </p15:guide>
        <p15:guide id="2" pos="3842">
          <p15:clr>
            <a:srgbClr val="FBAE40"/>
          </p15:clr>
        </p15:guide>
        <p15:guide id="3" pos="7425">
          <p15:clr>
            <a:srgbClr val="FBAE40"/>
          </p15:clr>
        </p15:guide>
        <p15:guide id="4" orient="horz" pos="550">
          <p15:clr>
            <a:srgbClr val="FBAE40"/>
          </p15:clr>
        </p15:guide>
        <p15:guide id="5" orient="horz" pos="2251">
          <p15:clr>
            <a:srgbClr val="FBAE40"/>
          </p15:clr>
        </p15:guide>
        <p15:guide id="6" orient="horz" pos="39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3_Standard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B3F6ADF-0ED6-479F-AC60-ACC9411C38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5674"/>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F5A74E3-2605-437B-A670-CECF92F3DF49}"/>
              </a:ext>
            </a:extLst>
          </p:cNvPr>
          <p:cNvSpPr/>
          <p:nvPr userDrawn="1"/>
        </p:nvSpPr>
        <p:spPr>
          <a:xfrm>
            <a:off x="0" y="0"/>
            <a:ext cx="12192001" cy="6858000"/>
          </a:xfrm>
          <a:prstGeom prst="rect">
            <a:avLst/>
          </a:prstGeom>
          <a:gradFill>
            <a:gsLst>
              <a:gs pos="16072">
                <a:srgbClr val="2E2E38">
                  <a:alpha val="88000"/>
                </a:srgbClr>
              </a:gs>
              <a:gs pos="28000">
                <a:srgbClr val="2E2E38">
                  <a:alpha val="90000"/>
                </a:srgbClr>
              </a:gs>
              <a:gs pos="0">
                <a:srgbClr val="2E2E38">
                  <a:alpha val="37000"/>
                </a:srgbClr>
              </a:gs>
              <a:gs pos="54000">
                <a:srgbClr val="2E2E38"/>
              </a:gs>
            </a:gsLst>
            <a:lin ang="30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ln>
                <a:noFill/>
              </a:ln>
              <a:solidFill>
                <a:schemeClr val="tx1"/>
              </a:solidFill>
            </a:endParaRPr>
          </a:p>
        </p:txBody>
      </p:sp>
      <p:sp>
        <p:nvSpPr>
          <p:cNvPr id="3" name="Rectangle 2">
            <a:extLst>
              <a:ext uri="{FF2B5EF4-FFF2-40B4-BE49-F238E27FC236}">
                <a16:creationId xmlns:a16="http://schemas.microsoft.com/office/drawing/2014/main" id="{24CF763A-11FC-4F92-8068-A01587D39C89}"/>
              </a:ext>
            </a:extLst>
          </p:cNvPr>
          <p:cNvSpPr/>
          <p:nvPr userDrawn="1"/>
        </p:nvSpPr>
        <p:spPr>
          <a:xfrm>
            <a:off x="-1" y="-1"/>
            <a:ext cx="4341140" cy="6857999"/>
          </a:xfrm>
          <a:prstGeom prst="rect">
            <a:avLst/>
          </a:prstGeom>
          <a:gradFill>
            <a:gsLst>
              <a:gs pos="4000">
                <a:schemeClr val="tx2">
                  <a:lumMod val="75000"/>
                </a:schemeClr>
              </a:gs>
              <a:gs pos="100000">
                <a:schemeClr val="tx2"/>
              </a:gs>
            </a:gsLst>
            <a:lin ang="18900000" scaled="1"/>
          </a:gradFill>
          <a:ln w="6258" cap="flat">
            <a:noFill/>
            <a:prstDash val="solid"/>
            <a:miter/>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lvl="0"/>
            <a:endParaRPr lang="it-IT" sz="1799">
              <a:solidFill>
                <a:schemeClr val="tx1"/>
              </a:solidFill>
            </a:endParaRP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userDrawn="1">
            <p:ph type="sldNum" sz="quarter" idx="12"/>
          </p:nvPr>
        </p:nvSpPr>
        <p:spPr/>
        <p:txBody>
          <a:bodyPr/>
          <a:lstStyle/>
          <a:p>
            <a:r>
              <a:rPr lang="en-GB"/>
              <a:t>Page </a:t>
            </a:r>
            <a:fld id="{F1BC30E3-FFE5-4B91-AA19-87A149EBB9EE}" type="slidenum">
              <a:rPr smtClean="0"/>
              <a:pPr/>
              <a:t>‹#›</a:t>
            </a:fld>
            <a:endParaRPr/>
          </a:p>
        </p:txBody>
      </p:sp>
      <p:grpSp>
        <p:nvGrpSpPr>
          <p:cNvPr id="12" name="Group 4">
            <a:extLst>
              <a:ext uri="{FF2B5EF4-FFF2-40B4-BE49-F238E27FC236}">
                <a16:creationId xmlns:a16="http://schemas.microsoft.com/office/drawing/2014/main" id="{58AD710D-D052-4DD7-A272-CC197EBEE64E}"/>
              </a:ext>
            </a:extLst>
          </p:cNvPr>
          <p:cNvGrpSpPr>
            <a:grpSpLocks noChangeAspect="1"/>
          </p:cNvGrpSpPr>
          <p:nvPr userDrawn="1"/>
        </p:nvGrpSpPr>
        <p:grpSpPr bwMode="invGray">
          <a:xfrm>
            <a:off x="11735674" y="6372818"/>
            <a:ext cx="303055" cy="311150"/>
            <a:chOff x="7110" y="4004"/>
            <a:chExt cx="191" cy="196"/>
          </a:xfrm>
        </p:grpSpPr>
        <p:sp>
          <p:nvSpPr>
            <p:cNvPr id="15" name="Freeform 5">
              <a:extLst>
                <a:ext uri="{FF2B5EF4-FFF2-40B4-BE49-F238E27FC236}">
                  <a16:creationId xmlns:a16="http://schemas.microsoft.com/office/drawing/2014/main" id="{8DD1C35E-DB7E-48DD-BAEE-842A442239B5}"/>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18" name="Freeform 6">
              <a:extLst>
                <a:ext uri="{FF2B5EF4-FFF2-40B4-BE49-F238E27FC236}">
                  <a16:creationId xmlns:a16="http://schemas.microsoft.com/office/drawing/2014/main" id="{98A7F7FE-EAB6-402F-9603-FD2D2831FF29}"/>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19" name="Freeform 7">
              <a:extLst>
                <a:ext uri="{FF2B5EF4-FFF2-40B4-BE49-F238E27FC236}">
                  <a16:creationId xmlns:a16="http://schemas.microsoft.com/office/drawing/2014/main" id="{E32CE88A-6B51-4608-82FB-1DD261536691}"/>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grpSp>
      <p:sp>
        <p:nvSpPr>
          <p:cNvPr id="11" name="Title 1">
            <a:extLst>
              <a:ext uri="{FF2B5EF4-FFF2-40B4-BE49-F238E27FC236}">
                <a16:creationId xmlns:a16="http://schemas.microsoft.com/office/drawing/2014/main" id="{4B0754CE-A523-4CF5-804F-864EAAAFB307}"/>
              </a:ext>
            </a:extLst>
          </p:cNvPr>
          <p:cNvSpPr>
            <a:spLocks noGrp="1"/>
          </p:cNvSpPr>
          <p:nvPr>
            <p:ph type="title" hasCustomPrompt="1"/>
          </p:nvPr>
        </p:nvSpPr>
        <p:spPr>
          <a:xfrm>
            <a:off x="410949" y="873126"/>
            <a:ext cx="3168587" cy="1020080"/>
          </a:xfrm>
          <a:prstGeom prst="rect">
            <a:avLst/>
          </a:prstGeom>
        </p:spPr>
        <p:txBody>
          <a:bodyPr/>
          <a:lstStyle>
            <a:lvl1pPr>
              <a:defRPr sz="3198" b="1">
                <a:solidFill>
                  <a:schemeClr val="tx1"/>
                </a:solidFill>
                <a:latin typeface="+mn-lt"/>
              </a:defRPr>
            </a:lvl1pPr>
          </a:lstStyle>
          <a:p>
            <a:r>
              <a:rPr lang="en-US"/>
              <a:t>Click to edit Master title style</a:t>
            </a:r>
            <a:br>
              <a:rPr lang="en-US"/>
            </a:br>
            <a:endParaRPr lang="en-GB"/>
          </a:p>
        </p:txBody>
      </p:sp>
      <p:cxnSp>
        <p:nvCxnSpPr>
          <p:cNvPr id="13" name="Straight Connector 12">
            <a:extLst>
              <a:ext uri="{FF2B5EF4-FFF2-40B4-BE49-F238E27FC236}">
                <a16:creationId xmlns:a16="http://schemas.microsoft.com/office/drawing/2014/main" id="{569D10D8-2CAA-479F-9204-E81FE45BC0EA}"/>
              </a:ext>
            </a:extLst>
          </p:cNvPr>
          <p:cNvCxnSpPr>
            <a:cxnSpLocks/>
          </p:cNvCxnSpPr>
          <p:nvPr userDrawn="1"/>
        </p:nvCxnSpPr>
        <p:spPr>
          <a:xfrm>
            <a:off x="460020" y="2200314"/>
            <a:ext cx="2986445" cy="0"/>
          </a:xfrm>
          <a:prstGeom prst="line">
            <a:avLst/>
          </a:prstGeom>
          <a:noFill/>
          <a:ln w="25400" cap="rnd">
            <a:solidFill>
              <a:schemeClr val="tx1"/>
            </a:solidFill>
            <a:prstDash val="sysDot"/>
            <a:roun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710323196"/>
      </p:ext>
    </p:extLst>
  </p:cSld>
  <p:clrMapOvr>
    <a:masterClrMapping/>
  </p:clrMapOvr>
  <p:extLst>
    <p:ext uri="{DCECCB84-F9BA-43D5-87BE-67443E8EF086}">
      <p15:sldGuideLst xmlns:p15="http://schemas.microsoft.com/office/powerpoint/2012/main">
        <p15:guide id="1" pos="259">
          <p15:clr>
            <a:srgbClr val="FBAE40"/>
          </p15:clr>
        </p15:guide>
        <p15:guide id="2" pos="3842">
          <p15:clr>
            <a:srgbClr val="FBAE40"/>
          </p15:clr>
        </p15:guide>
        <p15:guide id="3" pos="7425">
          <p15:clr>
            <a:srgbClr val="FBAE40"/>
          </p15:clr>
        </p15:guide>
        <p15:guide id="4" orient="horz" pos="550">
          <p15:clr>
            <a:srgbClr val="FBAE40"/>
          </p15:clr>
        </p15:guide>
        <p15:guide id="5" orient="horz" pos="2251">
          <p15:clr>
            <a:srgbClr val="FBAE40"/>
          </p15:clr>
        </p15:guide>
        <p15:guide id="6" orient="horz" pos="39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030C3A-112C-4B22-94B4-2945777EE94D}"/>
              </a:ext>
            </a:extLst>
          </p:cNvPr>
          <p:cNvGraphicFramePr>
            <a:graphicFrameLocks noChangeAspect="1"/>
          </p:cNvGraphicFramePr>
          <p:nvPr userDrawn="1">
            <p:custDataLst>
              <p:tags r:id="rId1"/>
            </p:custDataLst>
            <p:extLst>
              <p:ext uri="{D42A27DB-BD31-4B8C-83A1-F6EECF244321}">
                <p14:modId xmlns:p14="http://schemas.microsoft.com/office/powerpoint/2010/main" val="71306653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ct 8" hidden="1">
                        <a:extLst>
                          <a:ext uri="{FF2B5EF4-FFF2-40B4-BE49-F238E27FC236}">
                            <a16:creationId xmlns:a16="http://schemas.microsoft.com/office/drawing/2014/main" id="{40030C3A-112C-4B22-94B4-2945777EE94D}"/>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p:nvPr>
        </p:nvSpPr>
        <p:spPr>
          <a:xfrm>
            <a:off x="609602" y="294200"/>
            <a:ext cx="10972800" cy="590880"/>
          </a:xfrm>
        </p:spPr>
        <p:txBody>
          <a:bodyPr vert="horz"/>
          <a:lstStyle>
            <a:lvl1pPr rtl="0">
              <a:defRPr>
                <a:solidFill>
                  <a:schemeClr val="bg1"/>
                </a:solidFill>
              </a:defRPr>
            </a:lvl1pPr>
          </a:lstStyle>
          <a:p>
            <a:r>
              <a:rPr lang="en-GB"/>
              <a:t>Click to edit Master title style</a:t>
            </a:r>
          </a:p>
        </p:txBody>
      </p:sp>
      <p:sp>
        <p:nvSpPr>
          <p:cNvPr id="3" name="Content Placeholder 2"/>
          <p:cNvSpPr>
            <a:spLocks noGrp="1"/>
          </p:cNvSpPr>
          <p:nvPr>
            <p:ph sz="half" idx="1"/>
          </p:nvPr>
        </p:nvSpPr>
        <p:spPr>
          <a:xfrm>
            <a:off x="609601" y="1137919"/>
            <a:ext cx="5384800" cy="4834800"/>
          </a:xfrm>
        </p:spPr>
        <p:txBody>
          <a:bodyPr/>
          <a:lstStyle>
            <a:lvl1pPr rtl="0">
              <a:defRPr sz="1998">
                <a:solidFill>
                  <a:schemeClr val="bg1"/>
                </a:solidFill>
              </a:defRPr>
            </a:lvl1pPr>
            <a:lvl2pPr rtl="0">
              <a:defRPr sz="1798">
                <a:solidFill>
                  <a:schemeClr val="bg1"/>
                </a:solidFill>
              </a:defRPr>
            </a:lvl2pPr>
            <a:lvl3pPr rtl="0">
              <a:defRPr sz="1598">
                <a:solidFill>
                  <a:schemeClr val="bg1"/>
                </a:solidFill>
              </a:defRPr>
            </a:lvl3pPr>
            <a:lvl4pPr rtl="0">
              <a:defRPr sz="1398">
                <a:solidFill>
                  <a:schemeClr val="bg1"/>
                </a:solidFill>
              </a:defRPr>
            </a:lvl4pPr>
            <a:lvl5pPr rtl="0">
              <a:defRPr sz="1198">
                <a:solidFill>
                  <a:schemeClr val="bg1"/>
                </a:solidFill>
              </a:defRPr>
            </a:lvl5pPr>
            <a:lvl6pPr>
              <a:defRPr sz="1798"/>
            </a:lvl6pPr>
            <a:lvl7pPr>
              <a:defRPr sz="1798"/>
            </a:lvl7pPr>
            <a:lvl8pPr>
              <a:defRPr sz="1798"/>
            </a:lvl8pPr>
            <a:lvl9pPr>
              <a:defRPr sz="1798"/>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97602" y="1137919"/>
            <a:ext cx="5384800" cy="4834800"/>
          </a:xfrm>
        </p:spPr>
        <p:txBody>
          <a:bodyPr/>
          <a:lstStyle>
            <a:lvl1pPr rtl="0">
              <a:defRPr sz="1998">
                <a:solidFill>
                  <a:schemeClr val="bg1"/>
                </a:solidFill>
              </a:defRPr>
            </a:lvl1pPr>
            <a:lvl2pPr rtl="0">
              <a:defRPr sz="1798">
                <a:solidFill>
                  <a:schemeClr val="bg1"/>
                </a:solidFill>
              </a:defRPr>
            </a:lvl2pPr>
            <a:lvl3pPr rtl="0">
              <a:defRPr sz="1598">
                <a:solidFill>
                  <a:schemeClr val="bg1"/>
                </a:solidFill>
              </a:defRPr>
            </a:lvl3pPr>
            <a:lvl4pPr rtl="0">
              <a:defRPr sz="1398">
                <a:solidFill>
                  <a:schemeClr val="bg1"/>
                </a:solidFill>
              </a:defRPr>
            </a:lvl4pPr>
            <a:lvl5pPr rtl="0">
              <a:defRPr sz="1198">
                <a:solidFill>
                  <a:schemeClr val="bg1"/>
                </a:solidFill>
              </a:defRPr>
            </a:lvl5pPr>
            <a:lvl6pPr>
              <a:defRPr sz="1798"/>
            </a:lvl6pPr>
            <a:lvl7pPr>
              <a:defRPr sz="1798"/>
            </a:lvl7pPr>
            <a:lvl8pPr>
              <a:defRPr sz="1798"/>
            </a:lvl8pPr>
            <a:lvl9pPr>
              <a:defRPr sz="1798"/>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1798"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lvl1pPr rtl="0">
              <a:defRPr/>
            </a:lvl1pPr>
          </a:lstStyle>
          <a:p>
            <a:endParaRPr lang="en-GB"/>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lvl1pPr rtl="0">
              <a:defRPr/>
            </a:lvl1pPr>
          </a:lstStyle>
          <a:p>
            <a:r>
              <a:rPr lang="en-GB"/>
              <a:t>Daraft for Discussion</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lvl1pPr rtl="0">
              <a:defRPr/>
            </a:lvl1pPr>
          </a:lstStyle>
          <a:p>
            <a:r>
              <a:rPr lang="en-GB"/>
              <a:t>Page </a:t>
            </a:r>
            <a:fld id="{F1BC30E3-FFE5-4B91-AA19-87A149EBB9EE}" type="slidenum">
              <a:rPr lang="en-GB" smtClean="0"/>
              <a:pPr/>
              <a:t>‹#›</a:t>
            </a:fld>
            <a:endParaRPr lang="en-GB"/>
          </a:p>
        </p:txBody>
      </p:sp>
    </p:spTree>
    <p:extLst>
      <p:ext uri="{BB962C8B-B14F-4D97-AF65-F5344CB8AC3E}">
        <p14:creationId xmlns:p14="http://schemas.microsoft.com/office/powerpoint/2010/main" val="14236609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Daraft for Discussion</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75131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178823906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3" name="Title 1"/>
          <p:cNvSpPr>
            <a:spLocks noGrp="1"/>
          </p:cNvSpPr>
          <p:nvPr>
            <p:ph type="ctrTitle"/>
          </p:nvPr>
        </p:nvSpPr>
        <p:spPr>
          <a:xfrm>
            <a:off x="899860" y="1954221"/>
            <a:ext cx="4326679" cy="979702"/>
          </a:xfrm>
        </p:spPr>
        <p:txBody>
          <a:bodyPr vert="horz"/>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137041186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a:xfrm>
            <a:off x="5896030" y="6470900"/>
            <a:ext cx="399940" cy="180000"/>
          </a:xfrm>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667723"/>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0">
            <a:extLst>
              <a:ext uri="{FF2B5EF4-FFF2-40B4-BE49-F238E27FC236}">
                <a16:creationId xmlns:a16="http://schemas.microsoft.com/office/drawing/2014/main" id="{D46F7972-8C09-42B7-969F-13E25F228D0E}"/>
              </a:ext>
            </a:extLst>
          </p:cNvPr>
          <p:cNvSpPr>
            <a:spLocks noChangeShapeType="1"/>
          </p:cNvSpPr>
          <p:nvPr userDrawn="1"/>
        </p:nvSpPr>
        <p:spPr bwMode="auto">
          <a:xfrm flipV="1">
            <a:off x="609599" y="6228271"/>
            <a:ext cx="11053314" cy="0"/>
          </a:xfrm>
          <a:prstGeom prst="line">
            <a:avLst/>
          </a:prstGeom>
          <a:noFill/>
          <a:ln w="952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it-IT" sz="1799">
              <a:solidFill>
                <a:prstClr val="white"/>
              </a:solidFill>
              <a:latin typeface="EYInterstate Light"/>
            </a:endParaRPr>
          </a:p>
        </p:txBody>
      </p:sp>
      <p:pic>
        <p:nvPicPr>
          <p:cNvPr id="12290" name="Picture 2" descr="See the source image">
            <a:extLst>
              <a:ext uri="{FF2B5EF4-FFF2-40B4-BE49-F238E27FC236}">
                <a16:creationId xmlns:a16="http://schemas.microsoft.com/office/drawing/2014/main" id="{A4603F9E-EB0E-4661-A3C1-AA03151B36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9087" y="6211456"/>
            <a:ext cx="1293088" cy="646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9619453"/>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52345730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a:t>Chapter Title</a:t>
            </a:r>
          </a:p>
          <a:p>
            <a:pPr lvl="0"/>
            <a:r>
              <a:rPr lang="en-US" noProof="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552874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7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1867C3-9C51-4253-98FD-59E02F3C24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1" y="0"/>
            <a:ext cx="12199683" cy="6858000"/>
          </a:xfrm>
          <a:prstGeom prst="rect">
            <a:avLst/>
          </a:prstGeom>
        </p:spPr>
      </p:pic>
      <p:grpSp>
        <p:nvGrpSpPr>
          <p:cNvPr id="4" name="Group 4">
            <a:extLst>
              <a:ext uri="{FF2B5EF4-FFF2-40B4-BE49-F238E27FC236}">
                <a16:creationId xmlns:a16="http://schemas.microsoft.com/office/drawing/2014/main" id="{24AD5B92-1C73-4F50-8FED-786A3979E71C}"/>
              </a:ext>
            </a:extLst>
          </p:cNvPr>
          <p:cNvGrpSpPr>
            <a:grpSpLocks noChangeAspect="1"/>
          </p:cNvGrpSpPr>
          <p:nvPr userDrawn="1"/>
        </p:nvGrpSpPr>
        <p:grpSpPr bwMode="invGray">
          <a:xfrm>
            <a:off x="11281250" y="6356351"/>
            <a:ext cx="303055" cy="311150"/>
            <a:chOff x="7110" y="4004"/>
            <a:chExt cx="191" cy="196"/>
          </a:xfrm>
        </p:grpSpPr>
        <p:sp>
          <p:nvSpPr>
            <p:cNvPr id="5" name="Freeform 5">
              <a:extLst>
                <a:ext uri="{FF2B5EF4-FFF2-40B4-BE49-F238E27FC236}">
                  <a16:creationId xmlns:a16="http://schemas.microsoft.com/office/drawing/2014/main" id="{4F6E51F0-4D85-4669-9BB4-5BA14F663903}"/>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IN" sz="1796"/>
            </a:p>
          </p:txBody>
        </p:sp>
        <p:sp>
          <p:nvSpPr>
            <p:cNvPr id="6" name="Freeform 6">
              <a:extLst>
                <a:ext uri="{FF2B5EF4-FFF2-40B4-BE49-F238E27FC236}">
                  <a16:creationId xmlns:a16="http://schemas.microsoft.com/office/drawing/2014/main" id="{BC56E936-A761-41A7-939A-C9309E06CFCB}"/>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sz="1796"/>
            </a:p>
          </p:txBody>
        </p:sp>
        <p:sp>
          <p:nvSpPr>
            <p:cNvPr id="7" name="Freeform 7">
              <a:extLst>
                <a:ext uri="{FF2B5EF4-FFF2-40B4-BE49-F238E27FC236}">
                  <a16:creationId xmlns:a16="http://schemas.microsoft.com/office/drawing/2014/main" id="{7E40F5BD-253C-437C-9C8C-6048F4C20DD3}"/>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sz="1796"/>
            </a:p>
          </p:txBody>
        </p:sp>
      </p:grpSp>
      <p:sp>
        <p:nvSpPr>
          <p:cNvPr id="8" name="Slide Number Placeholder 4">
            <a:extLst>
              <a:ext uri="{FF2B5EF4-FFF2-40B4-BE49-F238E27FC236}">
                <a16:creationId xmlns:a16="http://schemas.microsoft.com/office/drawing/2014/main" id="{7D2C2A9D-9C18-4941-A88B-4DF3A83E2BEA}"/>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799"/>
              <a:t>Page </a:t>
            </a:r>
            <a:fld id="{D5B76411-544C-4F9A-8EDE-9EEB2BD21F95}" type="slidenum">
              <a:rPr lang="en-IN" sz="799" smtClean="0"/>
              <a:t>‹#›</a:t>
            </a:fld>
            <a:endParaRPr sz="799"/>
          </a:p>
        </p:txBody>
      </p:sp>
    </p:spTree>
    <p:extLst>
      <p:ext uri="{BB962C8B-B14F-4D97-AF65-F5344CB8AC3E}">
        <p14:creationId xmlns:p14="http://schemas.microsoft.com/office/powerpoint/2010/main" val="26346745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95372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a:t>Click icon to add picture</a:t>
            </a:r>
          </a:p>
        </p:txBody>
      </p:sp>
    </p:spTree>
    <p:extLst>
      <p:ext uri="{BB962C8B-B14F-4D97-AF65-F5344CB8AC3E}">
        <p14:creationId xmlns:p14="http://schemas.microsoft.com/office/powerpoint/2010/main" val="57105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32867414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200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75488615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200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a:ln>
                <a:noFill/>
              </a:ln>
              <a:solidFill>
                <a:srgbClr val="2E2E38"/>
              </a:solidFill>
              <a:effectLst/>
              <a:uLnTx/>
              <a:uFillTx/>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vert="horz"/>
          <a:lstStyle>
            <a:lvl1pPr>
              <a:defRPr sz="2599">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76013724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365999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295945805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427036524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17929370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96249784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6287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89905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0361225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14"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5"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2944864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68557"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p>
        </p:txBody>
      </p:sp>
      <p:sp>
        <p:nvSpPr>
          <p:cNvPr id="9" name="Title 1"/>
          <p:cNvSpPr>
            <a:spLocks noGrp="1"/>
          </p:cNvSpPr>
          <p:nvPr>
            <p:ph type="ctrTitle"/>
          </p:nvPr>
        </p:nvSpPr>
        <p:spPr>
          <a:xfrm>
            <a:off x="4807240" y="1737360"/>
            <a:ext cx="6397468"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14801162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4101" y="5340096"/>
            <a:ext cx="987038" cy="1156968"/>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2330" y="612648"/>
            <a:ext cx="7727100" cy="3575050"/>
          </a:xfrm>
          <a:prstGeom prst="rect">
            <a:avLst/>
          </a:prstGeom>
        </p:spPr>
      </p:pic>
      <p:sp>
        <p:nvSpPr>
          <p:cNvPr id="15" name="Title 1"/>
          <p:cNvSpPr>
            <a:spLocks noGrp="1"/>
          </p:cNvSpPr>
          <p:nvPr>
            <p:ph type="ctrTitle"/>
          </p:nvPr>
        </p:nvSpPr>
        <p:spPr>
          <a:xfrm>
            <a:off x="1005317" y="2240280"/>
            <a:ext cx="6875882"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a:t>Click to edit Master title style</a:t>
            </a:r>
            <a:endParaRPr lang="en-GB"/>
          </a:p>
        </p:txBody>
      </p:sp>
      <p:sp>
        <p:nvSpPr>
          <p:cNvPr id="16" name="Subtitle 2"/>
          <p:cNvSpPr>
            <a:spLocks noGrp="1"/>
          </p:cNvSpPr>
          <p:nvPr>
            <p:ph type="subTitle" idx="1"/>
          </p:nvPr>
        </p:nvSpPr>
        <p:spPr>
          <a:xfrm>
            <a:off x="1005317" y="3218688"/>
            <a:ext cx="6875882" cy="645742"/>
          </a:xfrm>
          <a:prstGeom prst="rect">
            <a:avLst/>
          </a:prstGeom>
        </p:spPr>
        <p:txBody>
          <a:bodyPr/>
          <a:lstStyle>
            <a:lvl1pPr marL="0" indent="0" algn="l">
              <a:buNone/>
              <a:defRPr sz="1999">
                <a:solidFill>
                  <a:schemeClr val="tx1">
                    <a:lumMod val="75000"/>
                    <a:lumOff val="25000"/>
                  </a:schemeClr>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pic>
        <p:nvPicPr>
          <p:cNvPr id="17" name="Picture 16"/>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94051" y="5888736"/>
            <a:ext cx="3778032" cy="618750"/>
          </a:xfrm>
          <a:prstGeom prst="rect">
            <a:avLst/>
          </a:prstGeom>
        </p:spPr>
      </p:pic>
    </p:spTree>
    <p:extLst>
      <p:ext uri="{BB962C8B-B14F-4D97-AF65-F5344CB8AC3E}">
        <p14:creationId xmlns:p14="http://schemas.microsoft.com/office/powerpoint/2010/main" val="4953652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Approved question tall">
    <p:spTree>
      <p:nvGrpSpPr>
        <p:cNvPr id="1" name=""/>
        <p:cNvGrpSpPr/>
        <p:nvPr/>
      </p:nvGrpSpPr>
      <p:grpSpPr>
        <a:xfrm>
          <a:off x="0" y="0"/>
          <a:ext cx="0" cy="0"/>
          <a:chOff x="0" y="0"/>
          <a:chExt cx="0" cy="0"/>
        </a:xfrm>
      </p:grpSpPr>
      <p:sp>
        <p:nvSpPr>
          <p:cNvPr id="2" name="Rectangle 1"/>
          <p:cNvSpPr/>
          <p:nvPr userDrawn="1"/>
        </p:nvSpPr>
        <p:spPr bwMode="gray">
          <a:xfrm>
            <a:off x="0" y="1"/>
            <a:ext cx="12192000" cy="68536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pic>
        <p:nvPicPr>
          <p:cNvPr id="4" name="Picture 3" descr="A picture containing tree, person, outdoor&#10;&#10;Description automatically generated">
            <a:extLst>
              <a:ext uri="{FF2B5EF4-FFF2-40B4-BE49-F238E27FC236}">
                <a16:creationId xmlns:a16="http://schemas.microsoft.com/office/drawing/2014/main" id="{BE627514-5DA2-4A8C-9007-5D3A83684A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7" name="Group 4">
            <a:extLst>
              <a:ext uri="{FF2B5EF4-FFF2-40B4-BE49-F238E27FC236}">
                <a16:creationId xmlns:a16="http://schemas.microsoft.com/office/drawing/2014/main" id="{7DC03033-0A60-429A-B96A-DD7F3315AE4B}"/>
              </a:ext>
            </a:extLst>
          </p:cNvPr>
          <p:cNvGrpSpPr>
            <a:grpSpLocks noChangeAspect="1"/>
          </p:cNvGrpSpPr>
          <p:nvPr userDrawn="1"/>
        </p:nvGrpSpPr>
        <p:grpSpPr bwMode="auto">
          <a:xfrm>
            <a:off x="11035570" y="5764036"/>
            <a:ext cx="694447" cy="811697"/>
            <a:chOff x="7110" y="4004"/>
            <a:chExt cx="191" cy="196"/>
          </a:xfrm>
        </p:grpSpPr>
        <p:sp>
          <p:nvSpPr>
            <p:cNvPr id="20" name="Freeform 5">
              <a:extLst>
                <a:ext uri="{FF2B5EF4-FFF2-40B4-BE49-F238E27FC236}">
                  <a16:creationId xmlns:a16="http://schemas.microsoft.com/office/drawing/2014/main" id="{FEC94E87-07C7-40EB-B005-777EE8D877F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27" name="Freeform 6">
              <a:extLst>
                <a:ext uri="{FF2B5EF4-FFF2-40B4-BE49-F238E27FC236}">
                  <a16:creationId xmlns:a16="http://schemas.microsoft.com/office/drawing/2014/main" id="{10BA27BC-E5FC-4841-A98A-25E55D7BC1F0}"/>
                </a:ext>
              </a:extLst>
            </p:cNvPr>
            <p:cNvSpPr>
              <a:spLocks/>
            </p:cNvSpPr>
            <p:nvPr userDrawn="1"/>
          </p:nvSpPr>
          <p:spPr bwMode="auto">
            <a:xfrm>
              <a:off x="7111" y="4103"/>
              <a:ext cx="85"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28" name="Freeform 7">
              <a:extLst>
                <a:ext uri="{FF2B5EF4-FFF2-40B4-BE49-F238E27FC236}">
                  <a16:creationId xmlns:a16="http://schemas.microsoft.com/office/drawing/2014/main" id="{76D2457A-879F-4289-B156-22FD39B8F2FA}"/>
                </a:ext>
              </a:extLst>
            </p:cNvPr>
            <p:cNvSpPr>
              <a:spLocks/>
            </p:cNvSpPr>
            <p:nvPr userDrawn="1"/>
          </p:nvSpPr>
          <p:spPr bwMode="auto">
            <a:xfrm>
              <a:off x="7182" y="4103"/>
              <a:ext cx="105"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grpSp>
      <p:pic>
        <p:nvPicPr>
          <p:cNvPr id="8" name="Picture 7">
            <a:extLst>
              <a:ext uri="{FF2B5EF4-FFF2-40B4-BE49-F238E27FC236}">
                <a16:creationId xmlns:a16="http://schemas.microsoft.com/office/drawing/2014/main" id="{895AB2BA-A5BE-4A8D-BE33-9ABCC76F5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5675" y="5917884"/>
            <a:ext cx="3780000" cy="618750"/>
          </a:xfrm>
          <a:prstGeom prst="rect">
            <a:avLst/>
          </a:prstGeom>
        </p:spPr>
      </p:pic>
    </p:spTree>
    <p:extLst>
      <p:ext uri="{BB962C8B-B14F-4D97-AF65-F5344CB8AC3E}">
        <p14:creationId xmlns:p14="http://schemas.microsoft.com/office/powerpoint/2010/main" val="8873190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Approved question tall">
    <p:spTree>
      <p:nvGrpSpPr>
        <p:cNvPr id="1" name=""/>
        <p:cNvGrpSpPr/>
        <p:nvPr/>
      </p:nvGrpSpPr>
      <p:grpSpPr>
        <a:xfrm>
          <a:off x="0" y="0"/>
          <a:ext cx="0" cy="0"/>
          <a:chOff x="0" y="0"/>
          <a:chExt cx="0" cy="0"/>
        </a:xfrm>
      </p:grpSpPr>
      <p:sp>
        <p:nvSpPr>
          <p:cNvPr id="2" name="Rectangle 1"/>
          <p:cNvSpPr/>
          <p:nvPr userDrawn="1"/>
        </p:nvSpPr>
        <p:spPr bwMode="gray">
          <a:xfrm>
            <a:off x="0" y="1"/>
            <a:ext cx="12192000" cy="685364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6" name="Rectangle 5">
            <a:extLst>
              <a:ext uri="{FF2B5EF4-FFF2-40B4-BE49-F238E27FC236}">
                <a16:creationId xmlns:a16="http://schemas.microsoft.com/office/drawing/2014/main" id="{3741143F-2D5E-4E35-AD06-1C5520E1A64B}"/>
              </a:ext>
            </a:extLst>
          </p:cNvPr>
          <p:cNvSpPr/>
          <p:nvPr userDrawn="1"/>
        </p:nvSpPr>
        <p:spPr>
          <a:xfrm>
            <a:off x="0" y="5325035"/>
            <a:ext cx="12192000" cy="152861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200">
              <a:solidFill>
                <a:schemeClr val="tx1"/>
              </a:solidFill>
            </a:endParaRPr>
          </a:p>
        </p:txBody>
      </p:sp>
      <p:pic>
        <p:nvPicPr>
          <p:cNvPr id="39" name="Picture 38">
            <a:extLst>
              <a:ext uri="{FF2B5EF4-FFF2-40B4-BE49-F238E27FC236}">
                <a16:creationId xmlns:a16="http://schemas.microsoft.com/office/drawing/2014/main" id="{F9DA2CD0-72E5-44F7-A167-3CD29EBF82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5675" y="5917884"/>
            <a:ext cx="3780000" cy="618750"/>
          </a:xfrm>
          <a:prstGeom prst="rect">
            <a:avLst/>
          </a:prstGeom>
        </p:spPr>
      </p:pic>
      <p:grpSp>
        <p:nvGrpSpPr>
          <p:cNvPr id="17" name="Group 4">
            <a:extLst>
              <a:ext uri="{FF2B5EF4-FFF2-40B4-BE49-F238E27FC236}">
                <a16:creationId xmlns:a16="http://schemas.microsoft.com/office/drawing/2014/main" id="{7DC03033-0A60-429A-B96A-DD7F3315AE4B}"/>
              </a:ext>
            </a:extLst>
          </p:cNvPr>
          <p:cNvGrpSpPr>
            <a:grpSpLocks noChangeAspect="1"/>
          </p:cNvGrpSpPr>
          <p:nvPr userDrawn="1"/>
        </p:nvGrpSpPr>
        <p:grpSpPr bwMode="auto">
          <a:xfrm>
            <a:off x="11035570" y="5764036"/>
            <a:ext cx="694447" cy="811697"/>
            <a:chOff x="7110" y="4004"/>
            <a:chExt cx="191" cy="196"/>
          </a:xfrm>
        </p:grpSpPr>
        <p:sp>
          <p:nvSpPr>
            <p:cNvPr id="20" name="Freeform 5">
              <a:extLst>
                <a:ext uri="{FF2B5EF4-FFF2-40B4-BE49-F238E27FC236}">
                  <a16:creationId xmlns:a16="http://schemas.microsoft.com/office/drawing/2014/main" id="{FEC94E87-07C7-40EB-B005-777EE8D877F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27" name="Freeform 6">
              <a:extLst>
                <a:ext uri="{FF2B5EF4-FFF2-40B4-BE49-F238E27FC236}">
                  <a16:creationId xmlns:a16="http://schemas.microsoft.com/office/drawing/2014/main" id="{10BA27BC-E5FC-4841-A98A-25E55D7BC1F0}"/>
                </a:ext>
              </a:extLst>
            </p:cNvPr>
            <p:cNvSpPr>
              <a:spLocks/>
            </p:cNvSpPr>
            <p:nvPr userDrawn="1"/>
          </p:nvSpPr>
          <p:spPr bwMode="auto">
            <a:xfrm>
              <a:off x="7111" y="4103"/>
              <a:ext cx="85"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28" name="Freeform 7">
              <a:extLst>
                <a:ext uri="{FF2B5EF4-FFF2-40B4-BE49-F238E27FC236}">
                  <a16:creationId xmlns:a16="http://schemas.microsoft.com/office/drawing/2014/main" id="{76D2457A-879F-4289-B156-22FD39B8F2FA}"/>
                </a:ext>
              </a:extLst>
            </p:cNvPr>
            <p:cNvSpPr>
              <a:spLocks/>
            </p:cNvSpPr>
            <p:nvPr userDrawn="1"/>
          </p:nvSpPr>
          <p:spPr bwMode="auto">
            <a:xfrm>
              <a:off x="7182" y="4103"/>
              <a:ext cx="105"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3847232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1C556F-5D9D-4C4D-AA34-3CF33A200240}"/>
              </a:ext>
            </a:extLst>
          </p:cNvPr>
          <p:cNvSpPr/>
          <p:nvPr userDrawn="1"/>
        </p:nvSpPr>
        <p:spPr>
          <a:xfrm>
            <a:off x="383258" y="6253316"/>
            <a:ext cx="2142316" cy="59485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endParaRPr>
          </a:p>
        </p:txBody>
      </p:sp>
      <p:sp>
        <p:nvSpPr>
          <p:cNvPr id="7" name="Rectangle 6">
            <a:extLst>
              <a:ext uri="{FF2B5EF4-FFF2-40B4-BE49-F238E27FC236}">
                <a16:creationId xmlns:a16="http://schemas.microsoft.com/office/drawing/2014/main" id="{2A386477-435A-4C73-A388-59FE54BA98A8}"/>
              </a:ext>
            </a:extLst>
          </p:cNvPr>
          <p:cNvSpPr/>
          <p:nvPr userDrawn="1"/>
        </p:nvSpPr>
        <p:spPr>
          <a:xfrm>
            <a:off x="11537062" y="565355"/>
            <a:ext cx="654938" cy="144042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endParaRPr>
          </a:p>
        </p:txBody>
      </p:sp>
    </p:spTree>
    <p:extLst>
      <p:ext uri="{BB962C8B-B14F-4D97-AF65-F5344CB8AC3E}">
        <p14:creationId xmlns:p14="http://schemas.microsoft.com/office/powerpoint/2010/main" val="845608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Sales cycl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Gray"/>
        <p:txBody>
          <a:bodyPr anchor="ctr"/>
          <a:lstStyle>
            <a:lvl1pPr>
              <a:defRPr sz="2799">
                <a:solidFill>
                  <a:schemeClr val="bg1"/>
                </a:solidFill>
                <a:latin typeface="EYInterstate Light" panose="02000506000000020004" pitchFamily="2" charset="0"/>
              </a:defRPr>
            </a:lvl1pPr>
          </a:lstStyle>
          <a:p>
            <a:r>
              <a:rPr lang="en-US"/>
              <a:t>Click to edit Master title style</a:t>
            </a:r>
            <a:br>
              <a:rPr lang="en-US"/>
            </a:br>
            <a:endParaRPr lang="en-GB"/>
          </a:p>
        </p:txBody>
      </p:sp>
      <p:sp>
        <p:nvSpPr>
          <p:cNvPr id="3" name="Content Placeholder 2"/>
          <p:cNvSpPr>
            <a:spLocks noGrp="1"/>
          </p:cNvSpPr>
          <p:nvPr>
            <p:ph idx="1"/>
          </p:nvPr>
        </p:nvSpPr>
        <p:spPr bwMode="blackGray"/>
        <p:txBody>
          <a:bodyPr/>
          <a:lstStyle>
            <a:lvl1pPr>
              <a:defRPr>
                <a:solidFill>
                  <a:schemeClr val="bg1"/>
                </a:solidFill>
                <a:latin typeface="EYInterstate Light" panose="02000506000000020004" pitchFamily="2" charset="0"/>
              </a:defRPr>
            </a:lvl1pPr>
            <a:lvl2pPr>
              <a:defRPr>
                <a:solidFill>
                  <a:schemeClr val="bg1"/>
                </a:solidFill>
                <a:latin typeface="EYInterstate Light" panose="02000506000000020004" pitchFamily="2" charset="0"/>
              </a:defRPr>
            </a:lvl2pPr>
            <a:lvl3pPr>
              <a:defRPr>
                <a:solidFill>
                  <a:schemeClr val="bg1"/>
                </a:solidFill>
                <a:latin typeface="EYInterstate Light" panose="02000506000000020004" pitchFamily="2" charset="0"/>
              </a:defRPr>
            </a:lvl3pPr>
            <a:lvl4pPr>
              <a:defRPr>
                <a:solidFill>
                  <a:schemeClr val="bg1"/>
                </a:solidFill>
                <a:latin typeface="EYInterstate Light" panose="02000506000000020004" pitchFamily="2" charset="0"/>
              </a:defRPr>
            </a:lvl4pPr>
            <a:lvl5pPr>
              <a:defRPr>
                <a:solidFill>
                  <a:schemeClr val="bg1"/>
                </a:solidFill>
                <a:latin typeface="EYInterstate Light" panose="02000506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02" name="Group 201">
            <a:extLst>
              <a:ext uri="{FF2B5EF4-FFF2-40B4-BE49-F238E27FC236}">
                <a16:creationId xmlns:a16="http://schemas.microsoft.com/office/drawing/2014/main" id="{54DB7521-749C-4488-A418-7B0BF1BE6486}"/>
              </a:ext>
            </a:extLst>
          </p:cNvPr>
          <p:cNvGrpSpPr/>
          <p:nvPr userDrawn="1"/>
        </p:nvGrpSpPr>
        <p:grpSpPr>
          <a:xfrm>
            <a:off x="219304" y="39471"/>
            <a:ext cx="1195058" cy="1086658"/>
            <a:chOff x="231817" y="131629"/>
            <a:chExt cx="1007924" cy="916022"/>
          </a:xfrm>
        </p:grpSpPr>
        <p:grpSp>
          <p:nvGrpSpPr>
            <p:cNvPr id="203" name="10 hexa line">
              <a:extLst>
                <a:ext uri="{FF2B5EF4-FFF2-40B4-BE49-F238E27FC236}">
                  <a16:creationId xmlns:a16="http://schemas.microsoft.com/office/drawing/2014/main" id="{B3CE44DD-F080-47F7-8486-AEFC07D3BDCD}"/>
                </a:ext>
              </a:extLst>
            </p:cNvPr>
            <p:cNvGrpSpPr/>
            <p:nvPr/>
          </p:nvGrpSpPr>
          <p:grpSpPr>
            <a:xfrm>
              <a:off x="1033123" y="702961"/>
              <a:ext cx="206618" cy="166631"/>
              <a:chOff x="4131014" y="3895182"/>
              <a:chExt cx="837594" cy="675494"/>
            </a:xfrm>
          </p:grpSpPr>
          <p:grpSp>
            <p:nvGrpSpPr>
              <p:cNvPr id="283" name="Group 282">
                <a:extLst>
                  <a:ext uri="{FF2B5EF4-FFF2-40B4-BE49-F238E27FC236}">
                    <a16:creationId xmlns:a16="http://schemas.microsoft.com/office/drawing/2014/main" id="{EABF4FAB-596A-4479-86AD-92E2B3FE0A51}"/>
                  </a:ext>
                </a:extLst>
              </p:cNvPr>
              <p:cNvGrpSpPr/>
              <p:nvPr/>
            </p:nvGrpSpPr>
            <p:grpSpPr>
              <a:xfrm>
                <a:off x="4131014" y="3895182"/>
                <a:ext cx="188415" cy="675494"/>
                <a:chOff x="3580507" y="2395202"/>
                <a:chExt cx="188415" cy="675494"/>
              </a:xfrm>
            </p:grpSpPr>
            <p:sp>
              <p:nvSpPr>
                <p:cNvPr id="285" name="Hexagon 241">
                  <a:extLst>
                    <a:ext uri="{FF2B5EF4-FFF2-40B4-BE49-F238E27FC236}">
                      <a16:creationId xmlns:a16="http://schemas.microsoft.com/office/drawing/2014/main" id="{20ABDC8D-BD8D-4BFB-B03D-E03FDCC116EB}"/>
                    </a:ext>
                  </a:extLst>
                </p:cNvPr>
                <p:cNvSpPr/>
                <p:nvPr/>
              </p:nvSpPr>
              <p:spPr>
                <a:xfrm>
                  <a:off x="3609626" y="2419060"/>
                  <a:ext cx="159296" cy="637184"/>
                </a:xfrm>
                <a:custGeom>
                  <a:avLst/>
                  <a:gdLst>
                    <a:gd name="connsiteX0" fmla="*/ 0 w 844872"/>
                    <a:gd name="connsiteY0" fmla="*/ 364169 h 728338"/>
                    <a:gd name="connsiteX1" fmla="*/ 182085 w 844872"/>
                    <a:gd name="connsiteY1" fmla="*/ 0 h 728338"/>
                    <a:gd name="connsiteX2" fmla="*/ 662788 w 844872"/>
                    <a:gd name="connsiteY2" fmla="*/ 0 h 728338"/>
                    <a:gd name="connsiteX3" fmla="*/ 844872 w 844872"/>
                    <a:gd name="connsiteY3" fmla="*/ 364169 h 728338"/>
                    <a:gd name="connsiteX4" fmla="*/ 662788 w 844872"/>
                    <a:gd name="connsiteY4" fmla="*/ 728338 h 728338"/>
                    <a:gd name="connsiteX5" fmla="*/ 182085 w 844872"/>
                    <a:gd name="connsiteY5" fmla="*/ 728338 h 728338"/>
                    <a:gd name="connsiteX6" fmla="*/ 0 w 844872"/>
                    <a:gd name="connsiteY6" fmla="*/ 364169 h 728338"/>
                    <a:gd name="connsiteX0" fmla="*/ 182085 w 844872"/>
                    <a:gd name="connsiteY0" fmla="*/ 0 h 728338"/>
                    <a:gd name="connsiteX1" fmla="*/ 662788 w 844872"/>
                    <a:gd name="connsiteY1" fmla="*/ 0 h 728338"/>
                    <a:gd name="connsiteX2" fmla="*/ 844872 w 844872"/>
                    <a:gd name="connsiteY2" fmla="*/ 364169 h 728338"/>
                    <a:gd name="connsiteX3" fmla="*/ 662788 w 844872"/>
                    <a:gd name="connsiteY3" fmla="*/ 728338 h 728338"/>
                    <a:gd name="connsiteX4" fmla="*/ 182085 w 844872"/>
                    <a:gd name="connsiteY4" fmla="*/ 728338 h 728338"/>
                    <a:gd name="connsiteX5" fmla="*/ 0 w 844872"/>
                    <a:gd name="connsiteY5" fmla="*/ 364169 h 728338"/>
                    <a:gd name="connsiteX6" fmla="*/ 273525 w 844872"/>
                    <a:gd name="connsiteY6" fmla="*/ 91440 h 728338"/>
                    <a:gd name="connsiteX0" fmla="*/ 182085 w 844872"/>
                    <a:gd name="connsiteY0" fmla="*/ 0 h 728338"/>
                    <a:gd name="connsiteX1" fmla="*/ 662788 w 844872"/>
                    <a:gd name="connsiteY1" fmla="*/ 0 h 728338"/>
                    <a:gd name="connsiteX2" fmla="*/ 844872 w 844872"/>
                    <a:gd name="connsiteY2" fmla="*/ 364169 h 728338"/>
                    <a:gd name="connsiteX3" fmla="*/ 662788 w 844872"/>
                    <a:gd name="connsiteY3" fmla="*/ 728338 h 728338"/>
                    <a:gd name="connsiteX4" fmla="*/ 182085 w 844872"/>
                    <a:gd name="connsiteY4" fmla="*/ 728338 h 728338"/>
                    <a:gd name="connsiteX5" fmla="*/ 0 w 844872"/>
                    <a:gd name="connsiteY5" fmla="*/ 364169 h 728338"/>
                    <a:gd name="connsiteX0" fmla="*/ 0 w 662787"/>
                    <a:gd name="connsiteY0" fmla="*/ 0 h 728338"/>
                    <a:gd name="connsiteX1" fmla="*/ 480703 w 662787"/>
                    <a:gd name="connsiteY1" fmla="*/ 0 h 728338"/>
                    <a:gd name="connsiteX2" fmla="*/ 662787 w 662787"/>
                    <a:gd name="connsiteY2" fmla="*/ 364169 h 728338"/>
                    <a:gd name="connsiteX3" fmla="*/ 480703 w 662787"/>
                    <a:gd name="connsiteY3" fmla="*/ 728338 h 728338"/>
                    <a:gd name="connsiteX4" fmla="*/ 0 w 662787"/>
                    <a:gd name="connsiteY4" fmla="*/ 728338 h 728338"/>
                    <a:gd name="connsiteX0" fmla="*/ 0 w 662787"/>
                    <a:gd name="connsiteY0" fmla="*/ 0 h 728338"/>
                    <a:gd name="connsiteX1" fmla="*/ 480703 w 662787"/>
                    <a:gd name="connsiteY1" fmla="*/ 0 h 728338"/>
                    <a:gd name="connsiteX2" fmla="*/ 662787 w 662787"/>
                    <a:gd name="connsiteY2" fmla="*/ 364169 h 728338"/>
                    <a:gd name="connsiteX3" fmla="*/ 480703 w 662787"/>
                    <a:gd name="connsiteY3" fmla="*/ 728338 h 728338"/>
                    <a:gd name="connsiteX0" fmla="*/ 0 w 182084"/>
                    <a:gd name="connsiteY0" fmla="*/ 0 h 728338"/>
                    <a:gd name="connsiteX1" fmla="*/ 182084 w 182084"/>
                    <a:gd name="connsiteY1" fmla="*/ 364169 h 728338"/>
                    <a:gd name="connsiteX2" fmla="*/ 0 w 182084"/>
                    <a:gd name="connsiteY2" fmla="*/ 728338 h 728338"/>
                  </a:gdLst>
                  <a:ahLst/>
                  <a:cxnLst>
                    <a:cxn ang="0">
                      <a:pos x="connsiteX0" y="connsiteY0"/>
                    </a:cxn>
                    <a:cxn ang="0">
                      <a:pos x="connsiteX1" y="connsiteY1"/>
                    </a:cxn>
                    <a:cxn ang="0">
                      <a:pos x="connsiteX2" y="connsiteY2"/>
                    </a:cxn>
                  </a:cxnLst>
                  <a:rect l="l" t="t" r="r" b="b"/>
                  <a:pathLst>
                    <a:path w="182084" h="728338">
                      <a:moveTo>
                        <a:pt x="0" y="0"/>
                      </a:moveTo>
                      <a:lnTo>
                        <a:pt x="182084" y="364169"/>
                      </a:lnTo>
                      <a:lnTo>
                        <a:pt x="0" y="728338"/>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86" name="Oval 285">
                  <a:extLst>
                    <a:ext uri="{FF2B5EF4-FFF2-40B4-BE49-F238E27FC236}">
                      <a16:creationId xmlns:a16="http://schemas.microsoft.com/office/drawing/2014/main" id="{D8695B74-A27D-4C68-A964-E1F0098361A4}"/>
                    </a:ext>
                  </a:extLst>
                </p:cNvPr>
                <p:cNvSpPr>
                  <a:spLocks noChangeAspect="1"/>
                </p:cNvSpPr>
                <p:nvPr/>
              </p:nvSpPr>
              <p:spPr>
                <a:xfrm>
                  <a:off x="3580507" y="2395202"/>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87" name="Oval 286">
                  <a:extLst>
                    <a:ext uri="{FF2B5EF4-FFF2-40B4-BE49-F238E27FC236}">
                      <a16:creationId xmlns:a16="http://schemas.microsoft.com/office/drawing/2014/main" id="{B293EF14-80CE-4F5A-AA20-CC6EDCF16736}"/>
                    </a:ext>
                  </a:extLst>
                </p:cNvPr>
                <p:cNvSpPr>
                  <a:spLocks noChangeAspect="1"/>
                </p:cNvSpPr>
                <p:nvPr/>
              </p:nvSpPr>
              <p:spPr>
                <a:xfrm>
                  <a:off x="3584709" y="2996754"/>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84" name="Straight Connector 283">
                <a:extLst>
                  <a:ext uri="{FF2B5EF4-FFF2-40B4-BE49-F238E27FC236}">
                    <a16:creationId xmlns:a16="http://schemas.microsoft.com/office/drawing/2014/main" id="{04309763-3BBE-42DF-8BAC-B164D1555016}"/>
                  </a:ext>
                </a:extLst>
              </p:cNvPr>
              <p:cNvCxnSpPr>
                <a:cxnSpLocks/>
                <a:endCxn id="285" idx="1"/>
              </p:cNvCxnSpPr>
              <p:nvPr/>
            </p:nvCxnSpPr>
            <p:spPr>
              <a:xfrm flipH="1" flipV="1">
                <a:off x="4319429" y="4237632"/>
                <a:ext cx="649179" cy="0"/>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04" name="Group 203">
              <a:extLst>
                <a:ext uri="{FF2B5EF4-FFF2-40B4-BE49-F238E27FC236}">
                  <a16:creationId xmlns:a16="http://schemas.microsoft.com/office/drawing/2014/main" id="{BF15152D-DD42-492F-B76D-721B79EAB79A}"/>
                </a:ext>
              </a:extLst>
            </p:cNvPr>
            <p:cNvGrpSpPr/>
            <p:nvPr/>
          </p:nvGrpSpPr>
          <p:grpSpPr>
            <a:xfrm>
              <a:off x="231817" y="131629"/>
              <a:ext cx="959017" cy="916022"/>
              <a:chOff x="231817" y="131629"/>
              <a:chExt cx="959017" cy="916022"/>
            </a:xfrm>
          </p:grpSpPr>
          <p:grpSp>
            <p:nvGrpSpPr>
              <p:cNvPr id="205" name="2 hexa">
                <a:extLst>
                  <a:ext uri="{FF2B5EF4-FFF2-40B4-BE49-F238E27FC236}">
                    <a16:creationId xmlns:a16="http://schemas.microsoft.com/office/drawing/2014/main" id="{A5B1F946-4A1A-47C7-88B7-0E989D7C0C8B}"/>
                  </a:ext>
                </a:extLst>
              </p:cNvPr>
              <p:cNvGrpSpPr/>
              <p:nvPr/>
            </p:nvGrpSpPr>
            <p:grpSpPr>
              <a:xfrm>
                <a:off x="623012" y="270288"/>
                <a:ext cx="170993" cy="147408"/>
                <a:chOff x="2468489" y="2141198"/>
                <a:chExt cx="693176" cy="597566"/>
              </a:xfrm>
            </p:grpSpPr>
            <p:sp>
              <p:nvSpPr>
                <p:cNvPr id="281" name="Hexagon 280">
                  <a:extLst>
                    <a:ext uri="{FF2B5EF4-FFF2-40B4-BE49-F238E27FC236}">
                      <a16:creationId xmlns:a16="http://schemas.microsoft.com/office/drawing/2014/main" id="{9B373146-5616-436C-BDA5-16F0D5823E89}"/>
                    </a:ext>
                  </a:extLst>
                </p:cNvPr>
                <p:cNvSpPr/>
                <p:nvPr/>
              </p:nvSpPr>
              <p:spPr>
                <a:xfrm>
                  <a:off x="2468489" y="2141198"/>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82" name="Freeform 67">
                  <a:extLst>
                    <a:ext uri="{FF2B5EF4-FFF2-40B4-BE49-F238E27FC236}">
                      <a16:creationId xmlns:a16="http://schemas.microsoft.com/office/drawing/2014/main" id="{A54FD671-1DDC-4F3D-9A1D-530056E2D331}"/>
                    </a:ext>
                  </a:extLst>
                </p:cNvPr>
                <p:cNvSpPr>
                  <a:spLocks noEditPoints="1"/>
                </p:cNvSpPr>
                <p:nvPr/>
              </p:nvSpPr>
              <p:spPr bwMode="blackGray">
                <a:xfrm>
                  <a:off x="2620297" y="2214919"/>
                  <a:ext cx="387340" cy="387336"/>
                </a:xfrm>
                <a:custGeom>
                  <a:avLst/>
                  <a:gdLst>
                    <a:gd name="T0" fmla="*/ 0 w 92"/>
                    <a:gd name="T1" fmla="*/ 86 h 92"/>
                    <a:gd name="T2" fmla="*/ 16 w 92"/>
                    <a:gd name="T3" fmla="*/ 86 h 92"/>
                    <a:gd name="T4" fmla="*/ 16 w 92"/>
                    <a:gd name="T5" fmla="*/ 37 h 92"/>
                    <a:gd name="T6" fmla="*/ 0 w 92"/>
                    <a:gd name="T7" fmla="*/ 37 h 92"/>
                    <a:gd name="T8" fmla="*/ 0 w 92"/>
                    <a:gd name="T9" fmla="*/ 86 h 92"/>
                    <a:gd name="T10" fmla="*/ 92 w 92"/>
                    <a:gd name="T11" fmla="*/ 83 h 92"/>
                    <a:gd name="T12" fmla="*/ 73 w 92"/>
                    <a:gd name="T13" fmla="*/ 63 h 92"/>
                    <a:gd name="T14" fmla="*/ 70 w 92"/>
                    <a:gd name="T15" fmla="*/ 64 h 92"/>
                    <a:gd name="T16" fmla="*/ 66 w 92"/>
                    <a:gd name="T17" fmla="*/ 61 h 92"/>
                    <a:gd name="T18" fmla="*/ 64 w 92"/>
                    <a:gd name="T19" fmla="*/ 32 h 92"/>
                    <a:gd name="T20" fmla="*/ 62 w 92"/>
                    <a:gd name="T21" fmla="*/ 31 h 92"/>
                    <a:gd name="T22" fmla="*/ 62 w 92"/>
                    <a:gd name="T23" fmla="*/ 0 h 92"/>
                    <a:gd name="T24" fmla="*/ 46 w 92"/>
                    <a:gd name="T25" fmla="*/ 0 h 92"/>
                    <a:gd name="T26" fmla="*/ 46 w 92"/>
                    <a:gd name="T27" fmla="*/ 26 h 92"/>
                    <a:gd name="T28" fmla="*/ 39 w 92"/>
                    <a:gd name="T29" fmla="*/ 28 h 92"/>
                    <a:gd name="T30" fmla="*/ 39 w 92"/>
                    <a:gd name="T31" fmla="*/ 20 h 92"/>
                    <a:gd name="T32" fmla="*/ 23 w 92"/>
                    <a:gd name="T33" fmla="*/ 20 h 92"/>
                    <a:gd name="T34" fmla="*/ 23 w 92"/>
                    <a:gd name="T35" fmla="*/ 86 h 92"/>
                    <a:gd name="T36" fmla="*/ 39 w 92"/>
                    <a:gd name="T37" fmla="*/ 86 h 92"/>
                    <a:gd name="T38" fmla="*/ 39 w 92"/>
                    <a:gd name="T39" fmla="*/ 67 h 92"/>
                    <a:gd name="T40" fmla="*/ 46 w 92"/>
                    <a:gd name="T41" fmla="*/ 70 h 92"/>
                    <a:gd name="T42" fmla="*/ 46 w 92"/>
                    <a:gd name="T43" fmla="*/ 86 h 92"/>
                    <a:gd name="T44" fmla="*/ 62 w 92"/>
                    <a:gd name="T45" fmla="*/ 86 h 92"/>
                    <a:gd name="T46" fmla="*/ 62 w 92"/>
                    <a:gd name="T47" fmla="*/ 67 h 92"/>
                    <a:gd name="T48" fmla="*/ 65 w 92"/>
                    <a:gd name="T49" fmla="*/ 69 h 92"/>
                    <a:gd name="T50" fmla="*/ 63 w 92"/>
                    <a:gd name="T51" fmla="*/ 72 h 92"/>
                    <a:gd name="T52" fmla="*/ 83 w 92"/>
                    <a:gd name="T53" fmla="*/ 92 h 92"/>
                    <a:gd name="T54" fmla="*/ 90 w 92"/>
                    <a:gd name="T55" fmla="*/ 89 h 92"/>
                    <a:gd name="T56" fmla="*/ 92 w 92"/>
                    <a:gd name="T57" fmla="*/ 83 h 92"/>
                    <a:gd name="T58" fmla="*/ 60 w 92"/>
                    <a:gd name="T59" fmla="*/ 60 h 92"/>
                    <a:gd name="T60" fmla="*/ 37 w 92"/>
                    <a:gd name="T61" fmla="*/ 60 h 92"/>
                    <a:gd name="T62" fmla="*/ 37 w 92"/>
                    <a:gd name="T63" fmla="*/ 36 h 92"/>
                    <a:gd name="T64" fmla="*/ 60 w 92"/>
                    <a:gd name="T65" fmla="*/ 36 h 92"/>
                    <a:gd name="T66" fmla="*/ 60 w 92"/>
                    <a:gd name="T67" fmla="*/ 6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0" y="86"/>
                      </a:moveTo>
                      <a:cubicBezTo>
                        <a:pt x="16" y="86"/>
                        <a:pt x="16" y="86"/>
                        <a:pt x="16" y="86"/>
                      </a:cubicBezTo>
                      <a:cubicBezTo>
                        <a:pt x="16" y="37"/>
                        <a:pt x="16" y="37"/>
                        <a:pt x="16" y="37"/>
                      </a:cubicBezTo>
                      <a:cubicBezTo>
                        <a:pt x="0" y="37"/>
                        <a:pt x="0" y="37"/>
                        <a:pt x="0" y="37"/>
                      </a:cubicBezTo>
                      <a:lnTo>
                        <a:pt x="0" y="86"/>
                      </a:lnTo>
                      <a:close/>
                      <a:moveTo>
                        <a:pt x="92" y="83"/>
                      </a:moveTo>
                      <a:cubicBezTo>
                        <a:pt x="73" y="63"/>
                        <a:pt x="73" y="63"/>
                        <a:pt x="73" y="63"/>
                      </a:cubicBezTo>
                      <a:cubicBezTo>
                        <a:pt x="70" y="64"/>
                        <a:pt x="70" y="64"/>
                        <a:pt x="70" y="64"/>
                      </a:cubicBezTo>
                      <a:cubicBezTo>
                        <a:pt x="66" y="61"/>
                        <a:pt x="66" y="61"/>
                        <a:pt x="66" y="61"/>
                      </a:cubicBezTo>
                      <a:cubicBezTo>
                        <a:pt x="72" y="52"/>
                        <a:pt x="71" y="40"/>
                        <a:pt x="64" y="32"/>
                      </a:cubicBezTo>
                      <a:cubicBezTo>
                        <a:pt x="63" y="32"/>
                        <a:pt x="63" y="32"/>
                        <a:pt x="62" y="31"/>
                      </a:cubicBezTo>
                      <a:cubicBezTo>
                        <a:pt x="62" y="0"/>
                        <a:pt x="62" y="0"/>
                        <a:pt x="62" y="0"/>
                      </a:cubicBezTo>
                      <a:cubicBezTo>
                        <a:pt x="46" y="0"/>
                        <a:pt x="46" y="0"/>
                        <a:pt x="46" y="0"/>
                      </a:cubicBezTo>
                      <a:cubicBezTo>
                        <a:pt x="46" y="26"/>
                        <a:pt x="46" y="26"/>
                        <a:pt x="46" y="26"/>
                      </a:cubicBezTo>
                      <a:cubicBezTo>
                        <a:pt x="44" y="27"/>
                        <a:pt x="41" y="27"/>
                        <a:pt x="39" y="28"/>
                      </a:cubicBezTo>
                      <a:cubicBezTo>
                        <a:pt x="39" y="20"/>
                        <a:pt x="39" y="20"/>
                        <a:pt x="39" y="20"/>
                      </a:cubicBezTo>
                      <a:cubicBezTo>
                        <a:pt x="23" y="20"/>
                        <a:pt x="23" y="20"/>
                        <a:pt x="23" y="20"/>
                      </a:cubicBezTo>
                      <a:cubicBezTo>
                        <a:pt x="23" y="86"/>
                        <a:pt x="23" y="86"/>
                        <a:pt x="23" y="86"/>
                      </a:cubicBezTo>
                      <a:cubicBezTo>
                        <a:pt x="39" y="86"/>
                        <a:pt x="39" y="86"/>
                        <a:pt x="39" y="86"/>
                      </a:cubicBezTo>
                      <a:cubicBezTo>
                        <a:pt x="39" y="67"/>
                        <a:pt x="39" y="67"/>
                        <a:pt x="39" y="67"/>
                      </a:cubicBezTo>
                      <a:cubicBezTo>
                        <a:pt x="41" y="68"/>
                        <a:pt x="44" y="69"/>
                        <a:pt x="46" y="70"/>
                      </a:cubicBezTo>
                      <a:cubicBezTo>
                        <a:pt x="46" y="86"/>
                        <a:pt x="46" y="86"/>
                        <a:pt x="46" y="86"/>
                      </a:cubicBezTo>
                      <a:cubicBezTo>
                        <a:pt x="62" y="86"/>
                        <a:pt x="62" y="86"/>
                        <a:pt x="62" y="86"/>
                      </a:cubicBezTo>
                      <a:cubicBezTo>
                        <a:pt x="62" y="67"/>
                        <a:pt x="62" y="67"/>
                        <a:pt x="62" y="67"/>
                      </a:cubicBezTo>
                      <a:cubicBezTo>
                        <a:pt x="65" y="69"/>
                        <a:pt x="65" y="69"/>
                        <a:pt x="65" y="69"/>
                      </a:cubicBezTo>
                      <a:cubicBezTo>
                        <a:pt x="63" y="72"/>
                        <a:pt x="63" y="72"/>
                        <a:pt x="63" y="72"/>
                      </a:cubicBezTo>
                      <a:cubicBezTo>
                        <a:pt x="83" y="92"/>
                        <a:pt x="83" y="92"/>
                        <a:pt x="83" y="92"/>
                      </a:cubicBezTo>
                      <a:cubicBezTo>
                        <a:pt x="83" y="92"/>
                        <a:pt x="87" y="92"/>
                        <a:pt x="90" y="89"/>
                      </a:cubicBezTo>
                      <a:cubicBezTo>
                        <a:pt x="92" y="86"/>
                        <a:pt x="92" y="83"/>
                        <a:pt x="92" y="83"/>
                      </a:cubicBezTo>
                      <a:close/>
                      <a:moveTo>
                        <a:pt x="60" y="60"/>
                      </a:moveTo>
                      <a:cubicBezTo>
                        <a:pt x="54" y="66"/>
                        <a:pt x="44" y="66"/>
                        <a:pt x="37" y="60"/>
                      </a:cubicBezTo>
                      <a:cubicBezTo>
                        <a:pt x="31" y="53"/>
                        <a:pt x="31" y="43"/>
                        <a:pt x="37" y="36"/>
                      </a:cubicBezTo>
                      <a:cubicBezTo>
                        <a:pt x="44" y="29"/>
                        <a:pt x="54" y="29"/>
                        <a:pt x="60" y="36"/>
                      </a:cubicBezTo>
                      <a:cubicBezTo>
                        <a:pt x="67" y="43"/>
                        <a:pt x="67" y="53"/>
                        <a:pt x="60" y="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799"/>
                </a:p>
              </p:txBody>
            </p:sp>
          </p:grpSp>
          <p:grpSp>
            <p:nvGrpSpPr>
              <p:cNvPr id="206" name="3 hexa">
                <a:extLst>
                  <a:ext uri="{FF2B5EF4-FFF2-40B4-BE49-F238E27FC236}">
                    <a16:creationId xmlns:a16="http://schemas.microsoft.com/office/drawing/2014/main" id="{9468406E-E0C1-4AFB-99A4-C76FEC872A56}"/>
                  </a:ext>
                </a:extLst>
              </p:cNvPr>
              <p:cNvGrpSpPr/>
              <p:nvPr/>
            </p:nvGrpSpPr>
            <p:grpSpPr>
              <a:xfrm>
                <a:off x="757100" y="196288"/>
                <a:ext cx="170993" cy="147408"/>
                <a:chOff x="3012062" y="1841212"/>
                <a:chExt cx="693176" cy="597566"/>
              </a:xfrm>
            </p:grpSpPr>
            <p:sp>
              <p:nvSpPr>
                <p:cNvPr id="279" name="Hexagon 278">
                  <a:extLst>
                    <a:ext uri="{FF2B5EF4-FFF2-40B4-BE49-F238E27FC236}">
                      <a16:creationId xmlns:a16="http://schemas.microsoft.com/office/drawing/2014/main" id="{045F2F8D-42F0-4149-AB71-FD1BC336D990}"/>
                    </a:ext>
                  </a:extLst>
                </p:cNvPr>
                <p:cNvSpPr/>
                <p:nvPr/>
              </p:nvSpPr>
              <p:spPr>
                <a:xfrm>
                  <a:off x="3012062" y="1841212"/>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80" name="Freeform 174">
                  <a:extLst>
                    <a:ext uri="{FF2B5EF4-FFF2-40B4-BE49-F238E27FC236}">
                      <a16:creationId xmlns:a16="http://schemas.microsoft.com/office/drawing/2014/main" id="{D240D92A-2788-431B-B7CB-0D0313CCB3CC}"/>
                    </a:ext>
                  </a:extLst>
                </p:cNvPr>
                <p:cNvSpPr>
                  <a:spLocks noChangeAspect="1" noEditPoints="1"/>
                </p:cNvSpPr>
                <p:nvPr/>
              </p:nvSpPr>
              <p:spPr bwMode="blackGray">
                <a:xfrm>
                  <a:off x="3205400" y="1950435"/>
                  <a:ext cx="325684" cy="325684"/>
                </a:xfrm>
                <a:custGeom>
                  <a:avLst/>
                  <a:gdLst>
                    <a:gd name="T0" fmla="*/ 43 w 160"/>
                    <a:gd name="T1" fmla="*/ 138 h 160"/>
                    <a:gd name="T2" fmla="*/ 21 w 160"/>
                    <a:gd name="T3" fmla="*/ 160 h 160"/>
                    <a:gd name="T4" fmla="*/ 0 w 160"/>
                    <a:gd name="T5" fmla="*/ 138 h 160"/>
                    <a:gd name="T6" fmla="*/ 21 w 160"/>
                    <a:gd name="T7" fmla="*/ 117 h 160"/>
                    <a:gd name="T8" fmla="*/ 43 w 160"/>
                    <a:gd name="T9" fmla="*/ 138 h 160"/>
                    <a:gd name="T10" fmla="*/ 16 w 160"/>
                    <a:gd name="T11" fmla="*/ 0 h 160"/>
                    <a:gd name="T12" fmla="*/ 0 w 160"/>
                    <a:gd name="T13" fmla="*/ 16 h 160"/>
                    <a:gd name="T14" fmla="*/ 16 w 160"/>
                    <a:gd name="T15" fmla="*/ 32 h 160"/>
                    <a:gd name="T16" fmla="*/ 128 w 160"/>
                    <a:gd name="T17" fmla="*/ 144 h 160"/>
                    <a:gd name="T18" fmla="*/ 144 w 160"/>
                    <a:gd name="T19" fmla="*/ 160 h 160"/>
                    <a:gd name="T20" fmla="*/ 160 w 160"/>
                    <a:gd name="T21" fmla="*/ 144 h 160"/>
                    <a:gd name="T22" fmla="*/ 16 w 160"/>
                    <a:gd name="T23" fmla="*/ 0 h 160"/>
                    <a:gd name="T24" fmla="*/ 16 w 160"/>
                    <a:gd name="T25" fmla="*/ 58 h 160"/>
                    <a:gd name="T26" fmla="*/ 0 w 160"/>
                    <a:gd name="T27" fmla="*/ 74 h 160"/>
                    <a:gd name="T28" fmla="*/ 16 w 160"/>
                    <a:gd name="T29" fmla="*/ 90 h 160"/>
                    <a:gd name="T30" fmla="*/ 69 w 160"/>
                    <a:gd name="T31" fmla="*/ 144 h 160"/>
                    <a:gd name="T32" fmla="*/ 85 w 160"/>
                    <a:gd name="T33" fmla="*/ 160 h 160"/>
                    <a:gd name="T34" fmla="*/ 101 w 160"/>
                    <a:gd name="T35" fmla="*/ 144 h 160"/>
                    <a:gd name="T36" fmla="*/ 16 w 160"/>
                    <a:gd name="T3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60">
                      <a:moveTo>
                        <a:pt x="43" y="138"/>
                      </a:moveTo>
                      <a:cubicBezTo>
                        <a:pt x="43" y="150"/>
                        <a:pt x="33" y="160"/>
                        <a:pt x="21" y="160"/>
                      </a:cubicBezTo>
                      <a:cubicBezTo>
                        <a:pt x="10" y="160"/>
                        <a:pt x="0" y="150"/>
                        <a:pt x="0" y="138"/>
                      </a:cubicBezTo>
                      <a:cubicBezTo>
                        <a:pt x="0" y="127"/>
                        <a:pt x="10" y="117"/>
                        <a:pt x="21" y="117"/>
                      </a:cubicBezTo>
                      <a:cubicBezTo>
                        <a:pt x="33" y="117"/>
                        <a:pt x="43" y="127"/>
                        <a:pt x="43" y="138"/>
                      </a:cubicBezTo>
                      <a:close/>
                      <a:moveTo>
                        <a:pt x="16" y="0"/>
                      </a:moveTo>
                      <a:cubicBezTo>
                        <a:pt x="7" y="0"/>
                        <a:pt x="0" y="7"/>
                        <a:pt x="0" y="16"/>
                      </a:cubicBezTo>
                      <a:cubicBezTo>
                        <a:pt x="0" y="25"/>
                        <a:pt x="7" y="32"/>
                        <a:pt x="16" y="32"/>
                      </a:cubicBezTo>
                      <a:cubicBezTo>
                        <a:pt x="78" y="32"/>
                        <a:pt x="128" y="82"/>
                        <a:pt x="128" y="144"/>
                      </a:cubicBezTo>
                      <a:cubicBezTo>
                        <a:pt x="128" y="153"/>
                        <a:pt x="135" y="160"/>
                        <a:pt x="144" y="160"/>
                      </a:cubicBezTo>
                      <a:cubicBezTo>
                        <a:pt x="153" y="160"/>
                        <a:pt x="160" y="153"/>
                        <a:pt x="160" y="144"/>
                      </a:cubicBezTo>
                      <a:cubicBezTo>
                        <a:pt x="160" y="64"/>
                        <a:pt x="95" y="0"/>
                        <a:pt x="16" y="0"/>
                      </a:cubicBezTo>
                      <a:close/>
                      <a:moveTo>
                        <a:pt x="16" y="58"/>
                      </a:moveTo>
                      <a:cubicBezTo>
                        <a:pt x="7" y="58"/>
                        <a:pt x="0" y="66"/>
                        <a:pt x="0" y="74"/>
                      </a:cubicBezTo>
                      <a:cubicBezTo>
                        <a:pt x="0" y="83"/>
                        <a:pt x="7" y="90"/>
                        <a:pt x="16" y="90"/>
                      </a:cubicBezTo>
                      <a:cubicBezTo>
                        <a:pt x="45" y="90"/>
                        <a:pt x="69" y="114"/>
                        <a:pt x="69" y="144"/>
                      </a:cubicBezTo>
                      <a:cubicBezTo>
                        <a:pt x="69" y="153"/>
                        <a:pt x="76" y="160"/>
                        <a:pt x="85" y="160"/>
                      </a:cubicBezTo>
                      <a:cubicBezTo>
                        <a:pt x="94" y="160"/>
                        <a:pt x="101" y="153"/>
                        <a:pt x="101" y="144"/>
                      </a:cubicBezTo>
                      <a:cubicBezTo>
                        <a:pt x="101" y="97"/>
                        <a:pt x="63" y="58"/>
                        <a:pt x="16" y="58"/>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grpSp>
            <p:nvGrpSpPr>
              <p:cNvPr id="207" name="1 hexa">
                <a:extLst>
                  <a:ext uri="{FF2B5EF4-FFF2-40B4-BE49-F238E27FC236}">
                    <a16:creationId xmlns:a16="http://schemas.microsoft.com/office/drawing/2014/main" id="{357A1392-0757-40A9-8936-072523B0EF35}"/>
                  </a:ext>
                </a:extLst>
              </p:cNvPr>
              <p:cNvGrpSpPr/>
              <p:nvPr/>
            </p:nvGrpSpPr>
            <p:grpSpPr>
              <a:xfrm>
                <a:off x="489272" y="196288"/>
                <a:ext cx="170993" cy="147408"/>
                <a:chOff x="1926331" y="1841212"/>
                <a:chExt cx="693176" cy="597566"/>
              </a:xfrm>
            </p:grpSpPr>
            <p:sp>
              <p:nvSpPr>
                <p:cNvPr id="277" name="Hexagon 276">
                  <a:extLst>
                    <a:ext uri="{FF2B5EF4-FFF2-40B4-BE49-F238E27FC236}">
                      <a16:creationId xmlns:a16="http://schemas.microsoft.com/office/drawing/2014/main" id="{C6AEEACF-B49A-45CA-924C-6662F6A95AA3}"/>
                    </a:ext>
                  </a:extLst>
                </p:cNvPr>
                <p:cNvSpPr/>
                <p:nvPr/>
              </p:nvSpPr>
              <p:spPr>
                <a:xfrm>
                  <a:off x="1926331" y="1841212"/>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78" name="Freeform 147">
                  <a:extLst>
                    <a:ext uri="{FF2B5EF4-FFF2-40B4-BE49-F238E27FC236}">
                      <a16:creationId xmlns:a16="http://schemas.microsoft.com/office/drawing/2014/main" id="{93580882-6269-430C-BB97-F88BA17E82D3}"/>
                    </a:ext>
                  </a:extLst>
                </p:cNvPr>
                <p:cNvSpPr>
                  <a:spLocks noEditPoints="1"/>
                </p:cNvSpPr>
                <p:nvPr/>
              </p:nvSpPr>
              <p:spPr bwMode="blackGray">
                <a:xfrm>
                  <a:off x="2069829" y="1934687"/>
                  <a:ext cx="388729" cy="353294"/>
                </a:xfrm>
                <a:custGeom>
                  <a:avLst/>
                  <a:gdLst>
                    <a:gd name="T0" fmla="*/ 95 w 176"/>
                    <a:gd name="T1" fmla="*/ 153 h 160"/>
                    <a:gd name="T2" fmla="*/ 93 w 176"/>
                    <a:gd name="T3" fmla="*/ 158 h 160"/>
                    <a:gd name="T4" fmla="*/ 88 w 176"/>
                    <a:gd name="T5" fmla="*/ 160 h 160"/>
                    <a:gd name="T6" fmla="*/ 32 w 176"/>
                    <a:gd name="T7" fmla="*/ 160 h 160"/>
                    <a:gd name="T8" fmla="*/ 27 w 176"/>
                    <a:gd name="T9" fmla="*/ 158 h 160"/>
                    <a:gd name="T10" fmla="*/ 25 w 176"/>
                    <a:gd name="T11" fmla="*/ 153 h 160"/>
                    <a:gd name="T12" fmla="*/ 44 w 176"/>
                    <a:gd name="T13" fmla="*/ 131 h 160"/>
                    <a:gd name="T14" fmla="*/ 60 w 176"/>
                    <a:gd name="T15" fmla="*/ 144 h 160"/>
                    <a:gd name="T16" fmla="*/ 76 w 176"/>
                    <a:gd name="T17" fmla="*/ 131 h 160"/>
                    <a:gd name="T18" fmla="*/ 95 w 176"/>
                    <a:gd name="T19" fmla="*/ 153 h 160"/>
                    <a:gd name="T20" fmla="*/ 120 w 176"/>
                    <a:gd name="T21" fmla="*/ 24 h 160"/>
                    <a:gd name="T22" fmla="*/ 120 w 176"/>
                    <a:gd name="T23" fmla="*/ 104 h 160"/>
                    <a:gd name="T24" fmla="*/ 112 w 176"/>
                    <a:gd name="T25" fmla="*/ 112 h 160"/>
                    <a:gd name="T26" fmla="*/ 8 w 176"/>
                    <a:gd name="T27" fmla="*/ 112 h 160"/>
                    <a:gd name="T28" fmla="*/ 0 w 176"/>
                    <a:gd name="T29" fmla="*/ 104 h 160"/>
                    <a:gd name="T30" fmla="*/ 0 w 176"/>
                    <a:gd name="T31" fmla="*/ 24 h 160"/>
                    <a:gd name="T32" fmla="*/ 8 w 176"/>
                    <a:gd name="T33" fmla="*/ 16 h 160"/>
                    <a:gd name="T34" fmla="*/ 112 w 176"/>
                    <a:gd name="T35" fmla="*/ 16 h 160"/>
                    <a:gd name="T36" fmla="*/ 120 w 176"/>
                    <a:gd name="T37" fmla="*/ 24 h 160"/>
                    <a:gd name="T38" fmla="*/ 108 w 176"/>
                    <a:gd name="T39" fmla="*/ 28 h 160"/>
                    <a:gd name="T40" fmla="*/ 12 w 176"/>
                    <a:gd name="T41" fmla="*/ 28 h 160"/>
                    <a:gd name="T42" fmla="*/ 12 w 176"/>
                    <a:gd name="T43" fmla="*/ 92 h 160"/>
                    <a:gd name="T44" fmla="*/ 108 w 176"/>
                    <a:gd name="T45" fmla="*/ 92 h 160"/>
                    <a:gd name="T46" fmla="*/ 108 w 176"/>
                    <a:gd name="T47" fmla="*/ 28 h 160"/>
                    <a:gd name="T48" fmla="*/ 128 w 176"/>
                    <a:gd name="T49" fmla="*/ 100 h 160"/>
                    <a:gd name="T50" fmla="*/ 128 w 176"/>
                    <a:gd name="T51" fmla="*/ 8 h 160"/>
                    <a:gd name="T52" fmla="*/ 136 w 176"/>
                    <a:gd name="T53" fmla="*/ 0 h 160"/>
                    <a:gd name="T54" fmla="*/ 168 w 176"/>
                    <a:gd name="T55" fmla="*/ 0 h 160"/>
                    <a:gd name="T56" fmla="*/ 176 w 176"/>
                    <a:gd name="T57" fmla="*/ 8 h 160"/>
                    <a:gd name="T58" fmla="*/ 176 w 176"/>
                    <a:gd name="T59" fmla="*/ 100 h 160"/>
                    <a:gd name="T60" fmla="*/ 128 w 176"/>
                    <a:gd name="T61" fmla="*/ 100 h 160"/>
                    <a:gd name="T62" fmla="*/ 136 w 176"/>
                    <a:gd name="T63" fmla="*/ 16 h 160"/>
                    <a:gd name="T64" fmla="*/ 140 w 176"/>
                    <a:gd name="T65" fmla="*/ 20 h 160"/>
                    <a:gd name="T66" fmla="*/ 164 w 176"/>
                    <a:gd name="T67" fmla="*/ 20 h 160"/>
                    <a:gd name="T68" fmla="*/ 168 w 176"/>
                    <a:gd name="T69" fmla="*/ 16 h 160"/>
                    <a:gd name="T70" fmla="*/ 164 w 176"/>
                    <a:gd name="T71" fmla="*/ 12 h 160"/>
                    <a:gd name="T72" fmla="*/ 140 w 176"/>
                    <a:gd name="T73" fmla="*/ 12 h 160"/>
                    <a:gd name="T74" fmla="*/ 136 w 176"/>
                    <a:gd name="T75" fmla="*/ 16 h 160"/>
                    <a:gd name="T76" fmla="*/ 136 w 176"/>
                    <a:gd name="T77" fmla="*/ 32 h 160"/>
                    <a:gd name="T78" fmla="*/ 140 w 176"/>
                    <a:gd name="T79" fmla="*/ 36 h 160"/>
                    <a:gd name="T80" fmla="*/ 164 w 176"/>
                    <a:gd name="T81" fmla="*/ 36 h 160"/>
                    <a:gd name="T82" fmla="*/ 168 w 176"/>
                    <a:gd name="T83" fmla="*/ 32 h 160"/>
                    <a:gd name="T84" fmla="*/ 164 w 176"/>
                    <a:gd name="T85" fmla="*/ 28 h 160"/>
                    <a:gd name="T86" fmla="*/ 140 w 176"/>
                    <a:gd name="T87" fmla="*/ 28 h 160"/>
                    <a:gd name="T88" fmla="*/ 136 w 176"/>
                    <a:gd name="T89" fmla="*/ 32 h 160"/>
                    <a:gd name="T90" fmla="*/ 176 w 176"/>
                    <a:gd name="T91" fmla="*/ 104 h 160"/>
                    <a:gd name="T92" fmla="*/ 176 w 176"/>
                    <a:gd name="T93" fmla="*/ 152 h 160"/>
                    <a:gd name="T94" fmla="*/ 168 w 176"/>
                    <a:gd name="T95" fmla="*/ 160 h 160"/>
                    <a:gd name="T96" fmla="*/ 136 w 176"/>
                    <a:gd name="T97" fmla="*/ 160 h 160"/>
                    <a:gd name="T98" fmla="*/ 128 w 176"/>
                    <a:gd name="T99" fmla="*/ 152 h 160"/>
                    <a:gd name="T100" fmla="*/ 128 w 176"/>
                    <a:gd name="T101" fmla="*/ 104 h 160"/>
                    <a:gd name="T102" fmla="*/ 176 w 176"/>
                    <a:gd name="T103" fmla="*/ 104 h 160"/>
                    <a:gd name="T104" fmla="*/ 168 w 176"/>
                    <a:gd name="T105" fmla="*/ 112 h 160"/>
                    <a:gd name="T106" fmla="*/ 160 w 176"/>
                    <a:gd name="T107" fmla="*/ 112 h 160"/>
                    <a:gd name="T108" fmla="*/ 160 w 176"/>
                    <a:gd name="T109" fmla="*/ 116 h 160"/>
                    <a:gd name="T110" fmla="*/ 168 w 176"/>
                    <a:gd name="T111" fmla="*/ 116 h 160"/>
                    <a:gd name="T112" fmla="*/ 168 w 176"/>
                    <a:gd name="T113" fmla="*/ 112 h 160"/>
                    <a:gd name="T114" fmla="*/ 48 w 176"/>
                    <a:gd name="T115" fmla="*/ 120 h 160"/>
                    <a:gd name="T116" fmla="*/ 48 w 176"/>
                    <a:gd name="T117" fmla="*/ 128 h 160"/>
                    <a:gd name="T118" fmla="*/ 60 w 176"/>
                    <a:gd name="T119" fmla="*/ 140 h 160"/>
                    <a:gd name="T120" fmla="*/ 72 w 176"/>
                    <a:gd name="T121" fmla="*/ 128 h 160"/>
                    <a:gd name="T122" fmla="*/ 72 w 176"/>
                    <a:gd name="T123" fmla="*/ 120 h 160"/>
                    <a:gd name="T124" fmla="*/ 48 w 176"/>
                    <a:gd name="T125"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 h="160">
                      <a:moveTo>
                        <a:pt x="95" y="153"/>
                      </a:moveTo>
                      <a:cubicBezTo>
                        <a:pt x="95" y="155"/>
                        <a:pt x="94" y="157"/>
                        <a:pt x="93" y="158"/>
                      </a:cubicBezTo>
                      <a:cubicBezTo>
                        <a:pt x="92" y="160"/>
                        <a:pt x="90" y="160"/>
                        <a:pt x="88" y="160"/>
                      </a:cubicBezTo>
                      <a:cubicBezTo>
                        <a:pt x="32" y="160"/>
                        <a:pt x="32" y="160"/>
                        <a:pt x="32" y="160"/>
                      </a:cubicBezTo>
                      <a:cubicBezTo>
                        <a:pt x="30" y="160"/>
                        <a:pt x="28" y="160"/>
                        <a:pt x="27" y="158"/>
                      </a:cubicBezTo>
                      <a:cubicBezTo>
                        <a:pt x="26" y="157"/>
                        <a:pt x="25" y="155"/>
                        <a:pt x="25" y="153"/>
                      </a:cubicBezTo>
                      <a:cubicBezTo>
                        <a:pt x="25" y="152"/>
                        <a:pt x="27" y="137"/>
                        <a:pt x="44" y="131"/>
                      </a:cubicBezTo>
                      <a:cubicBezTo>
                        <a:pt x="45" y="138"/>
                        <a:pt x="52" y="144"/>
                        <a:pt x="60" y="144"/>
                      </a:cubicBezTo>
                      <a:cubicBezTo>
                        <a:pt x="68" y="144"/>
                        <a:pt x="75" y="138"/>
                        <a:pt x="76" y="131"/>
                      </a:cubicBezTo>
                      <a:cubicBezTo>
                        <a:pt x="93" y="136"/>
                        <a:pt x="95" y="151"/>
                        <a:pt x="95" y="153"/>
                      </a:cubicBezTo>
                      <a:close/>
                      <a:moveTo>
                        <a:pt x="120" y="24"/>
                      </a:moveTo>
                      <a:cubicBezTo>
                        <a:pt x="120" y="104"/>
                        <a:pt x="120" y="104"/>
                        <a:pt x="120" y="104"/>
                      </a:cubicBezTo>
                      <a:cubicBezTo>
                        <a:pt x="120" y="109"/>
                        <a:pt x="116" y="112"/>
                        <a:pt x="112" y="112"/>
                      </a:cubicBezTo>
                      <a:cubicBezTo>
                        <a:pt x="8" y="112"/>
                        <a:pt x="8" y="112"/>
                        <a:pt x="8" y="112"/>
                      </a:cubicBezTo>
                      <a:cubicBezTo>
                        <a:pt x="4" y="112"/>
                        <a:pt x="0" y="109"/>
                        <a:pt x="0" y="104"/>
                      </a:cubicBezTo>
                      <a:cubicBezTo>
                        <a:pt x="0" y="24"/>
                        <a:pt x="0" y="24"/>
                        <a:pt x="0" y="24"/>
                      </a:cubicBezTo>
                      <a:cubicBezTo>
                        <a:pt x="0" y="20"/>
                        <a:pt x="4" y="16"/>
                        <a:pt x="8" y="16"/>
                      </a:cubicBezTo>
                      <a:cubicBezTo>
                        <a:pt x="112" y="16"/>
                        <a:pt x="112" y="16"/>
                        <a:pt x="112" y="16"/>
                      </a:cubicBezTo>
                      <a:cubicBezTo>
                        <a:pt x="116" y="16"/>
                        <a:pt x="120" y="20"/>
                        <a:pt x="120" y="24"/>
                      </a:cubicBezTo>
                      <a:close/>
                      <a:moveTo>
                        <a:pt x="108" y="28"/>
                      </a:moveTo>
                      <a:cubicBezTo>
                        <a:pt x="12" y="28"/>
                        <a:pt x="12" y="28"/>
                        <a:pt x="12" y="28"/>
                      </a:cubicBezTo>
                      <a:cubicBezTo>
                        <a:pt x="12" y="92"/>
                        <a:pt x="12" y="92"/>
                        <a:pt x="12" y="92"/>
                      </a:cubicBezTo>
                      <a:cubicBezTo>
                        <a:pt x="108" y="92"/>
                        <a:pt x="108" y="92"/>
                        <a:pt x="108" y="92"/>
                      </a:cubicBezTo>
                      <a:lnTo>
                        <a:pt x="108" y="28"/>
                      </a:lnTo>
                      <a:close/>
                      <a:moveTo>
                        <a:pt x="128" y="100"/>
                      </a:moveTo>
                      <a:cubicBezTo>
                        <a:pt x="128" y="8"/>
                        <a:pt x="128" y="8"/>
                        <a:pt x="128" y="8"/>
                      </a:cubicBezTo>
                      <a:cubicBezTo>
                        <a:pt x="128" y="4"/>
                        <a:pt x="132" y="0"/>
                        <a:pt x="136" y="0"/>
                      </a:cubicBezTo>
                      <a:cubicBezTo>
                        <a:pt x="168" y="0"/>
                        <a:pt x="168" y="0"/>
                        <a:pt x="168" y="0"/>
                      </a:cubicBezTo>
                      <a:cubicBezTo>
                        <a:pt x="172" y="0"/>
                        <a:pt x="176" y="4"/>
                        <a:pt x="176" y="8"/>
                      </a:cubicBezTo>
                      <a:cubicBezTo>
                        <a:pt x="176" y="100"/>
                        <a:pt x="176" y="100"/>
                        <a:pt x="176" y="100"/>
                      </a:cubicBezTo>
                      <a:lnTo>
                        <a:pt x="128" y="100"/>
                      </a:lnTo>
                      <a:close/>
                      <a:moveTo>
                        <a:pt x="136" y="16"/>
                      </a:moveTo>
                      <a:cubicBezTo>
                        <a:pt x="136" y="18"/>
                        <a:pt x="138" y="20"/>
                        <a:pt x="140" y="20"/>
                      </a:cubicBezTo>
                      <a:cubicBezTo>
                        <a:pt x="164" y="20"/>
                        <a:pt x="164" y="20"/>
                        <a:pt x="164" y="20"/>
                      </a:cubicBezTo>
                      <a:cubicBezTo>
                        <a:pt x="166" y="20"/>
                        <a:pt x="168" y="18"/>
                        <a:pt x="168" y="16"/>
                      </a:cubicBezTo>
                      <a:cubicBezTo>
                        <a:pt x="168" y="14"/>
                        <a:pt x="166" y="12"/>
                        <a:pt x="164" y="12"/>
                      </a:cubicBezTo>
                      <a:cubicBezTo>
                        <a:pt x="140" y="12"/>
                        <a:pt x="140" y="12"/>
                        <a:pt x="140" y="12"/>
                      </a:cubicBezTo>
                      <a:cubicBezTo>
                        <a:pt x="138" y="12"/>
                        <a:pt x="136" y="14"/>
                        <a:pt x="136" y="16"/>
                      </a:cubicBezTo>
                      <a:close/>
                      <a:moveTo>
                        <a:pt x="136" y="32"/>
                      </a:moveTo>
                      <a:cubicBezTo>
                        <a:pt x="136" y="34"/>
                        <a:pt x="138" y="36"/>
                        <a:pt x="140" y="36"/>
                      </a:cubicBezTo>
                      <a:cubicBezTo>
                        <a:pt x="164" y="36"/>
                        <a:pt x="164" y="36"/>
                        <a:pt x="164" y="36"/>
                      </a:cubicBezTo>
                      <a:cubicBezTo>
                        <a:pt x="166" y="36"/>
                        <a:pt x="168" y="34"/>
                        <a:pt x="168" y="32"/>
                      </a:cubicBezTo>
                      <a:cubicBezTo>
                        <a:pt x="168" y="30"/>
                        <a:pt x="166" y="28"/>
                        <a:pt x="164" y="28"/>
                      </a:cubicBezTo>
                      <a:cubicBezTo>
                        <a:pt x="140" y="28"/>
                        <a:pt x="140" y="28"/>
                        <a:pt x="140" y="28"/>
                      </a:cubicBezTo>
                      <a:cubicBezTo>
                        <a:pt x="138" y="28"/>
                        <a:pt x="136" y="30"/>
                        <a:pt x="136" y="32"/>
                      </a:cubicBezTo>
                      <a:close/>
                      <a:moveTo>
                        <a:pt x="176" y="104"/>
                      </a:moveTo>
                      <a:cubicBezTo>
                        <a:pt x="176" y="152"/>
                        <a:pt x="176" y="152"/>
                        <a:pt x="176" y="152"/>
                      </a:cubicBezTo>
                      <a:cubicBezTo>
                        <a:pt x="176" y="157"/>
                        <a:pt x="172" y="160"/>
                        <a:pt x="168" y="160"/>
                      </a:cubicBezTo>
                      <a:cubicBezTo>
                        <a:pt x="136" y="160"/>
                        <a:pt x="136" y="160"/>
                        <a:pt x="136" y="160"/>
                      </a:cubicBezTo>
                      <a:cubicBezTo>
                        <a:pt x="132" y="160"/>
                        <a:pt x="128" y="157"/>
                        <a:pt x="128" y="152"/>
                      </a:cubicBezTo>
                      <a:cubicBezTo>
                        <a:pt x="128" y="104"/>
                        <a:pt x="128" y="104"/>
                        <a:pt x="128" y="104"/>
                      </a:cubicBezTo>
                      <a:lnTo>
                        <a:pt x="176" y="104"/>
                      </a:lnTo>
                      <a:close/>
                      <a:moveTo>
                        <a:pt x="168" y="112"/>
                      </a:moveTo>
                      <a:cubicBezTo>
                        <a:pt x="160" y="112"/>
                        <a:pt x="160" y="112"/>
                        <a:pt x="160" y="112"/>
                      </a:cubicBezTo>
                      <a:cubicBezTo>
                        <a:pt x="160" y="116"/>
                        <a:pt x="160" y="116"/>
                        <a:pt x="160" y="116"/>
                      </a:cubicBezTo>
                      <a:cubicBezTo>
                        <a:pt x="168" y="116"/>
                        <a:pt x="168" y="116"/>
                        <a:pt x="168" y="116"/>
                      </a:cubicBezTo>
                      <a:lnTo>
                        <a:pt x="168" y="112"/>
                      </a:lnTo>
                      <a:close/>
                      <a:moveTo>
                        <a:pt x="48" y="120"/>
                      </a:moveTo>
                      <a:cubicBezTo>
                        <a:pt x="48" y="128"/>
                        <a:pt x="48" y="128"/>
                        <a:pt x="48" y="128"/>
                      </a:cubicBezTo>
                      <a:cubicBezTo>
                        <a:pt x="48" y="135"/>
                        <a:pt x="53" y="140"/>
                        <a:pt x="60" y="140"/>
                      </a:cubicBezTo>
                      <a:cubicBezTo>
                        <a:pt x="67" y="140"/>
                        <a:pt x="72" y="135"/>
                        <a:pt x="72" y="128"/>
                      </a:cubicBezTo>
                      <a:cubicBezTo>
                        <a:pt x="72" y="120"/>
                        <a:pt x="72" y="120"/>
                        <a:pt x="72" y="120"/>
                      </a:cubicBezTo>
                      <a:lnTo>
                        <a:pt x="48" y="12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grpSp>
            <p:nvGrpSpPr>
              <p:cNvPr id="208" name="4 hexa">
                <a:extLst>
                  <a:ext uri="{FF2B5EF4-FFF2-40B4-BE49-F238E27FC236}">
                    <a16:creationId xmlns:a16="http://schemas.microsoft.com/office/drawing/2014/main" id="{268E7379-06A9-46A1-99C1-45F382B156A2}"/>
                  </a:ext>
                </a:extLst>
              </p:cNvPr>
              <p:cNvGrpSpPr/>
              <p:nvPr/>
            </p:nvGrpSpPr>
            <p:grpSpPr>
              <a:xfrm>
                <a:off x="756910" y="343718"/>
                <a:ext cx="170993" cy="147408"/>
                <a:chOff x="3011291" y="2438869"/>
                <a:chExt cx="693176" cy="597566"/>
              </a:xfrm>
            </p:grpSpPr>
            <p:sp>
              <p:nvSpPr>
                <p:cNvPr id="275" name="Hexagon 274">
                  <a:extLst>
                    <a:ext uri="{FF2B5EF4-FFF2-40B4-BE49-F238E27FC236}">
                      <a16:creationId xmlns:a16="http://schemas.microsoft.com/office/drawing/2014/main" id="{DF1207BF-DFC5-4911-822D-6280D39BDFF9}"/>
                    </a:ext>
                  </a:extLst>
                </p:cNvPr>
                <p:cNvSpPr/>
                <p:nvPr/>
              </p:nvSpPr>
              <p:spPr>
                <a:xfrm>
                  <a:off x="3011291" y="2438869"/>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76" name="Freeform 54">
                  <a:extLst>
                    <a:ext uri="{FF2B5EF4-FFF2-40B4-BE49-F238E27FC236}">
                      <a16:creationId xmlns:a16="http://schemas.microsoft.com/office/drawing/2014/main" id="{3FDC651B-7475-4D64-8A48-4BE2236BF6EC}"/>
                    </a:ext>
                  </a:extLst>
                </p:cNvPr>
                <p:cNvSpPr>
                  <a:spLocks noChangeAspect="1" noEditPoints="1"/>
                </p:cNvSpPr>
                <p:nvPr/>
              </p:nvSpPr>
              <p:spPr bwMode="blackGray">
                <a:xfrm>
                  <a:off x="3168762" y="2547109"/>
                  <a:ext cx="358294" cy="358252"/>
                </a:xfrm>
                <a:custGeom>
                  <a:avLst/>
                  <a:gdLst>
                    <a:gd name="T0" fmla="*/ 2147483647 w 5058"/>
                    <a:gd name="T1" fmla="*/ 2147483647 h 4763"/>
                    <a:gd name="T2" fmla="*/ 2147483647 w 5058"/>
                    <a:gd name="T3" fmla="*/ 2147483647 h 4763"/>
                    <a:gd name="T4" fmla="*/ 2147483647 w 5058"/>
                    <a:gd name="T5" fmla="*/ 2147483647 h 4763"/>
                    <a:gd name="T6" fmla="*/ 2147483647 w 5058"/>
                    <a:gd name="T7" fmla="*/ 2147483647 h 4763"/>
                    <a:gd name="T8" fmla="*/ 2147483647 w 5058"/>
                    <a:gd name="T9" fmla="*/ 2147483647 h 4763"/>
                    <a:gd name="T10" fmla="*/ 2147483647 w 5058"/>
                    <a:gd name="T11" fmla="*/ 2147483647 h 4763"/>
                    <a:gd name="T12" fmla="*/ 2147483647 w 5058"/>
                    <a:gd name="T13" fmla="*/ 2147483647 h 4763"/>
                    <a:gd name="T14" fmla="*/ 2147483647 w 5058"/>
                    <a:gd name="T15" fmla="*/ 2147483647 h 4763"/>
                    <a:gd name="T16" fmla="*/ 2147483647 w 5058"/>
                    <a:gd name="T17" fmla="*/ 2147483647 h 4763"/>
                    <a:gd name="T18" fmla="*/ 2147483647 w 5058"/>
                    <a:gd name="T19" fmla="*/ 2147483647 h 4763"/>
                    <a:gd name="T20" fmla="*/ 2147483647 w 5058"/>
                    <a:gd name="T21" fmla="*/ 2147483647 h 4763"/>
                    <a:gd name="T22" fmla="*/ 2147483647 w 5058"/>
                    <a:gd name="T23" fmla="*/ 2147483647 h 4763"/>
                    <a:gd name="T24" fmla="*/ 2147483647 w 5058"/>
                    <a:gd name="T25" fmla="*/ 2147483647 h 4763"/>
                    <a:gd name="T26" fmla="*/ 2147483647 w 5058"/>
                    <a:gd name="T27" fmla="*/ 2147483647 h 4763"/>
                    <a:gd name="T28" fmla="*/ 2147483647 w 5058"/>
                    <a:gd name="T29" fmla="*/ 2147483647 h 4763"/>
                    <a:gd name="T30" fmla="*/ 2147483647 w 5058"/>
                    <a:gd name="T31" fmla="*/ 2147483647 h 4763"/>
                    <a:gd name="T32" fmla="*/ 2147483647 w 5058"/>
                    <a:gd name="T33" fmla="*/ 2147483647 h 4763"/>
                    <a:gd name="T34" fmla="*/ 2147483647 w 5058"/>
                    <a:gd name="T35" fmla="*/ 2147483647 h 4763"/>
                    <a:gd name="T36" fmla="*/ 2147483647 w 5058"/>
                    <a:gd name="T37" fmla="*/ 2147483647 h 4763"/>
                    <a:gd name="T38" fmla="*/ 2147483647 w 5058"/>
                    <a:gd name="T39" fmla="*/ 2147483647 h 4763"/>
                    <a:gd name="T40" fmla="*/ 2147483647 w 5058"/>
                    <a:gd name="T41" fmla="*/ 2147483647 h 4763"/>
                    <a:gd name="T42" fmla="*/ 2147483647 w 5058"/>
                    <a:gd name="T43" fmla="*/ 2147483647 h 4763"/>
                    <a:gd name="T44" fmla="*/ 2147483647 w 5058"/>
                    <a:gd name="T45" fmla="*/ 2147483647 h 4763"/>
                    <a:gd name="T46" fmla="*/ 2147483647 w 5058"/>
                    <a:gd name="T47" fmla="*/ 2147483647 h 4763"/>
                    <a:gd name="T48" fmla="*/ 2147483647 w 5058"/>
                    <a:gd name="T49" fmla="*/ 2147483647 h 4763"/>
                    <a:gd name="T50" fmla="*/ 2147483647 w 5058"/>
                    <a:gd name="T51" fmla="*/ 2147483647 h 4763"/>
                    <a:gd name="T52" fmla="*/ 2147483647 w 5058"/>
                    <a:gd name="T53" fmla="*/ 2147483647 h 4763"/>
                    <a:gd name="T54" fmla="*/ 2147483647 w 5058"/>
                    <a:gd name="T55" fmla="*/ 2147483647 h 4763"/>
                    <a:gd name="T56" fmla="*/ 2147483647 w 5058"/>
                    <a:gd name="T57" fmla="*/ 2147483647 h 4763"/>
                    <a:gd name="T58" fmla="*/ 2147483647 w 5058"/>
                    <a:gd name="T59" fmla="*/ 2147483647 h 4763"/>
                    <a:gd name="T60" fmla="*/ 2147483647 w 5058"/>
                    <a:gd name="T61" fmla="*/ 2147483647 h 4763"/>
                    <a:gd name="T62" fmla="*/ 2147483647 w 5058"/>
                    <a:gd name="T63" fmla="*/ 2147483647 h 4763"/>
                    <a:gd name="T64" fmla="*/ 2147483647 w 5058"/>
                    <a:gd name="T65" fmla="*/ 2147483647 h 4763"/>
                    <a:gd name="T66" fmla="*/ 2147483647 w 5058"/>
                    <a:gd name="T67" fmla="*/ 2147483647 h 4763"/>
                    <a:gd name="T68" fmla="*/ 2147483647 w 5058"/>
                    <a:gd name="T69" fmla="*/ 2147483647 h 4763"/>
                    <a:gd name="T70" fmla="*/ 2147483647 w 5058"/>
                    <a:gd name="T71" fmla="*/ 2147483647 h 4763"/>
                    <a:gd name="T72" fmla="*/ 2147483647 w 5058"/>
                    <a:gd name="T73" fmla="*/ 2147483647 h 4763"/>
                    <a:gd name="T74" fmla="*/ 2147483647 w 5058"/>
                    <a:gd name="T75" fmla="*/ 2147483647 h 4763"/>
                    <a:gd name="T76" fmla="*/ 2147483647 w 5058"/>
                    <a:gd name="T77" fmla="*/ 2147483647 h 4763"/>
                    <a:gd name="T78" fmla="*/ 2147483647 w 5058"/>
                    <a:gd name="T79" fmla="*/ 2147483647 h 4763"/>
                    <a:gd name="T80" fmla="*/ 2147483647 w 5058"/>
                    <a:gd name="T81" fmla="*/ 2147483647 h 4763"/>
                    <a:gd name="T82" fmla="*/ 2147483647 w 5058"/>
                    <a:gd name="T83" fmla="*/ 2147483647 h 4763"/>
                    <a:gd name="T84" fmla="*/ 2147483647 w 5058"/>
                    <a:gd name="T85" fmla="*/ 2147483647 h 4763"/>
                    <a:gd name="T86" fmla="*/ 2147483647 w 5058"/>
                    <a:gd name="T87" fmla="*/ 2147483647 h 4763"/>
                    <a:gd name="T88" fmla="*/ 2147483647 w 5058"/>
                    <a:gd name="T89" fmla="*/ 2147483647 h 4763"/>
                    <a:gd name="T90" fmla="*/ 2147483647 w 5058"/>
                    <a:gd name="T91" fmla="*/ 2147483647 h 4763"/>
                    <a:gd name="T92" fmla="*/ 2147483647 w 5058"/>
                    <a:gd name="T93" fmla="*/ 2147483647 h 4763"/>
                    <a:gd name="T94" fmla="*/ 2147483647 w 5058"/>
                    <a:gd name="T95" fmla="*/ 2147483647 h 4763"/>
                    <a:gd name="T96" fmla="*/ 2147483647 w 5058"/>
                    <a:gd name="T97" fmla="*/ 2147483647 h 4763"/>
                    <a:gd name="T98" fmla="*/ 2147483647 w 5058"/>
                    <a:gd name="T99" fmla="*/ 2147483647 h 4763"/>
                    <a:gd name="T100" fmla="*/ 2147483647 w 5058"/>
                    <a:gd name="T101" fmla="*/ 2147483647 h 4763"/>
                    <a:gd name="T102" fmla="*/ 2147483647 w 5058"/>
                    <a:gd name="T103" fmla="*/ 2147483647 h 4763"/>
                    <a:gd name="T104" fmla="*/ 2147483647 w 5058"/>
                    <a:gd name="T105" fmla="*/ 2147483647 h 4763"/>
                    <a:gd name="T106" fmla="*/ 2147483647 w 5058"/>
                    <a:gd name="T107" fmla="*/ 2147483647 h 4763"/>
                    <a:gd name="T108" fmla="*/ 2147483647 w 5058"/>
                    <a:gd name="T109" fmla="*/ 2147483647 h 4763"/>
                    <a:gd name="T110" fmla="*/ 2147483647 w 5058"/>
                    <a:gd name="T111" fmla="*/ 2147483647 h 4763"/>
                    <a:gd name="T112" fmla="*/ 2147483647 w 5058"/>
                    <a:gd name="T113" fmla="*/ 2147483647 h 4763"/>
                    <a:gd name="T114" fmla="*/ 2147483647 w 5058"/>
                    <a:gd name="T115" fmla="*/ 2147483647 h 4763"/>
                    <a:gd name="T116" fmla="*/ 2147483647 w 5058"/>
                    <a:gd name="T117" fmla="*/ 2147483647 h 4763"/>
                    <a:gd name="T118" fmla="*/ 2147483647 w 5058"/>
                    <a:gd name="T119" fmla="*/ 2147483647 h 4763"/>
                    <a:gd name="T120" fmla="*/ 2147483647 w 5058"/>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58"/>
                    <a:gd name="T184" fmla="*/ 0 h 4763"/>
                    <a:gd name="T185" fmla="*/ 5058 w 5058"/>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58" h="4763">
                      <a:moveTo>
                        <a:pt x="3102" y="3207"/>
                      </a:moveTo>
                      <a:lnTo>
                        <a:pt x="2609" y="2529"/>
                      </a:lnTo>
                      <a:lnTo>
                        <a:pt x="3365" y="2284"/>
                      </a:lnTo>
                      <a:lnTo>
                        <a:pt x="3365" y="2176"/>
                      </a:lnTo>
                      <a:lnTo>
                        <a:pt x="2580" y="2430"/>
                      </a:lnTo>
                      <a:lnTo>
                        <a:pt x="2580" y="1604"/>
                      </a:lnTo>
                      <a:lnTo>
                        <a:pt x="2477" y="1604"/>
                      </a:lnTo>
                      <a:lnTo>
                        <a:pt x="2477" y="2430"/>
                      </a:lnTo>
                      <a:lnTo>
                        <a:pt x="1692" y="2176"/>
                      </a:lnTo>
                      <a:lnTo>
                        <a:pt x="1692" y="2284"/>
                      </a:lnTo>
                      <a:lnTo>
                        <a:pt x="2447" y="2529"/>
                      </a:lnTo>
                      <a:lnTo>
                        <a:pt x="1954" y="3207"/>
                      </a:lnTo>
                      <a:lnTo>
                        <a:pt x="2082" y="3207"/>
                      </a:lnTo>
                      <a:lnTo>
                        <a:pt x="2528" y="2593"/>
                      </a:lnTo>
                      <a:lnTo>
                        <a:pt x="2975" y="3207"/>
                      </a:lnTo>
                      <a:lnTo>
                        <a:pt x="3102" y="3207"/>
                      </a:lnTo>
                      <a:close/>
                      <a:moveTo>
                        <a:pt x="789" y="1778"/>
                      </a:moveTo>
                      <a:lnTo>
                        <a:pt x="288" y="2277"/>
                      </a:lnTo>
                      <a:lnTo>
                        <a:pt x="324" y="2315"/>
                      </a:lnTo>
                      <a:lnTo>
                        <a:pt x="825" y="1814"/>
                      </a:lnTo>
                      <a:lnTo>
                        <a:pt x="789" y="1778"/>
                      </a:lnTo>
                      <a:close/>
                      <a:moveTo>
                        <a:pt x="775" y="2448"/>
                      </a:moveTo>
                      <a:lnTo>
                        <a:pt x="775" y="2448"/>
                      </a:lnTo>
                      <a:lnTo>
                        <a:pt x="767" y="2450"/>
                      </a:lnTo>
                      <a:lnTo>
                        <a:pt x="760" y="2451"/>
                      </a:lnTo>
                      <a:lnTo>
                        <a:pt x="754" y="2455"/>
                      </a:lnTo>
                      <a:lnTo>
                        <a:pt x="749" y="2459"/>
                      </a:lnTo>
                      <a:lnTo>
                        <a:pt x="745" y="2464"/>
                      </a:lnTo>
                      <a:lnTo>
                        <a:pt x="741" y="2470"/>
                      </a:lnTo>
                      <a:lnTo>
                        <a:pt x="740" y="2477"/>
                      </a:lnTo>
                      <a:lnTo>
                        <a:pt x="739" y="2484"/>
                      </a:lnTo>
                      <a:lnTo>
                        <a:pt x="740" y="2492"/>
                      </a:lnTo>
                      <a:lnTo>
                        <a:pt x="741" y="2499"/>
                      </a:lnTo>
                      <a:lnTo>
                        <a:pt x="745" y="2505"/>
                      </a:lnTo>
                      <a:lnTo>
                        <a:pt x="749" y="2510"/>
                      </a:lnTo>
                      <a:lnTo>
                        <a:pt x="754" y="2514"/>
                      </a:lnTo>
                      <a:lnTo>
                        <a:pt x="760" y="2518"/>
                      </a:lnTo>
                      <a:lnTo>
                        <a:pt x="767" y="2519"/>
                      </a:lnTo>
                      <a:lnTo>
                        <a:pt x="775" y="2520"/>
                      </a:lnTo>
                      <a:lnTo>
                        <a:pt x="782" y="2519"/>
                      </a:lnTo>
                      <a:lnTo>
                        <a:pt x="789" y="2518"/>
                      </a:lnTo>
                      <a:lnTo>
                        <a:pt x="795" y="2514"/>
                      </a:lnTo>
                      <a:lnTo>
                        <a:pt x="800" y="2510"/>
                      </a:lnTo>
                      <a:lnTo>
                        <a:pt x="804" y="2505"/>
                      </a:lnTo>
                      <a:lnTo>
                        <a:pt x="808" y="2499"/>
                      </a:lnTo>
                      <a:lnTo>
                        <a:pt x="809" y="2492"/>
                      </a:lnTo>
                      <a:lnTo>
                        <a:pt x="811" y="2484"/>
                      </a:lnTo>
                      <a:lnTo>
                        <a:pt x="809" y="2477"/>
                      </a:lnTo>
                      <a:lnTo>
                        <a:pt x="808" y="2470"/>
                      </a:lnTo>
                      <a:lnTo>
                        <a:pt x="804" y="2464"/>
                      </a:lnTo>
                      <a:lnTo>
                        <a:pt x="800" y="2459"/>
                      </a:lnTo>
                      <a:lnTo>
                        <a:pt x="795" y="2455"/>
                      </a:lnTo>
                      <a:lnTo>
                        <a:pt x="789" y="2451"/>
                      </a:lnTo>
                      <a:lnTo>
                        <a:pt x="782" y="2450"/>
                      </a:lnTo>
                      <a:lnTo>
                        <a:pt x="775" y="2448"/>
                      </a:lnTo>
                      <a:close/>
                      <a:moveTo>
                        <a:pt x="1329" y="2371"/>
                      </a:moveTo>
                      <a:lnTo>
                        <a:pt x="220" y="2371"/>
                      </a:lnTo>
                      <a:lnTo>
                        <a:pt x="220" y="1725"/>
                      </a:lnTo>
                      <a:lnTo>
                        <a:pt x="1226" y="1725"/>
                      </a:lnTo>
                      <a:lnTo>
                        <a:pt x="1226" y="1674"/>
                      </a:lnTo>
                      <a:lnTo>
                        <a:pt x="169" y="1674"/>
                      </a:lnTo>
                      <a:lnTo>
                        <a:pt x="169" y="2423"/>
                      </a:lnTo>
                      <a:lnTo>
                        <a:pt x="1381" y="2423"/>
                      </a:lnTo>
                      <a:lnTo>
                        <a:pt x="1381" y="1674"/>
                      </a:lnTo>
                      <a:lnTo>
                        <a:pt x="1329" y="1674"/>
                      </a:lnTo>
                      <a:lnTo>
                        <a:pt x="1329" y="2371"/>
                      </a:lnTo>
                      <a:close/>
                      <a:moveTo>
                        <a:pt x="1126" y="2797"/>
                      </a:moveTo>
                      <a:lnTo>
                        <a:pt x="1004" y="2708"/>
                      </a:lnTo>
                      <a:lnTo>
                        <a:pt x="1004" y="2661"/>
                      </a:lnTo>
                      <a:lnTo>
                        <a:pt x="1499" y="2661"/>
                      </a:lnTo>
                      <a:lnTo>
                        <a:pt x="1508" y="2659"/>
                      </a:lnTo>
                      <a:lnTo>
                        <a:pt x="1518" y="2657"/>
                      </a:lnTo>
                      <a:lnTo>
                        <a:pt x="1527" y="2652"/>
                      </a:lnTo>
                      <a:lnTo>
                        <a:pt x="1535" y="2645"/>
                      </a:lnTo>
                      <a:lnTo>
                        <a:pt x="1541" y="2638"/>
                      </a:lnTo>
                      <a:lnTo>
                        <a:pt x="1545" y="2629"/>
                      </a:lnTo>
                      <a:lnTo>
                        <a:pt x="1549" y="2620"/>
                      </a:lnTo>
                      <a:lnTo>
                        <a:pt x="1550" y="2609"/>
                      </a:lnTo>
                      <a:lnTo>
                        <a:pt x="1550" y="1552"/>
                      </a:lnTo>
                      <a:lnTo>
                        <a:pt x="1549" y="1541"/>
                      </a:lnTo>
                      <a:lnTo>
                        <a:pt x="1545" y="1531"/>
                      </a:lnTo>
                      <a:lnTo>
                        <a:pt x="1541" y="1523"/>
                      </a:lnTo>
                      <a:lnTo>
                        <a:pt x="1535" y="1516"/>
                      </a:lnTo>
                      <a:lnTo>
                        <a:pt x="1527" y="1509"/>
                      </a:lnTo>
                      <a:lnTo>
                        <a:pt x="1518" y="1504"/>
                      </a:lnTo>
                      <a:lnTo>
                        <a:pt x="1508" y="1501"/>
                      </a:lnTo>
                      <a:lnTo>
                        <a:pt x="1499" y="1500"/>
                      </a:lnTo>
                      <a:lnTo>
                        <a:pt x="51" y="1500"/>
                      </a:lnTo>
                      <a:lnTo>
                        <a:pt x="41" y="1501"/>
                      </a:lnTo>
                      <a:lnTo>
                        <a:pt x="31" y="1504"/>
                      </a:lnTo>
                      <a:lnTo>
                        <a:pt x="23" y="1509"/>
                      </a:lnTo>
                      <a:lnTo>
                        <a:pt x="15" y="1516"/>
                      </a:lnTo>
                      <a:lnTo>
                        <a:pt x="9" y="1523"/>
                      </a:lnTo>
                      <a:lnTo>
                        <a:pt x="4" y="1531"/>
                      </a:lnTo>
                      <a:lnTo>
                        <a:pt x="0" y="1541"/>
                      </a:lnTo>
                      <a:lnTo>
                        <a:pt x="0" y="1552"/>
                      </a:lnTo>
                      <a:lnTo>
                        <a:pt x="0" y="2609"/>
                      </a:lnTo>
                      <a:lnTo>
                        <a:pt x="0" y="2620"/>
                      </a:lnTo>
                      <a:lnTo>
                        <a:pt x="4" y="2629"/>
                      </a:lnTo>
                      <a:lnTo>
                        <a:pt x="9" y="2638"/>
                      </a:lnTo>
                      <a:lnTo>
                        <a:pt x="15" y="2645"/>
                      </a:lnTo>
                      <a:lnTo>
                        <a:pt x="23" y="2652"/>
                      </a:lnTo>
                      <a:lnTo>
                        <a:pt x="31" y="2657"/>
                      </a:lnTo>
                      <a:lnTo>
                        <a:pt x="41" y="2659"/>
                      </a:lnTo>
                      <a:lnTo>
                        <a:pt x="51" y="2661"/>
                      </a:lnTo>
                      <a:lnTo>
                        <a:pt x="546" y="2661"/>
                      </a:lnTo>
                      <a:lnTo>
                        <a:pt x="546" y="2708"/>
                      </a:lnTo>
                      <a:lnTo>
                        <a:pt x="423" y="2797"/>
                      </a:lnTo>
                      <a:lnTo>
                        <a:pt x="416" y="2804"/>
                      </a:lnTo>
                      <a:lnTo>
                        <a:pt x="409" y="2810"/>
                      </a:lnTo>
                      <a:lnTo>
                        <a:pt x="404" y="2818"/>
                      </a:lnTo>
                      <a:lnTo>
                        <a:pt x="400" y="2825"/>
                      </a:lnTo>
                      <a:lnTo>
                        <a:pt x="398" y="2833"/>
                      </a:lnTo>
                      <a:lnTo>
                        <a:pt x="396" y="2841"/>
                      </a:lnTo>
                      <a:lnTo>
                        <a:pt x="396" y="2849"/>
                      </a:lnTo>
                      <a:lnTo>
                        <a:pt x="398" y="2855"/>
                      </a:lnTo>
                      <a:lnTo>
                        <a:pt x="400" y="2863"/>
                      </a:lnTo>
                      <a:lnTo>
                        <a:pt x="404" y="2869"/>
                      </a:lnTo>
                      <a:lnTo>
                        <a:pt x="409" y="2874"/>
                      </a:lnTo>
                      <a:lnTo>
                        <a:pt x="416" y="2879"/>
                      </a:lnTo>
                      <a:lnTo>
                        <a:pt x="423" y="2883"/>
                      </a:lnTo>
                      <a:lnTo>
                        <a:pt x="432" y="2887"/>
                      </a:lnTo>
                      <a:lnTo>
                        <a:pt x="441" y="2888"/>
                      </a:lnTo>
                      <a:lnTo>
                        <a:pt x="453" y="2890"/>
                      </a:lnTo>
                      <a:lnTo>
                        <a:pt x="1096" y="2890"/>
                      </a:lnTo>
                      <a:lnTo>
                        <a:pt x="1108" y="2888"/>
                      </a:lnTo>
                      <a:lnTo>
                        <a:pt x="1118" y="2887"/>
                      </a:lnTo>
                      <a:lnTo>
                        <a:pt x="1126" y="2883"/>
                      </a:lnTo>
                      <a:lnTo>
                        <a:pt x="1134" y="2879"/>
                      </a:lnTo>
                      <a:lnTo>
                        <a:pt x="1140" y="2874"/>
                      </a:lnTo>
                      <a:lnTo>
                        <a:pt x="1145" y="2869"/>
                      </a:lnTo>
                      <a:lnTo>
                        <a:pt x="1149" y="2863"/>
                      </a:lnTo>
                      <a:lnTo>
                        <a:pt x="1152" y="2855"/>
                      </a:lnTo>
                      <a:lnTo>
                        <a:pt x="1153" y="2849"/>
                      </a:lnTo>
                      <a:lnTo>
                        <a:pt x="1153" y="2841"/>
                      </a:lnTo>
                      <a:lnTo>
                        <a:pt x="1152" y="2833"/>
                      </a:lnTo>
                      <a:lnTo>
                        <a:pt x="1149" y="2825"/>
                      </a:lnTo>
                      <a:lnTo>
                        <a:pt x="1145" y="2818"/>
                      </a:lnTo>
                      <a:lnTo>
                        <a:pt x="1140" y="2810"/>
                      </a:lnTo>
                      <a:lnTo>
                        <a:pt x="1134" y="2804"/>
                      </a:lnTo>
                      <a:lnTo>
                        <a:pt x="1126" y="2797"/>
                      </a:lnTo>
                      <a:close/>
                      <a:moveTo>
                        <a:pt x="103" y="2558"/>
                      </a:moveTo>
                      <a:lnTo>
                        <a:pt x="103" y="1603"/>
                      </a:lnTo>
                      <a:lnTo>
                        <a:pt x="1448" y="1603"/>
                      </a:lnTo>
                      <a:lnTo>
                        <a:pt x="1448" y="2558"/>
                      </a:lnTo>
                      <a:lnTo>
                        <a:pt x="103" y="2558"/>
                      </a:lnTo>
                      <a:close/>
                      <a:moveTo>
                        <a:pt x="605" y="2787"/>
                      </a:moveTo>
                      <a:lnTo>
                        <a:pt x="621" y="2774"/>
                      </a:lnTo>
                      <a:lnTo>
                        <a:pt x="632" y="2764"/>
                      </a:lnTo>
                      <a:lnTo>
                        <a:pt x="636" y="2758"/>
                      </a:lnTo>
                      <a:lnTo>
                        <a:pt x="641" y="2752"/>
                      </a:lnTo>
                      <a:lnTo>
                        <a:pt x="643" y="2744"/>
                      </a:lnTo>
                      <a:lnTo>
                        <a:pt x="646" y="2735"/>
                      </a:lnTo>
                      <a:lnTo>
                        <a:pt x="647" y="2725"/>
                      </a:lnTo>
                      <a:lnTo>
                        <a:pt x="648" y="2713"/>
                      </a:lnTo>
                      <a:lnTo>
                        <a:pt x="648" y="2609"/>
                      </a:lnTo>
                      <a:lnTo>
                        <a:pt x="901" y="2609"/>
                      </a:lnTo>
                      <a:lnTo>
                        <a:pt x="901" y="2713"/>
                      </a:lnTo>
                      <a:lnTo>
                        <a:pt x="902" y="2725"/>
                      </a:lnTo>
                      <a:lnTo>
                        <a:pt x="903" y="2735"/>
                      </a:lnTo>
                      <a:lnTo>
                        <a:pt x="906" y="2744"/>
                      </a:lnTo>
                      <a:lnTo>
                        <a:pt x="908" y="2752"/>
                      </a:lnTo>
                      <a:lnTo>
                        <a:pt x="914" y="2758"/>
                      </a:lnTo>
                      <a:lnTo>
                        <a:pt x="917" y="2764"/>
                      </a:lnTo>
                      <a:lnTo>
                        <a:pt x="928" y="2774"/>
                      </a:lnTo>
                      <a:lnTo>
                        <a:pt x="944" y="2787"/>
                      </a:lnTo>
                      <a:lnTo>
                        <a:pt x="605" y="2787"/>
                      </a:lnTo>
                      <a:close/>
                      <a:moveTo>
                        <a:pt x="497" y="2318"/>
                      </a:moveTo>
                      <a:lnTo>
                        <a:pt x="715" y="2100"/>
                      </a:lnTo>
                      <a:lnTo>
                        <a:pt x="678" y="2062"/>
                      </a:lnTo>
                      <a:lnTo>
                        <a:pt x="459" y="2281"/>
                      </a:lnTo>
                      <a:lnTo>
                        <a:pt x="497" y="2318"/>
                      </a:lnTo>
                      <a:close/>
                      <a:moveTo>
                        <a:pt x="1570" y="4322"/>
                      </a:moveTo>
                      <a:lnTo>
                        <a:pt x="1570" y="4322"/>
                      </a:lnTo>
                      <a:lnTo>
                        <a:pt x="1563" y="4323"/>
                      </a:lnTo>
                      <a:lnTo>
                        <a:pt x="1556" y="4326"/>
                      </a:lnTo>
                      <a:lnTo>
                        <a:pt x="1550" y="4328"/>
                      </a:lnTo>
                      <a:lnTo>
                        <a:pt x="1544" y="4333"/>
                      </a:lnTo>
                      <a:lnTo>
                        <a:pt x="1540" y="4338"/>
                      </a:lnTo>
                      <a:lnTo>
                        <a:pt x="1536" y="4344"/>
                      </a:lnTo>
                      <a:lnTo>
                        <a:pt x="1535" y="4351"/>
                      </a:lnTo>
                      <a:lnTo>
                        <a:pt x="1534" y="4358"/>
                      </a:lnTo>
                      <a:lnTo>
                        <a:pt x="1535" y="4365"/>
                      </a:lnTo>
                      <a:lnTo>
                        <a:pt x="1536" y="4372"/>
                      </a:lnTo>
                      <a:lnTo>
                        <a:pt x="1540" y="4378"/>
                      </a:lnTo>
                      <a:lnTo>
                        <a:pt x="1544" y="4383"/>
                      </a:lnTo>
                      <a:lnTo>
                        <a:pt x="1550" y="4387"/>
                      </a:lnTo>
                      <a:lnTo>
                        <a:pt x="1556" y="4391"/>
                      </a:lnTo>
                      <a:lnTo>
                        <a:pt x="1563" y="4394"/>
                      </a:lnTo>
                      <a:lnTo>
                        <a:pt x="1570" y="4394"/>
                      </a:lnTo>
                      <a:lnTo>
                        <a:pt x="1577" y="4394"/>
                      </a:lnTo>
                      <a:lnTo>
                        <a:pt x="1584" y="4391"/>
                      </a:lnTo>
                      <a:lnTo>
                        <a:pt x="1590" y="4387"/>
                      </a:lnTo>
                      <a:lnTo>
                        <a:pt x="1596" y="4383"/>
                      </a:lnTo>
                      <a:lnTo>
                        <a:pt x="1599" y="4378"/>
                      </a:lnTo>
                      <a:lnTo>
                        <a:pt x="1603" y="4372"/>
                      </a:lnTo>
                      <a:lnTo>
                        <a:pt x="1606" y="4365"/>
                      </a:lnTo>
                      <a:lnTo>
                        <a:pt x="1606" y="4358"/>
                      </a:lnTo>
                      <a:lnTo>
                        <a:pt x="1606" y="4351"/>
                      </a:lnTo>
                      <a:lnTo>
                        <a:pt x="1603" y="4344"/>
                      </a:lnTo>
                      <a:lnTo>
                        <a:pt x="1599" y="4338"/>
                      </a:lnTo>
                      <a:lnTo>
                        <a:pt x="1596" y="4333"/>
                      </a:lnTo>
                      <a:lnTo>
                        <a:pt x="1590" y="4328"/>
                      </a:lnTo>
                      <a:lnTo>
                        <a:pt x="1584" y="4326"/>
                      </a:lnTo>
                      <a:lnTo>
                        <a:pt x="1577" y="4323"/>
                      </a:lnTo>
                      <a:lnTo>
                        <a:pt x="1570" y="4322"/>
                      </a:lnTo>
                      <a:close/>
                      <a:moveTo>
                        <a:pt x="2176" y="3547"/>
                      </a:moveTo>
                      <a:lnTo>
                        <a:pt x="2124" y="3547"/>
                      </a:lnTo>
                      <a:lnTo>
                        <a:pt x="2124" y="4244"/>
                      </a:lnTo>
                      <a:lnTo>
                        <a:pt x="1015" y="4244"/>
                      </a:lnTo>
                      <a:lnTo>
                        <a:pt x="1015" y="3599"/>
                      </a:lnTo>
                      <a:lnTo>
                        <a:pt x="2021" y="3599"/>
                      </a:lnTo>
                      <a:lnTo>
                        <a:pt x="2021" y="3547"/>
                      </a:lnTo>
                      <a:lnTo>
                        <a:pt x="964" y="3547"/>
                      </a:lnTo>
                      <a:lnTo>
                        <a:pt x="964" y="4296"/>
                      </a:lnTo>
                      <a:lnTo>
                        <a:pt x="2176" y="4296"/>
                      </a:lnTo>
                      <a:lnTo>
                        <a:pt x="2176" y="3547"/>
                      </a:lnTo>
                      <a:close/>
                      <a:moveTo>
                        <a:pt x="2294" y="3373"/>
                      </a:moveTo>
                      <a:lnTo>
                        <a:pt x="847" y="3373"/>
                      </a:lnTo>
                      <a:lnTo>
                        <a:pt x="836" y="3375"/>
                      </a:lnTo>
                      <a:lnTo>
                        <a:pt x="826" y="3377"/>
                      </a:lnTo>
                      <a:lnTo>
                        <a:pt x="818" y="3382"/>
                      </a:lnTo>
                      <a:lnTo>
                        <a:pt x="811" y="3389"/>
                      </a:lnTo>
                      <a:lnTo>
                        <a:pt x="804" y="3397"/>
                      </a:lnTo>
                      <a:lnTo>
                        <a:pt x="799" y="3406"/>
                      </a:lnTo>
                      <a:lnTo>
                        <a:pt x="796" y="3415"/>
                      </a:lnTo>
                      <a:lnTo>
                        <a:pt x="795" y="3425"/>
                      </a:lnTo>
                      <a:lnTo>
                        <a:pt x="795" y="4484"/>
                      </a:lnTo>
                      <a:lnTo>
                        <a:pt x="796" y="4493"/>
                      </a:lnTo>
                      <a:lnTo>
                        <a:pt x="799" y="4503"/>
                      </a:lnTo>
                      <a:lnTo>
                        <a:pt x="804" y="4512"/>
                      </a:lnTo>
                      <a:lnTo>
                        <a:pt x="811" y="4520"/>
                      </a:lnTo>
                      <a:lnTo>
                        <a:pt x="818" y="4526"/>
                      </a:lnTo>
                      <a:lnTo>
                        <a:pt x="826" y="4530"/>
                      </a:lnTo>
                      <a:lnTo>
                        <a:pt x="836" y="4534"/>
                      </a:lnTo>
                      <a:lnTo>
                        <a:pt x="847" y="4535"/>
                      </a:lnTo>
                      <a:lnTo>
                        <a:pt x="1341" y="4535"/>
                      </a:lnTo>
                      <a:lnTo>
                        <a:pt x="1341" y="4583"/>
                      </a:lnTo>
                      <a:lnTo>
                        <a:pt x="1220" y="4670"/>
                      </a:lnTo>
                      <a:lnTo>
                        <a:pt x="1212" y="4677"/>
                      </a:lnTo>
                      <a:lnTo>
                        <a:pt x="1206" y="4683"/>
                      </a:lnTo>
                      <a:lnTo>
                        <a:pt x="1200" y="4691"/>
                      </a:lnTo>
                      <a:lnTo>
                        <a:pt x="1195" y="4699"/>
                      </a:lnTo>
                      <a:lnTo>
                        <a:pt x="1193" y="4706"/>
                      </a:lnTo>
                      <a:lnTo>
                        <a:pt x="1191" y="4714"/>
                      </a:lnTo>
                      <a:lnTo>
                        <a:pt x="1191" y="4722"/>
                      </a:lnTo>
                      <a:lnTo>
                        <a:pt x="1193" y="4730"/>
                      </a:lnTo>
                      <a:lnTo>
                        <a:pt x="1195" y="4736"/>
                      </a:lnTo>
                      <a:lnTo>
                        <a:pt x="1199" y="4742"/>
                      </a:lnTo>
                      <a:lnTo>
                        <a:pt x="1204" y="4749"/>
                      </a:lnTo>
                      <a:lnTo>
                        <a:pt x="1211" y="4754"/>
                      </a:lnTo>
                      <a:lnTo>
                        <a:pt x="1219" y="4758"/>
                      </a:lnTo>
                      <a:lnTo>
                        <a:pt x="1228" y="4760"/>
                      </a:lnTo>
                      <a:lnTo>
                        <a:pt x="1238" y="4763"/>
                      </a:lnTo>
                      <a:lnTo>
                        <a:pt x="1249" y="4763"/>
                      </a:lnTo>
                      <a:lnTo>
                        <a:pt x="1891" y="4763"/>
                      </a:lnTo>
                      <a:lnTo>
                        <a:pt x="1903" y="4763"/>
                      </a:lnTo>
                      <a:lnTo>
                        <a:pt x="1913" y="4760"/>
                      </a:lnTo>
                      <a:lnTo>
                        <a:pt x="1922" y="4758"/>
                      </a:lnTo>
                      <a:lnTo>
                        <a:pt x="1929" y="4754"/>
                      </a:lnTo>
                      <a:lnTo>
                        <a:pt x="1935" y="4749"/>
                      </a:lnTo>
                      <a:lnTo>
                        <a:pt x="1940" y="4742"/>
                      </a:lnTo>
                      <a:lnTo>
                        <a:pt x="1944" y="4736"/>
                      </a:lnTo>
                      <a:lnTo>
                        <a:pt x="1947" y="4730"/>
                      </a:lnTo>
                      <a:lnTo>
                        <a:pt x="1948" y="4722"/>
                      </a:lnTo>
                      <a:lnTo>
                        <a:pt x="1948" y="4714"/>
                      </a:lnTo>
                      <a:lnTo>
                        <a:pt x="1947" y="4706"/>
                      </a:lnTo>
                      <a:lnTo>
                        <a:pt x="1944" y="4699"/>
                      </a:lnTo>
                      <a:lnTo>
                        <a:pt x="1940" y="4691"/>
                      </a:lnTo>
                      <a:lnTo>
                        <a:pt x="1935" y="4683"/>
                      </a:lnTo>
                      <a:lnTo>
                        <a:pt x="1929" y="4677"/>
                      </a:lnTo>
                      <a:lnTo>
                        <a:pt x="1921" y="4670"/>
                      </a:lnTo>
                      <a:lnTo>
                        <a:pt x="1800" y="4583"/>
                      </a:lnTo>
                      <a:lnTo>
                        <a:pt x="1800" y="4535"/>
                      </a:lnTo>
                      <a:lnTo>
                        <a:pt x="2294" y="4535"/>
                      </a:lnTo>
                      <a:lnTo>
                        <a:pt x="2304" y="4534"/>
                      </a:lnTo>
                      <a:lnTo>
                        <a:pt x="2313" y="4530"/>
                      </a:lnTo>
                      <a:lnTo>
                        <a:pt x="2322" y="4526"/>
                      </a:lnTo>
                      <a:lnTo>
                        <a:pt x="2330" y="4520"/>
                      </a:lnTo>
                      <a:lnTo>
                        <a:pt x="2337" y="4512"/>
                      </a:lnTo>
                      <a:lnTo>
                        <a:pt x="2340" y="4503"/>
                      </a:lnTo>
                      <a:lnTo>
                        <a:pt x="2344" y="4493"/>
                      </a:lnTo>
                      <a:lnTo>
                        <a:pt x="2346" y="4484"/>
                      </a:lnTo>
                      <a:lnTo>
                        <a:pt x="2346" y="3425"/>
                      </a:lnTo>
                      <a:lnTo>
                        <a:pt x="2344" y="3415"/>
                      </a:lnTo>
                      <a:lnTo>
                        <a:pt x="2340" y="3406"/>
                      </a:lnTo>
                      <a:lnTo>
                        <a:pt x="2337" y="3397"/>
                      </a:lnTo>
                      <a:lnTo>
                        <a:pt x="2330" y="3389"/>
                      </a:lnTo>
                      <a:lnTo>
                        <a:pt x="2322" y="3382"/>
                      </a:lnTo>
                      <a:lnTo>
                        <a:pt x="2313" y="3377"/>
                      </a:lnTo>
                      <a:lnTo>
                        <a:pt x="2304" y="3375"/>
                      </a:lnTo>
                      <a:lnTo>
                        <a:pt x="2294" y="3373"/>
                      </a:lnTo>
                      <a:close/>
                      <a:moveTo>
                        <a:pt x="1400" y="4660"/>
                      </a:moveTo>
                      <a:lnTo>
                        <a:pt x="1417" y="4647"/>
                      </a:lnTo>
                      <a:lnTo>
                        <a:pt x="1427" y="4638"/>
                      </a:lnTo>
                      <a:lnTo>
                        <a:pt x="1432" y="4632"/>
                      </a:lnTo>
                      <a:lnTo>
                        <a:pt x="1436" y="4625"/>
                      </a:lnTo>
                      <a:lnTo>
                        <a:pt x="1439" y="4618"/>
                      </a:lnTo>
                      <a:lnTo>
                        <a:pt x="1441" y="4609"/>
                      </a:lnTo>
                      <a:lnTo>
                        <a:pt x="1442" y="4600"/>
                      </a:lnTo>
                      <a:lnTo>
                        <a:pt x="1444" y="4587"/>
                      </a:lnTo>
                      <a:lnTo>
                        <a:pt x="1444" y="4484"/>
                      </a:lnTo>
                      <a:lnTo>
                        <a:pt x="1697" y="4484"/>
                      </a:lnTo>
                      <a:lnTo>
                        <a:pt x="1697" y="4587"/>
                      </a:lnTo>
                      <a:lnTo>
                        <a:pt x="1697" y="4600"/>
                      </a:lnTo>
                      <a:lnTo>
                        <a:pt x="1698" y="4609"/>
                      </a:lnTo>
                      <a:lnTo>
                        <a:pt x="1701" y="4618"/>
                      </a:lnTo>
                      <a:lnTo>
                        <a:pt x="1705" y="4625"/>
                      </a:lnTo>
                      <a:lnTo>
                        <a:pt x="1709" y="4632"/>
                      </a:lnTo>
                      <a:lnTo>
                        <a:pt x="1713" y="4638"/>
                      </a:lnTo>
                      <a:lnTo>
                        <a:pt x="1724" y="4647"/>
                      </a:lnTo>
                      <a:lnTo>
                        <a:pt x="1741" y="4660"/>
                      </a:lnTo>
                      <a:lnTo>
                        <a:pt x="1400" y="4660"/>
                      </a:lnTo>
                      <a:close/>
                      <a:moveTo>
                        <a:pt x="2243" y="4432"/>
                      </a:moveTo>
                      <a:lnTo>
                        <a:pt x="898" y="4432"/>
                      </a:lnTo>
                      <a:lnTo>
                        <a:pt x="898" y="3476"/>
                      </a:lnTo>
                      <a:lnTo>
                        <a:pt x="2243" y="3476"/>
                      </a:lnTo>
                      <a:lnTo>
                        <a:pt x="2243" y="4432"/>
                      </a:lnTo>
                      <a:close/>
                      <a:moveTo>
                        <a:pt x="1584" y="3651"/>
                      </a:moveTo>
                      <a:lnTo>
                        <a:pt x="1083" y="4152"/>
                      </a:lnTo>
                      <a:lnTo>
                        <a:pt x="1119" y="4188"/>
                      </a:lnTo>
                      <a:lnTo>
                        <a:pt x="1620" y="3687"/>
                      </a:lnTo>
                      <a:lnTo>
                        <a:pt x="1584" y="3651"/>
                      </a:lnTo>
                      <a:close/>
                      <a:moveTo>
                        <a:pt x="1292" y="4192"/>
                      </a:moveTo>
                      <a:lnTo>
                        <a:pt x="1511" y="3973"/>
                      </a:lnTo>
                      <a:lnTo>
                        <a:pt x="1475" y="3937"/>
                      </a:lnTo>
                      <a:lnTo>
                        <a:pt x="1255" y="4156"/>
                      </a:lnTo>
                      <a:lnTo>
                        <a:pt x="1292" y="4192"/>
                      </a:lnTo>
                      <a:close/>
                      <a:moveTo>
                        <a:pt x="4242" y="3547"/>
                      </a:moveTo>
                      <a:lnTo>
                        <a:pt x="4191" y="3547"/>
                      </a:lnTo>
                      <a:lnTo>
                        <a:pt x="4191" y="4244"/>
                      </a:lnTo>
                      <a:lnTo>
                        <a:pt x="3083" y="4244"/>
                      </a:lnTo>
                      <a:lnTo>
                        <a:pt x="3083" y="3599"/>
                      </a:lnTo>
                      <a:lnTo>
                        <a:pt x="4088" y="3599"/>
                      </a:lnTo>
                      <a:lnTo>
                        <a:pt x="4088" y="3547"/>
                      </a:lnTo>
                      <a:lnTo>
                        <a:pt x="3031" y="3547"/>
                      </a:lnTo>
                      <a:lnTo>
                        <a:pt x="3031" y="4296"/>
                      </a:lnTo>
                      <a:lnTo>
                        <a:pt x="4242" y="4296"/>
                      </a:lnTo>
                      <a:lnTo>
                        <a:pt x="4242" y="3547"/>
                      </a:lnTo>
                      <a:close/>
                      <a:moveTo>
                        <a:pt x="4361" y="3373"/>
                      </a:moveTo>
                      <a:lnTo>
                        <a:pt x="2913" y="3373"/>
                      </a:lnTo>
                      <a:lnTo>
                        <a:pt x="2903" y="3375"/>
                      </a:lnTo>
                      <a:lnTo>
                        <a:pt x="2894" y="3377"/>
                      </a:lnTo>
                      <a:lnTo>
                        <a:pt x="2885" y="3382"/>
                      </a:lnTo>
                      <a:lnTo>
                        <a:pt x="2877" y="3389"/>
                      </a:lnTo>
                      <a:lnTo>
                        <a:pt x="2871" y="3397"/>
                      </a:lnTo>
                      <a:lnTo>
                        <a:pt x="2865" y="3406"/>
                      </a:lnTo>
                      <a:lnTo>
                        <a:pt x="2863" y="3415"/>
                      </a:lnTo>
                      <a:lnTo>
                        <a:pt x="2862" y="3425"/>
                      </a:lnTo>
                      <a:lnTo>
                        <a:pt x="2862" y="4484"/>
                      </a:lnTo>
                      <a:lnTo>
                        <a:pt x="2863" y="4493"/>
                      </a:lnTo>
                      <a:lnTo>
                        <a:pt x="2865" y="4503"/>
                      </a:lnTo>
                      <a:lnTo>
                        <a:pt x="2871" y="4512"/>
                      </a:lnTo>
                      <a:lnTo>
                        <a:pt x="2877" y="4520"/>
                      </a:lnTo>
                      <a:lnTo>
                        <a:pt x="2885" y="4526"/>
                      </a:lnTo>
                      <a:lnTo>
                        <a:pt x="2894" y="4530"/>
                      </a:lnTo>
                      <a:lnTo>
                        <a:pt x="2903" y="4534"/>
                      </a:lnTo>
                      <a:lnTo>
                        <a:pt x="2913" y="4535"/>
                      </a:lnTo>
                      <a:lnTo>
                        <a:pt x="3407" y="4535"/>
                      </a:lnTo>
                      <a:lnTo>
                        <a:pt x="3407" y="4583"/>
                      </a:lnTo>
                      <a:lnTo>
                        <a:pt x="3286" y="4670"/>
                      </a:lnTo>
                      <a:lnTo>
                        <a:pt x="3279" y="4677"/>
                      </a:lnTo>
                      <a:lnTo>
                        <a:pt x="3272" y="4683"/>
                      </a:lnTo>
                      <a:lnTo>
                        <a:pt x="3267" y="4691"/>
                      </a:lnTo>
                      <a:lnTo>
                        <a:pt x="3263" y="4699"/>
                      </a:lnTo>
                      <a:lnTo>
                        <a:pt x="3260" y="4706"/>
                      </a:lnTo>
                      <a:lnTo>
                        <a:pt x="3259" y="4714"/>
                      </a:lnTo>
                      <a:lnTo>
                        <a:pt x="3259" y="4722"/>
                      </a:lnTo>
                      <a:lnTo>
                        <a:pt x="3259" y="4730"/>
                      </a:lnTo>
                      <a:lnTo>
                        <a:pt x="3262" y="4736"/>
                      </a:lnTo>
                      <a:lnTo>
                        <a:pt x="3266" y="4742"/>
                      </a:lnTo>
                      <a:lnTo>
                        <a:pt x="3271" y="4749"/>
                      </a:lnTo>
                      <a:lnTo>
                        <a:pt x="3277" y="4754"/>
                      </a:lnTo>
                      <a:lnTo>
                        <a:pt x="3285" y="4758"/>
                      </a:lnTo>
                      <a:lnTo>
                        <a:pt x="3294" y="4760"/>
                      </a:lnTo>
                      <a:lnTo>
                        <a:pt x="3304" y="4763"/>
                      </a:lnTo>
                      <a:lnTo>
                        <a:pt x="3316" y="4763"/>
                      </a:lnTo>
                      <a:lnTo>
                        <a:pt x="3958" y="4763"/>
                      </a:lnTo>
                      <a:lnTo>
                        <a:pt x="3969" y="4763"/>
                      </a:lnTo>
                      <a:lnTo>
                        <a:pt x="3980" y="4760"/>
                      </a:lnTo>
                      <a:lnTo>
                        <a:pt x="3989" y="4758"/>
                      </a:lnTo>
                      <a:lnTo>
                        <a:pt x="3996" y="4754"/>
                      </a:lnTo>
                      <a:lnTo>
                        <a:pt x="4003" y="4749"/>
                      </a:lnTo>
                      <a:lnTo>
                        <a:pt x="4008" y="4742"/>
                      </a:lnTo>
                      <a:lnTo>
                        <a:pt x="4011" y="4736"/>
                      </a:lnTo>
                      <a:lnTo>
                        <a:pt x="4013" y="4730"/>
                      </a:lnTo>
                      <a:lnTo>
                        <a:pt x="4014" y="4722"/>
                      </a:lnTo>
                      <a:lnTo>
                        <a:pt x="4014" y="4714"/>
                      </a:lnTo>
                      <a:lnTo>
                        <a:pt x="4013" y="4706"/>
                      </a:lnTo>
                      <a:lnTo>
                        <a:pt x="4011" y="4699"/>
                      </a:lnTo>
                      <a:lnTo>
                        <a:pt x="4007" y="4691"/>
                      </a:lnTo>
                      <a:lnTo>
                        <a:pt x="4002" y="4683"/>
                      </a:lnTo>
                      <a:lnTo>
                        <a:pt x="3995" y="4677"/>
                      </a:lnTo>
                      <a:lnTo>
                        <a:pt x="3987" y="4670"/>
                      </a:lnTo>
                      <a:lnTo>
                        <a:pt x="3867" y="4583"/>
                      </a:lnTo>
                      <a:lnTo>
                        <a:pt x="3867" y="4535"/>
                      </a:lnTo>
                      <a:lnTo>
                        <a:pt x="4361" y="4535"/>
                      </a:lnTo>
                      <a:lnTo>
                        <a:pt x="4371" y="4534"/>
                      </a:lnTo>
                      <a:lnTo>
                        <a:pt x="4380" y="4530"/>
                      </a:lnTo>
                      <a:lnTo>
                        <a:pt x="4389" y="4526"/>
                      </a:lnTo>
                      <a:lnTo>
                        <a:pt x="4397" y="4520"/>
                      </a:lnTo>
                      <a:lnTo>
                        <a:pt x="4403" y="4512"/>
                      </a:lnTo>
                      <a:lnTo>
                        <a:pt x="4408" y="4503"/>
                      </a:lnTo>
                      <a:lnTo>
                        <a:pt x="4411" y="4493"/>
                      </a:lnTo>
                      <a:lnTo>
                        <a:pt x="4412" y="4484"/>
                      </a:lnTo>
                      <a:lnTo>
                        <a:pt x="4412" y="3425"/>
                      </a:lnTo>
                      <a:lnTo>
                        <a:pt x="4411" y="3415"/>
                      </a:lnTo>
                      <a:lnTo>
                        <a:pt x="4408" y="3406"/>
                      </a:lnTo>
                      <a:lnTo>
                        <a:pt x="4403" y="3397"/>
                      </a:lnTo>
                      <a:lnTo>
                        <a:pt x="4397" y="3389"/>
                      </a:lnTo>
                      <a:lnTo>
                        <a:pt x="4389" y="3382"/>
                      </a:lnTo>
                      <a:lnTo>
                        <a:pt x="4380" y="3377"/>
                      </a:lnTo>
                      <a:lnTo>
                        <a:pt x="4371" y="3375"/>
                      </a:lnTo>
                      <a:lnTo>
                        <a:pt x="4361" y="3373"/>
                      </a:lnTo>
                      <a:close/>
                      <a:moveTo>
                        <a:pt x="3466" y="4660"/>
                      </a:moveTo>
                      <a:lnTo>
                        <a:pt x="3483" y="4647"/>
                      </a:lnTo>
                      <a:lnTo>
                        <a:pt x="3493" y="4638"/>
                      </a:lnTo>
                      <a:lnTo>
                        <a:pt x="3499" y="4632"/>
                      </a:lnTo>
                      <a:lnTo>
                        <a:pt x="3502" y="4625"/>
                      </a:lnTo>
                      <a:lnTo>
                        <a:pt x="3505" y="4618"/>
                      </a:lnTo>
                      <a:lnTo>
                        <a:pt x="3508" y="4609"/>
                      </a:lnTo>
                      <a:lnTo>
                        <a:pt x="3510" y="4600"/>
                      </a:lnTo>
                      <a:lnTo>
                        <a:pt x="3510" y="4587"/>
                      </a:lnTo>
                      <a:lnTo>
                        <a:pt x="3510" y="4484"/>
                      </a:lnTo>
                      <a:lnTo>
                        <a:pt x="3764" y="4484"/>
                      </a:lnTo>
                      <a:lnTo>
                        <a:pt x="3764" y="4587"/>
                      </a:lnTo>
                      <a:lnTo>
                        <a:pt x="3764" y="4600"/>
                      </a:lnTo>
                      <a:lnTo>
                        <a:pt x="3765" y="4609"/>
                      </a:lnTo>
                      <a:lnTo>
                        <a:pt x="3767" y="4618"/>
                      </a:lnTo>
                      <a:lnTo>
                        <a:pt x="3771" y="4625"/>
                      </a:lnTo>
                      <a:lnTo>
                        <a:pt x="3775" y="4632"/>
                      </a:lnTo>
                      <a:lnTo>
                        <a:pt x="3780" y="4638"/>
                      </a:lnTo>
                      <a:lnTo>
                        <a:pt x="3791" y="4647"/>
                      </a:lnTo>
                      <a:lnTo>
                        <a:pt x="3807" y="4660"/>
                      </a:lnTo>
                      <a:lnTo>
                        <a:pt x="3466" y="4660"/>
                      </a:lnTo>
                      <a:close/>
                      <a:moveTo>
                        <a:pt x="4309" y="4432"/>
                      </a:moveTo>
                      <a:lnTo>
                        <a:pt x="2965" y="4432"/>
                      </a:lnTo>
                      <a:lnTo>
                        <a:pt x="2965" y="3476"/>
                      </a:lnTo>
                      <a:lnTo>
                        <a:pt x="4309" y="3476"/>
                      </a:lnTo>
                      <a:lnTo>
                        <a:pt x="4309" y="4432"/>
                      </a:lnTo>
                      <a:close/>
                      <a:moveTo>
                        <a:pt x="3636" y="4322"/>
                      </a:moveTo>
                      <a:lnTo>
                        <a:pt x="3636" y="4322"/>
                      </a:lnTo>
                      <a:lnTo>
                        <a:pt x="3630" y="4323"/>
                      </a:lnTo>
                      <a:lnTo>
                        <a:pt x="3623" y="4326"/>
                      </a:lnTo>
                      <a:lnTo>
                        <a:pt x="3617" y="4328"/>
                      </a:lnTo>
                      <a:lnTo>
                        <a:pt x="3612" y="4333"/>
                      </a:lnTo>
                      <a:lnTo>
                        <a:pt x="3607" y="4338"/>
                      </a:lnTo>
                      <a:lnTo>
                        <a:pt x="3604" y="4344"/>
                      </a:lnTo>
                      <a:lnTo>
                        <a:pt x="3601" y="4351"/>
                      </a:lnTo>
                      <a:lnTo>
                        <a:pt x="3601" y="4358"/>
                      </a:lnTo>
                      <a:lnTo>
                        <a:pt x="3601" y="4365"/>
                      </a:lnTo>
                      <a:lnTo>
                        <a:pt x="3604" y="4372"/>
                      </a:lnTo>
                      <a:lnTo>
                        <a:pt x="3607" y="4378"/>
                      </a:lnTo>
                      <a:lnTo>
                        <a:pt x="3612" y="4383"/>
                      </a:lnTo>
                      <a:lnTo>
                        <a:pt x="3617" y="4387"/>
                      </a:lnTo>
                      <a:lnTo>
                        <a:pt x="3623" y="4391"/>
                      </a:lnTo>
                      <a:lnTo>
                        <a:pt x="3630" y="4394"/>
                      </a:lnTo>
                      <a:lnTo>
                        <a:pt x="3636" y="4394"/>
                      </a:lnTo>
                      <a:lnTo>
                        <a:pt x="3644" y="4394"/>
                      </a:lnTo>
                      <a:lnTo>
                        <a:pt x="3650" y="4391"/>
                      </a:lnTo>
                      <a:lnTo>
                        <a:pt x="3657" y="4387"/>
                      </a:lnTo>
                      <a:lnTo>
                        <a:pt x="3662" y="4383"/>
                      </a:lnTo>
                      <a:lnTo>
                        <a:pt x="3667" y="4378"/>
                      </a:lnTo>
                      <a:lnTo>
                        <a:pt x="3670" y="4372"/>
                      </a:lnTo>
                      <a:lnTo>
                        <a:pt x="3672" y="4365"/>
                      </a:lnTo>
                      <a:lnTo>
                        <a:pt x="3672" y="4358"/>
                      </a:lnTo>
                      <a:lnTo>
                        <a:pt x="3672" y="4351"/>
                      </a:lnTo>
                      <a:lnTo>
                        <a:pt x="3670" y="4344"/>
                      </a:lnTo>
                      <a:lnTo>
                        <a:pt x="3667" y="4338"/>
                      </a:lnTo>
                      <a:lnTo>
                        <a:pt x="3662" y="4333"/>
                      </a:lnTo>
                      <a:lnTo>
                        <a:pt x="3657" y="4328"/>
                      </a:lnTo>
                      <a:lnTo>
                        <a:pt x="3650" y="4326"/>
                      </a:lnTo>
                      <a:lnTo>
                        <a:pt x="3644" y="4323"/>
                      </a:lnTo>
                      <a:lnTo>
                        <a:pt x="3636" y="4322"/>
                      </a:lnTo>
                      <a:close/>
                      <a:moveTo>
                        <a:pt x="3650" y="3651"/>
                      </a:moveTo>
                      <a:lnTo>
                        <a:pt x="3150" y="4152"/>
                      </a:lnTo>
                      <a:lnTo>
                        <a:pt x="3186" y="4188"/>
                      </a:lnTo>
                      <a:lnTo>
                        <a:pt x="3686" y="3687"/>
                      </a:lnTo>
                      <a:lnTo>
                        <a:pt x="3650" y="3651"/>
                      </a:lnTo>
                      <a:close/>
                      <a:moveTo>
                        <a:pt x="3358" y="4192"/>
                      </a:moveTo>
                      <a:lnTo>
                        <a:pt x="3577" y="3973"/>
                      </a:lnTo>
                      <a:lnTo>
                        <a:pt x="3541" y="3937"/>
                      </a:lnTo>
                      <a:lnTo>
                        <a:pt x="3322" y="4156"/>
                      </a:lnTo>
                      <a:lnTo>
                        <a:pt x="3358" y="4192"/>
                      </a:lnTo>
                      <a:close/>
                      <a:moveTo>
                        <a:pt x="4004" y="2318"/>
                      </a:moveTo>
                      <a:lnTo>
                        <a:pt x="4223" y="2100"/>
                      </a:lnTo>
                      <a:lnTo>
                        <a:pt x="4187" y="2062"/>
                      </a:lnTo>
                      <a:lnTo>
                        <a:pt x="3967" y="2281"/>
                      </a:lnTo>
                      <a:lnTo>
                        <a:pt x="4004" y="2318"/>
                      </a:lnTo>
                      <a:close/>
                      <a:moveTo>
                        <a:pt x="5007" y="1500"/>
                      </a:moveTo>
                      <a:lnTo>
                        <a:pt x="3559" y="1500"/>
                      </a:lnTo>
                      <a:lnTo>
                        <a:pt x="3549" y="1501"/>
                      </a:lnTo>
                      <a:lnTo>
                        <a:pt x="3538" y="1504"/>
                      </a:lnTo>
                      <a:lnTo>
                        <a:pt x="3531" y="1509"/>
                      </a:lnTo>
                      <a:lnTo>
                        <a:pt x="3523" y="1516"/>
                      </a:lnTo>
                      <a:lnTo>
                        <a:pt x="3517" y="1523"/>
                      </a:lnTo>
                      <a:lnTo>
                        <a:pt x="3511" y="1531"/>
                      </a:lnTo>
                      <a:lnTo>
                        <a:pt x="3509" y="1541"/>
                      </a:lnTo>
                      <a:lnTo>
                        <a:pt x="3508" y="1552"/>
                      </a:lnTo>
                      <a:lnTo>
                        <a:pt x="3508" y="2609"/>
                      </a:lnTo>
                      <a:lnTo>
                        <a:pt x="3509" y="2620"/>
                      </a:lnTo>
                      <a:lnTo>
                        <a:pt x="3511" y="2629"/>
                      </a:lnTo>
                      <a:lnTo>
                        <a:pt x="3517" y="2638"/>
                      </a:lnTo>
                      <a:lnTo>
                        <a:pt x="3523" y="2645"/>
                      </a:lnTo>
                      <a:lnTo>
                        <a:pt x="3531" y="2652"/>
                      </a:lnTo>
                      <a:lnTo>
                        <a:pt x="3538" y="2657"/>
                      </a:lnTo>
                      <a:lnTo>
                        <a:pt x="3549" y="2659"/>
                      </a:lnTo>
                      <a:lnTo>
                        <a:pt x="3559" y="2661"/>
                      </a:lnTo>
                      <a:lnTo>
                        <a:pt x="4053" y="2661"/>
                      </a:lnTo>
                      <a:lnTo>
                        <a:pt x="4053" y="2708"/>
                      </a:lnTo>
                      <a:lnTo>
                        <a:pt x="3931" y="2797"/>
                      </a:lnTo>
                      <a:lnTo>
                        <a:pt x="3924" y="2804"/>
                      </a:lnTo>
                      <a:lnTo>
                        <a:pt x="3918" y="2810"/>
                      </a:lnTo>
                      <a:lnTo>
                        <a:pt x="3912" y="2818"/>
                      </a:lnTo>
                      <a:lnTo>
                        <a:pt x="3908" y="2825"/>
                      </a:lnTo>
                      <a:lnTo>
                        <a:pt x="3905" y="2833"/>
                      </a:lnTo>
                      <a:lnTo>
                        <a:pt x="3904" y="2841"/>
                      </a:lnTo>
                      <a:lnTo>
                        <a:pt x="3904" y="2849"/>
                      </a:lnTo>
                      <a:lnTo>
                        <a:pt x="3905" y="2855"/>
                      </a:lnTo>
                      <a:lnTo>
                        <a:pt x="3908" y="2863"/>
                      </a:lnTo>
                      <a:lnTo>
                        <a:pt x="3912" y="2869"/>
                      </a:lnTo>
                      <a:lnTo>
                        <a:pt x="3917" y="2874"/>
                      </a:lnTo>
                      <a:lnTo>
                        <a:pt x="3923" y="2879"/>
                      </a:lnTo>
                      <a:lnTo>
                        <a:pt x="3931" y="2883"/>
                      </a:lnTo>
                      <a:lnTo>
                        <a:pt x="3940" y="2887"/>
                      </a:lnTo>
                      <a:lnTo>
                        <a:pt x="3950" y="2888"/>
                      </a:lnTo>
                      <a:lnTo>
                        <a:pt x="3962" y="2890"/>
                      </a:lnTo>
                      <a:lnTo>
                        <a:pt x="4604" y="2890"/>
                      </a:lnTo>
                      <a:lnTo>
                        <a:pt x="4615" y="2888"/>
                      </a:lnTo>
                      <a:lnTo>
                        <a:pt x="4626" y="2887"/>
                      </a:lnTo>
                      <a:lnTo>
                        <a:pt x="4635" y="2883"/>
                      </a:lnTo>
                      <a:lnTo>
                        <a:pt x="4641" y="2879"/>
                      </a:lnTo>
                      <a:lnTo>
                        <a:pt x="4648" y="2874"/>
                      </a:lnTo>
                      <a:lnTo>
                        <a:pt x="4653" y="2869"/>
                      </a:lnTo>
                      <a:lnTo>
                        <a:pt x="4657" y="2863"/>
                      </a:lnTo>
                      <a:lnTo>
                        <a:pt x="4659" y="2855"/>
                      </a:lnTo>
                      <a:lnTo>
                        <a:pt x="4660" y="2849"/>
                      </a:lnTo>
                      <a:lnTo>
                        <a:pt x="4660" y="2841"/>
                      </a:lnTo>
                      <a:lnTo>
                        <a:pt x="4659" y="2833"/>
                      </a:lnTo>
                      <a:lnTo>
                        <a:pt x="4657" y="2825"/>
                      </a:lnTo>
                      <a:lnTo>
                        <a:pt x="4653" y="2818"/>
                      </a:lnTo>
                      <a:lnTo>
                        <a:pt x="4648" y="2810"/>
                      </a:lnTo>
                      <a:lnTo>
                        <a:pt x="4641" y="2804"/>
                      </a:lnTo>
                      <a:lnTo>
                        <a:pt x="4633" y="2797"/>
                      </a:lnTo>
                      <a:lnTo>
                        <a:pt x="4512" y="2708"/>
                      </a:lnTo>
                      <a:lnTo>
                        <a:pt x="4512" y="2661"/>
                      </a:lnTo>
                      <a:lnTo>
                        <a:pt x="5007" y="2661"/>
                      </a:lnTo>
                      <a:lnTo>
                        <a:pt x="5017" y="2659"/>
                      </a:lnTo>
                      <a:lnTo>
                        <a:pt x="5026" y="2657"/>
                      </a:lnTo>
                      <a:lnTo>
                        <a:pt x="5035" y="2652"/>
                      </a:lnTo>
                      <a:lnTo>
                        <a:pt x="5043" y="2645"/>
                      </a:lnTo>
                      <a:lnTo>
                        <a:pt x="5049" y="2638"/>
                      </a:lnTo>
                      <a:lnTo>
                        <a:pt x="5053" y="2629"/>
                      </a:lnTo>
                      <a:lnTo>
                        <a:pt x="5057" y="2620"/>
                      </a:lnTo>
                      <a:lnTo>
                        <a:pt x="5058" y="2609"/>
                      </a:lnTo>
                      <a:lnTo>
                        <a:pt x="5058" y="1552"/>
                      </a:lnTo>
                      <a:lnTo>
                        <a:pt x="5057" y="1541"/>
                      </a:lnTo>
                      <a:lnTo>
                        <a:pt x="5053" y="1531"/>
                      </a:lnTo>
                      <a:lnTo>
                        <a:pt x="5049" y="1523"/>
                      </a:lnTo>
                      <a:lnTo>
                        <a:pt x="5043" y="1516"/>
                      </a:lnTo>
                      <a:lnTo>
                        <a:pt x="5035" y="1509"/>
                      </a:lnTo>
                      <a:lnTo>
                        <a:pt x="5026" y="1504"/>
                      </a:lnTo>
                      <a:lnTo>
                        <a:pt x="5017" y="1501"/>
                      </a:lnTo>
                      <a:lnTo>
                        <a:pt x="5007" y="1500"/>
                      </a:lnTo>
                      <a:close/>
                      <a:moveTo>
                        <a:pt x="4112" y="2787"/>
                      </a:moveTo>
                      <a:lnTo>
                        <a:pt x="4129" y="2774"/>
                      </a:lnTo>
                      <a:lnTo>
                        <a:pt x="4139" y="2764"/>
                      </a:lnTo>
                      <a:lnTo>
                        <a:pt x="4144" y="2758"/>
                      </a:lnTo>
                      <a:lnTo>
                        <a:pt x="4148" y="2752"/>
                      </a:lnTo>
                      <a:lnTo>
                        <a:pt x="4151" y="2744"/>
                      </a:lnTo>
                      <a:lnTo>
                        <a:pt x="4153" y="2735"/>
                      </a:lnTo>
                      <a:lnTo>
                        <a:pt x="4155" y="2725"/>
                      </a:lnTo>
                      <a:lnTo>
                        <a:pt x="4156" y="2713"/>
                      </a:lnTo>
                      <a:lnTo>
                        <a:pt x="4156" y="2609"/>
                      </a:lnTo>
                      <a:lnTo>
                        <a:pt x="4410" y="2609"/>
                      </a:lnTo>
                      <a:lnTo>
                        <a:pt x="4410" y="2713"/>
                      </a:lnTo>
                      <a:lnTo>
                        <a:pt x="4410" y="2725"/>
                      </a:lnTo>
                      <a:lnTo>
                        <a:pt x="4411" y="2735"/>
                      </a:lnTo>
                      <a:lnTo>
                        <a:pt x="4413" y="2744"/>
                      </a:lnTo>
                      <a:lnTo>
                        <a:pt x="4417" y="2752"/>
                      </a:lnTo>
                      <a:lnTo>
                        <a:pt x="4421" y="2758"/>
                      </a:lnTo>
                      <a:lnTo>
                        <a:pt x="4425" y="2764"/>
                      </a:lnTo>
                      <a:lnTo>
                        <a:pt x="4437" y="2774"/>
                      </a:lnTo>
                      <a:lnTo>
                        <a:pt x="4453" y="2787"/>
                      </a:lnTo>
                      <a:lnTo>
                        <a:pt x="4112" y="2787"/>
                      </a:lnTo>
                      <a:close/>
                      <a:moveTo>
                        <a:pt x="4955" y="2558"/>
                      </a:moveTo>
                      <a:lnTo>
                        <a:pt x="3610" y="2558"/>
                      </a:lnTo>
                      <a:lnTo>
                        <a:pt x="3610" y="1603"/>
                      </a:lnTo>
                      <a:lnTo>
                        <a:pt x="4955" y="1603"/>
                      </a:lnTo>
                      <a:lnTo>
                        <a:pt x="4955" y="2558"/>
                      </a:lnTo>
                      <a:close/>
                      <a:moveTo>
                        <a:pt x="4296" y="1778"/>
                      </a:moveTo>
                      <a:lnTo>
                        <a:pt x="3796" y="2277"/>
                      </a:lnTo>
                      <a:lnTo>
                        <a:pt x="3832" y="2315"/>
                      </a:lnTo>
                      <a:lnTo>
                        <a:pt x="4332" y="1814"/>
                      </a:lnTo>
                      <a:lnTo>
                        <a:pt x="4296" y="1778"/>
                      </a:lnTo>
                      <a:close/>
                      <a:moveTo>
                        <a:pt x="4888" y="1674"/>
                      </a:moveTo>
                      <a:lnTo>
                        <a:pt x="4837" y="1674"/>
                      </a:lnTo>
                      <a:lnTo>
                        <a:pt x="4837" y="2371"/>
                      </a:lnTo>
                      <a:lnTo>
                        <a:pt x="3728" y="2371"/>
                      </a:lnTo>
                      <a:lnTo>
                        <a:pt x="3728" y="1725"/>
                      </a:lnTo>
                      <a:lnTo>
                        <a:pt x="4734" y="1725"/>
                      </a:lnTo>
                      <a:lnTo>
                        <a:pt x="4734" y="1674"/>
                      </a:lnTo>
                      <a:lnTo>
                        <a:pt x="3676" y="1674"/>
                      </a:lnTo>
                      <a:lnTo>
                        <a:pt x="3676" y="2423"/>
                      </a:lnTo>
                      <a:lnTo>
                        <a:pt x="4888" y="2423"/>
                      </a:lnTo>
                      <a:lnTo>
                        <a:pt x="4888" y="1674"/>
                      </a:lnTo>
                      <a:close/>
                      <a:moveTo>
                        <a:pt x="4282" y="2448"/>
                      </a:moveTo>
                      <a:lnTo>
                        <a:pt x="4282" y="2448"/>
                      </a:lnTo>
                      <a:lnTo>
                        <a:pt x="4276" y="2450"/>
                      </a:lnTo>
                      <a:lnTo>
                        <a:pt x="4268" y="2451"/>
                      </a:lnTo>
                      <a:lnTo>
                        <a:pt x="4263" y="2455"/>
                      </a:lnTo>
                      <a:lnTo>
                        <a:pt x="4256" y="2459"/>
                      </a:lnTo>
                      <a:lnTo>
                        <a:pt x="4253" y="2464"/>
                      </a:lnTo>
                      <a:lnTo>
                        <a:pt x="4249" y="2470"/>
                      </a:lnTo>
                      <a:lnTo>
                        <a:pt x="4247" y="2477"/>
                      </a:lnTo>
                      <a:lnTo>
                        <a:pt x="4246" y="2484"/>
                      </a:lnTo>
                      <a:lnTo>
                        <a:pt x="4247" y="2492"/>
                      </a:lnTo>
                      <a:lnTo>
                        <a:pt x="4249" y="2499"/>
                      </a:lnTo>
                      <a:lnTo>
                        <a:pt x="4253" y="2505"/>
                      </a:lnTo>
                      <a:lnTo>
                        <a:pt x="4256" y="2510"/>
                      </a:lnTo>
                      <a:lnTo>
                        <a:pt x="4263" y="2514"/>
                      </a:lnTo>
                      <a:lnTo>
                        <a:pt x="4268" y="2518"/>
                      </a:lnTo>
                      <a:lnTo>
                        <a:pt x="4276" y="2519"/>
                      </a:lnTo>
                      <a:lnTo>
                        <a:pt x="4282" y="2520"/>
                      </a:lnTo>
                      <a:lnTo>
                        <a:pt x="4290" y="2519"/>
                      </a:lnTo>
                      <a:lnTo>
                        <a:pt x="4296" y="2518"/>
                      </a:lnTo>
                      <a:lnTo>
                        <a:pt x="4303" y="2514"/>
                      </a:lnTo>
                      <a:lnTo>
                        <a:pt x="4308" y="2510"/>
                      </a:lnTo>
                      <a:lnTo>
                        <a:pt x="4312" y="2505"/>
                      </a:lnTo>
                      <a:lnTo>
                        <a:pt x="4316" y="2499"/>
                      </a:lnTo>
                      <a:lnTo>
                        <a:pt x="4317" y="2492"/>
                      </a:lnTo>
                      <a:lnTo>
                        <a:pt x="4318" y="2484"/>
                      </a:lnTo>
                      <a:lnTo>
                        <a:pt x="4317" y="2477"/>
                      </a:lnTo>
                      <a:lnTo>
                        <a:pt x="4316" y="2470"/>
                      </a:lnTo>
                      <a:lnTo>
                        <a:pt x="4312" y="2464"/>
                      </a:lnTo>
                      <a:lnTo>
                        <a:pt x="4308" y="2459"/>
                      </a:lnTo>
                      <a:lnTo>
                        <a:pt x="4303" y="2455"/>
                      </a:lnTo>
                      <a:lnTo>
                        <a:pt x="4296" y="2451"/>
                      </a:lnTo>
                      <a:lnTo>
                        <a:pt x="4290" y="2450"/>
                      </a:lnTo>
                      <a:lnTo>
                        <a:pt x="4282" y="2448"/>
                      </a:lnTo>
                      <a:close/>
                      <a:moveTo>
                        <a:pt x="2528" y="948"/>
                      </a:moveTo>
                      <a:lnTo>
                        <a:pt x="2528" y="948"/>
                      </a:lnTo>
                      <a:lnTo>
                        <a:pt x="2521" y="950"/>
                      </a:lnTo>
                      <a:lnTo>
                        <a:pt x="2514" y="952"/>
                      </a:lnTo>
                      <a:lnTo>
                        <a:pt x="2509" y="955"/>
                      </a:lnTo>
                      <a:lnTo>
                        <a:pt x="2503" y="960"/>
                      </a:lnTo>
                      <a:lnTo>
                        <a:pt x="2499" y="965"/>
                      </a:lnTo>
                      <a:lnTo>
                        <a:pt x="2495" y="971"/>
                      </a:lnTo>
                      <a:lnTo>
                        <a:pt x="2494" y="978"/>
                      </a:lnTo>
                      <a:lnTo>
                        <a:pt x="2492" y="984"/>
                      </a:lnTo>
                      <a:lnTo>
                        <a:pt x="2494" y="992"/>
                      </a:lnTo>
                      <a:lnTo>
                        <a:pt x="2495" y="998"/>
                      </a:lnTo>
                      <a:lnTo>
                        <a:pt x="2499" y="1005"/>
                      </a:lnTo>
                      <a:lnTo>
                        <a:pt x="2503" y="1010"/>
                      </a:lnTo>
                      <a:lnTo>
                        <a:pt x="2509" y="1014"/>
                      </a:lnTo>
                      <a:lnTo>
                        <a:pt x="2514" y="1018"/>
                      </a:lnTo>
                      <a:lnTo>
                        <a:pt x="2521" y="1020"/>
                      </a:lnTo>
                      <a:lnTo>
                        <a:pt x="2528" y="1020"/>
                      </a:lnTo>
                      <a:lnTo>
                        <a:pt x="2536" y="1020"/>
                      </a:lnTo>
                      <a:lnTo>
                        <a:pt x="2543" y="1018"/>
                      </a:lnTo>
                      <a:lnTo>
                        <a:pt x="2549" y="1014"/>
                      </a:lnTo>
                      <a:lnTo>
                        <a:pt x="2554" y="1010"/>
                      </a:lnTo>
                      <a:lnTo>
                        <a:pt x="2558" y="1005"/>
                      </a:lnTo>
                      <a:lnTo>
                        <a:pt x="2562" y="998"/>
                      </a:lnTo>
                      <a:lnTo>
                        <a:pt x="2563" y="992"/>
                      </a:lnTo>
                      <a:lnTo>
                        <a:pt x="2564" y="984"/>
                      </a:lnTo>
                      <a:lnTo>
                        <a:pt x="2563" y="978"/>
                      </a:lnTo>
                      <a:lnTo>
                        <a:pt x="2562" y="971"/>
                      </a:lnTo>
                      <a:lnTo>
                        <a:pt x="2558" y="965"/>
                      </a:lnTo>
                      <a:lnTo>
                        <a:pt x="2554" y="960"/>
                      </a:lnTo>
                      <a:lnTo>
                        <a:pt x="2549" y="955"/>
                      </a:lnTo>
                      <a:lnTo>
                        <a:pt x="2543" y="952"/>
                      </a:lnTo>
                      <a:lnTo>
                        <a:pt x="2536" y="950"/>
                      </a:lnTo>
                      <a:lnTo>
                        <a:pt x="2528" y="948"/>
                      </a:lnTo>
                      <a:close/>
                      <a:moveTo>
                        <a:pt x="3083" y="871"/>
                      </a:moveTo>
                      <a:lnTo>
                        <a:pt x="1974" y="871"/>
                      </a:lnTo>
                      <a:lnTo>
                        <a:pt x="1974" y="225"/>
                      </a:lnTo>
                      <a:lnTo>
                        <a:pt x="2980" y="225"/>
                      </a:lnTo>
                      <a:lnTo>
                        <a:pt x="2980" y="174"/>
                      </a:lnTo>
                      <a:lnTo>
                        <a:pt x="1922" y="174"/>
                      </a:lnTo>
                      <a:lnTo>
                        <a:pt x="1922" y="922"/>
                      </a:lnTo>
                      <a:lnTo>
                        <a:pt x="3134" y="922"/>
                      </a:lnTo>
                      <a:lnTo>
                        <a:pt x="3134" y="174"/>
                      </a:lnTo>
                      <a:lnTo>
                        <a:pt x="3083" y="174"/>
                      </a:lnTo>
                      <a:lnTo>
                        <a:pt x="3083" y="871"/>
                      </a:lnTo>
                      <a:close/>
                      <a:moveTo>
                        <a:pt x="1805" y="1162"/>
                      </a:moveTo>
                      <a:lnTo>
                        <a:pt x="2299" y="1162"/>
                      </a:lnTo>
                      <a:lnTo>
                        <a:pt x="2299" y="1209"/>
                      </a:lnTo>
                      <a:lnTo>
                        <a:pt x="2177" y="1297"/>
                      </a:lnTo>
                      <a:lnTo>
                        <a:pt x="2169" y="1303"/>
                      </a:lnTo>
                      <a:lnTo>
                        <a:pt x="2163" y="1311"/>
                      </a:lnTo>
                      <a:lnTo>
                        <a:pt x="2158" y="1317"/>
                      </a:lnTo>
                      <a:lnTo>
                        <a:pt x="2154" y="1325"/>
                      </a:lnTo>
                      <a:lnTo>
                        <a:pt x="2151" y="1333"/>
                      </a:lnTo>
                      <a:lnTo>
                        <a:pt x="2150" y="1341"/>
                      </a:lnTo>
                      <a:lnTo>
                        <a:pt x="2150" y="1348"/>
                      </a:lnTo>
                      <a:lnTo>
                        <a:pt x="2151" y="1356"/>
                      </a:lnTo>
                      <a:lnTo>
                        <a:pt x="2154" y="1363"/>
                      </a:lnTo>
                      <a:lnTo>
                        <a:pt x="2158" y="1369"/>
                      </a:lnTo>
                      <a:lnTo>
                        <a:pt x="2163" y="1375"/>
                      </a:lnTo>
                      <a:lnTo>
                        <a:pt x="2169" y="1381"/>
                      </a:lnTo>
                      <a:lnTo>
                        <a:pt x="2177" y="1384"/>
                      </a:lnTo>
                      <a:lnTo>
                        <a:pt x="2186" y="1387"/>
                      </a:lnTo>
                      <a:lnTo>
                        <a:pt x="2196" y="1390"/>
                      </a:lnTo>
                      <a:lnTo>
                        <a:pt x="2208" y="1390"/>
                      </a:lnTo>
                      <a:lnTo>
                        <a:pt x="2850" y="1390"/>
                      </a:lnTo>
                      <a:lnTo>
                        <a:pt x="2862" y="1390"/>
                      </a:lnTo>
                      <a:lnTo>
                        <a:pt x="2872" y="1387"/>
                      </a:lnTo>
                      <a:lnTo>
                        <a:pt x="2880" y="1384"/>
                      </a:lnTo>
                      <a:lnTo>
                        <a:pt x="2887" y="1381"/>
                      </a:lnTo>
                      <a:lnTo>
                        <a:pt x="2894" y="1375"/>
                      </a:lnTo>
                      <a:lnTo>
                        <a:pt x="2899" y="1369"/>
                      </a:lnTo>
                      <a:lnTo>
                        <a:pt x="2903" y="1363"/>
                      </a:lnTo>
                      <a:lnTo>
                        <a:pt x="2905" y="1356"/>
                      </a:lnTo>
                      <a:lnTo>
                        <a:pt x="2907" y="1348"/>
                      </a:lnTo>
                      <a:lnTo>
                        <a:pt x="2907" y="1341"/>
                      </a:lnTo>
                      <a:lnTo>
                        <a:pt x="2905" y="1333"/>
                      </a:lnTo>
                      <a:lnTo>
                        <a:pt x="2903" y="1325"/>
                      </a:lnTo>
                      <a:lnTo>
                        <a:pt x="2899" y="1317"/>
                      </a:lnTo>
                      <a:lnTo>
                        <a:pt x="2894" y="1311"/>
                      </a:lnTo>
                      <a:lnTo>
                        <a:pt x="2887" y="1303"/>
                      </a:lnTo>
                      <a:lnTo>
                        <a:pt x="2880" y="1297"/>
                      </a:lnTo>
                      <a:lnTo>
                        <a:pt x="2759" y="1209"/>
                      </a:lnTo>
                      <a:lnTo>
                        <a:pt x="2759" y="1162"/>
                      </a:lnTo>
                      <a:lnTo>
                        <a:pt x="3253" y="1162"/>
                      </a:lnTo>
                      <a:lnTo>
                        <a:pt x="3262" y="1161"/>
                      </a:lnTo>
                      <a:lnTo>
                        <a:pt x="3272" y="1157"/>
                      </a:lnTo>
                      <a:lnTo>
                        <a:pt x="3281" y="1153"/>
                      </a:lnTo>
                      <a:lnTo>
                        <a:pt x="3289" y="1146"/>
                      </a:lnTo>
                      <a:lnTo>
                        <a:pt x="3295" y="1139"/>
                      </a:lnTo>
                      <a:lnTo>
                        <a:pt x="3299" y="1130"/>
                      </a:lnTo>
                      <a:lnTo>
                        <a:pt x="3303" y="1119"/>
                      </a:lnTo>
                      <a:lnTo>
                        <a:pt x="3304" y="1110"/>
                      </a:lnTo>
                      <a:lnTo>
                        <a:pt x="3304" y="51"/>
                      </a:lnTo>
                      <a:lnTo>
                        <a:pt x="3303" y="41"/>
                      </a:lnTo>
                      <a:lnTo>
                        <a:pt x="3299" y="32"/>
                      </a:lnTo>
                      <a:lnTo>
                        <a:pt x="3295" y="23"/>
                      </a:lnTo>
                      <a:lnTo>
                        <a:pt x="3289" y="15"/>
                      </a:lnTo>
                      <a:lnTo>
                        <a:pt x="3281" y="9"/>
                      </a:lnTo>
                      <a:lnTo>
                        <a:pt x="3272" y="4"/>
                      </a:lnTo>
                      <a:lnTo>
                        <a:pt x="3262" y="1"/>
                      </a:lnTo>
                      <a:lnTo>
                        <a:pt x="3253" y="0"/>
                      </a:lnTo>
                      <a:lnTo>
                        <a:pt x="1805" y="0"/>
                      </a:lnTo>
                      <a:lnTo>
                        <a:pt x="1795" y="1"/>
                      </a:lnTo>
                      <a:lnTo>
                        <a:pt x="1785" y="4"/>
                      </a:lnTo>
                      <a:lnTo>
                        <a:pt x="1777" y="9"/>
                      </a:lnTo>
                      <a:lnTo>
                        <a:pt x="1769" y="15"/>
                      </a:lnTo>
                      <a:lnTo>
                        <a:pt x="1763" y="23"/>
                      </a:lnTo>
                      <a:lnTo>
                        <a:pt x="1758" y="32"/>
                      </a:lnTo>
                      <a:lnTo>
                        <a:pt x="1754" y="41"/>
                      </a:lnTo>
                      <a:lnTo>
                        <a:pt x="1754" y="51"/>
                      </a:lnTo>
                      <a:lnTo>
                        <a:pt x="1754" y="1110"/>
                      </a:lnTo>
                      <a:lnTo>
                        <a:pt x="1754" y="1119"/>
                      </a:lnTo>
                      <a:lnTo>
                        <a:pt x="1758" y="1130"/>
                      </a:lnTo>
                      <a:lnTo>
                        <a:pt x="1763" y="1139"/>
                      </a:lnTo>
                      <a:lnTo>
                        <a:pt x="1769" y="1146"/>
                      </a:lnTo>
                      <a:lnTo>
                        <a:pt x="1777" y="1153"/>
                      </a:lnTo>
                      <a:lnTo>
                        <a:pt x="1785" y="1157"/>
                      </a:lnTo>
                      <a:lnTo>
                        <a:pt x="1795" y="1161"/>
                      </a:lnTo>
                      <a:lnTo>
                        <a:pt x="1805" y="1162"/>
                      </a:lnTo>
                      <a:close/>
                      <a:moveTo>
                        <a:pt x="2359" y="1287"/>
                      </a:moveTo>
                      <a:lnTo>
                        <a:pt x="2375" y="1274"/>
                      </a:lnTo>
                      <a:lnTo>
                        <a:pt x="2386" y="1265"/>
                      </a:lnTo>
                      <a:lnTo>
                        <a:pt x="2391" y="1258"/>
                      </a:lnTo>
                      <a:lnTo>
                        <a:pt x="2395" y="1252"/>
                      </a:lnTo>
                      <a:lnTo>
                        <a:pt x="2397" y="1244"/>
                      </a:lnTo>
                      <a:lnTo>
                        <a:pt x="2400" y="1235"/>
                      </a:lnTo>
                      <a:lnTo>
                        <a:pt x="2401" y="1226"/>
                      </a:lnTo>
                      <a:lnTo>
                        <a:pt x="2402" y="1213"/>
                      </a:lnTo>
                      <a:lnTo>
                        <a:pt x="2402" y="1110"/>
                      </a:lnTo>
                      <a:lnTo>
                        <a:pt x="2656" y="1110"/>
                      </a:lnTo>
                      <a:lnTo>
                        <a:pt x="2656" y="1213"/>
                      </a:lnTo>
                      <a:lnTo>
                        <a:pt x="2656" y="1226"/>
                      </a:lnTo>
                      <a:lnTo>
                        <a:pt x="2657" y="1235"/>
                      </a:lnTo>
                      <a:lnTo>
                        <a:pt x="2660" y="1244"/>
                      </a:lnTo>
                      <a:lnTo>
                        <a:pt x="2663" y="1252"/>
                      </a:lnTo>
                      <a:lnTo>
                        <a:pt x="2667" y="1258"/>
                      </a:lnTo>
                      <a:lnTo>
                        <a:pt x="2671" y="1265"/>
                      </a:lnTo>
                      <a:lnTo>
                        <a:pt x="2681" y="1274"/>
                      </a:lnTo>
                      <a:lnTo>
                        <a:pt x="2698" y="1287"/>
                      </a:lnTo>
                      <a:lnTo>
                        <a:pt x="2359" y="1287"/>
                      </a:lnTo>
                      <a:close/>
                      <a:moveTo>
                        <a:pt x="1857" y="103"/>
                      </a:moveTo>
                      <a:lnTo>
                        <a:pt x="3201" y="103"/>
                      </a:lnTo>
                      <a:lnTo>
                        <a:pt x="3201" y="1059"/>
                      </a:lnTo>
                      <a:lnTo>
                        <a:pt x="1857" y="1059"/>
                      </a:lnTo>
                      <a:lnTo>
                        <a:pt x="1857" y="103"/>
                      </a:lnTo>
                      <a:close/>
                      <a:moveTo>
                        <a:pt x="2543" y="278"/>
                      </a:moveTo>
                      <a:lnTo>
                        <a:pt x="2042" y="778"/>
                      </a:lnTo>
                      <a:lnTo>
                        <a:pt x="2078" y="814"/>
                      </a:lnTo>
                      <a:lnTo>
                        <a:pt x="2579" y="314"/>
                      </a:lnTo>
                      <a:lnTo>
                        <a:pt x="2543" y="278"/>
                      </a:lnTo>
                      <a:close/>
                      <a:moveTo>
                        <a:pt x="2250" y="818"/>
                      </a:moveTo>
                      <a:lnTo>
                        <a:pt x="2469" y="600"/>
                      </a:lnTo>
                      <a:lnTo>
                        <a:pt x="2432" y="564"/>
                      </a:lnTo>
                      <a:lnTo>
                        <a:pt x="2213" y="782"/>
                      </a:lnTo>
                      <a:lnTo>
                        <a:pt x="2250" y="818"/>
                      </a:lnTo>
                      <a:close/>
                    </a:path>
                  </a:pathLst>
                </a:custGeom>
                <a:solidFill>
                  <a:schemeClr val="bg2"/>
                </a:solidFill>
                <a:ln w="9525">
                  <a:noFill/>
                  <a:round/>
                  <a:headEnd/>
                  <a:tailEnd/>
                </a:ln>
              </p:spPr>
              <p:txBody>
                <a:bodyPr lIns="80147" tIns="40074" rIns="80147" bIns="40074"/>
                <a:lstStyle/>
                <a:p>
                  <a:endParaRPr lang="de-DE" sz="1799"/>
                </a:p>
              </p:txBody>
            </p:sp>
          </p:grpSp>
          <p:grpSp>
            <p:nvGrpSpPr>
              <p:cNvPr id="209" name="8 hexa">
                <a:extLst>
                  <a:ext uri="{FF2B5EF4-FFF2-40B4-BE49-F238E27FC236}">
                    <a16:creationId xmlns:a16="http://schemas.microsoft.com/office/drawing/2014/main" id="{B05BC0DA-8AB5-4C0E-88D1-9CA22B91DA34}"/>
                  </a:ext>
                </a:extLst>
              </p:cNvPr>
              <p:cNvGrpSpPr/>
              <p:nvPr/>
            </p:nvGrpSpPr>
            <p:grpSpPr>
              <a:xfrm>
                <a:off x="623028" y="712573"/>
                <a:ext cx="170993" cy="147408"/>
                <a:chOff x="2468555" y="3934146"/>
                <a:chExt cx="693176" cy="597566"/>
              </a:xfrm>
            </p:grpSpPr>
            <p:sp>
              <p:nvSpPr>
                <p:cNvPr id="273" name="Hexagon 272">
                  <a:extLst>
                    <a:ext uri="{FF2B5EF4-FFF2-40B4-BE49-F238E27FC236}">
                      <a16:creationId xmlns:a16="http://schemas.microsoft.com/office/drawing/2014/main" id="{F679C389-5F10-4793-80AD-B568DDAD253B}"/>
                    </a:ext>
                  </a:extLst>
                </p:cNvPr>
                <p:cNvSpPr/>
                <p:nvPr/>
              </p:nvSpPr>
              <p:spPr>
                <a:xfrm>
                  <a:off x="2468555" y="3934146"/>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74" name="Freeform 171">
                  <a:extLst>
                    <a:ext uri="{FF2B5EF4-FFF2-40B4-BE49-F238E27FC236}">
                      <a16:creationId xmlns:a16="http://schemas.microsoft.com/office/drawing/2014/main" id="{15A6D939-050A-4966-A440-ED6A6A1282E8}"/>
                    </a:ext>
                  </a:extLst>
                </p:cNvPr>
                <p:cNvSpPr>
                  <a:spLocks noChangeAspect="1" noEditPoints="1"/>
                </p:cNvSpPr>
                <p:nvPr/>
              </p:nvSpPr>
              <p:spPr bwMode="blackGray">
                <a:xfrm>
                  <a:off x="2627085" y="4062353"/>
                  <a:ext cx="363922" cy="358252"/>
                </a:xfrm>
                <a:custGeom>
                  <a:avLst/>
                  <a:gdLst>
                    <a:gd name="T0" fmla="*/ 995 w 2754"/>
                    <a:gd name="T1" fmla="*/ 357 h 2556"/>
                    <a:gd name="T2" fmla="*/ 1035 w 2754"/>
                    <a:gd name="T3" fmla="*/ 153 h 2556"/>
                    <a:gd name="T4" fmla="*/ 871 w 2754"/>
                    <a:gd name="T5" fmla="*/ 5 h 2556"/>
                    <a:gd name="T6" fmla="*/ 672 w 2754"/>
                    <a:gd name="T7" fmla="*/ 64 h 2556"/>
                    <a:gd name="T8" fmla="*/ 613 w 2754"/>
                    <a:gd name="T9" fmla="*/ 263 h 2556"/>
                    <a:gd name="T10" fmla="*/ 761 w 2754"/>
                    <a:gd name="T11" fmla="*/ 427 h 2556"/>
                    <a:gd name="T12" fmla="*/ 2272 w 2754"/>
                    <a:gd name="T13" fmla="*/ 186 h 2556"/>
                    <a:gd name="T14" fmla="*/ 2091 w 2754"/>
                    <a:gd name="T15" fmla="*/ 89 h 2556"/>
                    <a:gd name="T16" fmla="*/ 1899 w 2754"/>
                    <a:gd name="T17" fmla="*/ 204 h 2556"/>
                    <a:gd name="T18" fmla="*/ 1899 w 2754"/>
                    <a:gd name="T19" fmla="*/ 411 h 2556"/>
                    <a:gd name="T20" fmla="*/ 2091 w 2754"/>
                    <a:gd name="T21" fmla="*/ 526 h 2556"/>
                    <a:gd name="T22" fmla="*/ 2272 w 2754"/>
                    <a:gd name="T23" fmla="*/ 429 h 2556"/>
                    <a:gd name="T24" fmla="*/ 153 w 2754"/>
                    <a:gd name="T25" fmla="*/ 1154 h 2556"/>
                    <a:gd name="T26" fmla="*/ 5 w 2754"/>
                    <a:gd name="T27" fmla="*/ 1319 h 2556"/>
                    <a:gd name="T28" fmla="*/ 64 w 2754"/>
                    <a:gd name="T29" fmla="*/ 1517 h 2556"/>
                    <a:gd name="T30" fmla="*/ 262 w 2754"/>
                    <a:gd name="T31" fmla="*/ 1577 h 2556"/>
                    <a:gd name="T32" fmla="*/ 427 w 2754"/>
                    <a:gd name="T33" fmla="*/ 1428 h 2556"/>
                    <a:gd name="T34" fmla="*/ 386 w 2754"/>
                    <a:gd name="T35" fmla="*/ 1224 h 2556"/>
                    <a:gd name="T36" fmla="*/ 1228 w 2754"/>
                    <a:gd name="T37" fmla="*/ 764 h 2556"/>
                    <a:gd name="T38" fmla="*/ 1075 w 2754"/>
                    <a:gd name="T39" fmla="*/ 807 h 2556"/>
                    <a:gd name="T40" fmla="*/ 969 w 2754"/>
                    <a:gd name="T41" fmla="*/ 920 h 2556"/>
                    <a:gd name="T42" fmla="*/ 933 w 2754"/>
                    <a:gd name="T43" fmla="*/ 1060 h 2556"/>
                    <a:gd name="T44" fmla="*/ 975 w 2754"/>
                    <a:gd name="T45" fmla="*/ 1214 h 2556"/>
                    <a:gd name="T46" fmla="*/ 1087 w 2754"/>
                    <a:gd name="T47" fmla="*/ 1321 h 2556"/>
                    <a:gd name="T48" fmla="*/ 1228 w 2754"/>
                    <a:gd name="T49" fmla="*/ 1356 h 2556"/>
                    <a:gd name="T50" fmla="*/ 1382 w 2754"/>
                    <a:gd name="T51" fmla="*/ 1313 h 2556"/>
                    <a:gd name="T52" fmla="*/ 1488 w 2754"/>
                    <a:gd name="T53" fmla="*/ 1201 h 2556"/>
                    <a:gd name="T54" fmla="*/ 1524 w 2754"/>
                    <a:gd name="T55" fmla="*/ 1060 h 2556"/>
                    <a:gd name="T56" fmla="*/ 1481 w 2754"/>
                    <a:gd name="T57" fmla="*/ 907 h 2556"/>
                    <a:gd name="T58" fmla="*/ 1370 w 2754"/>
                    <a:gd name="T59" fmla="*/ 800 h 2556"/>
                    <a:gd name="T60" fmla="*/ 2458 w 2754"/>
                    <a:gd name="T61" fmla="*/ 1225 h 2556"/>
                    <a:gd name="T62" fmla="*/ 2317 w 2754"/>
                    <a:gd name="T63" fmla="*/ 1261 h 2556"/>
                    <a:gd name="T64" fmla="*/ 2205 w 2754"/>
                    <a:gd name="T65" fmla="*/ 1367 h 2556"/>
                    <a:gd name="T66" fmla="*/ 2163 w 2754"/>
                    <a:gd name="T67" fmla="*/ 1520 h 2556"/>
                    <a:gd name="T68" fmla="*/ 2198 w 2754"/>
                    <a:gd name="T69" fmla="*/ 1662 h 2556"/>
                    <a:gd name="T70" fmla="*/ 2305 w 2754"/>
                    <a:gd name="T71" fmla="*/ 1774 h 2556"/>
                    <a:gd name="T72" fmla="*/ 2458 w 2754"/>
                    <a:gd name="T73" fmla="*/ 1817 h 2556"/>
                    <a:gd name="T74" fmla="*/ 2599 w 2754"/>
                    <a:gd name="T75" fmla="*/ 1781 h 2556"/>
                    <a:gd name="T76" fmla="*/ 2711 w 2754"/>
                    <a:gd name="T77" fmla="*/ 1675 h 2556"/>
                    <a:gd name="T78" fmla="*/ 2754 w 2754"/>
                    <a:gd name="T79" fmla="*/ 1520 h 2556"/>
                    <a:gd name="T80" fmla="*/ 2718 w 2754"/>
                    <a:gd name="T81" fmla="*/ 1379 h 2556"/>
                    <a:gd name="T82" fmla="*/ 2611 w 2754"/>
                    <a:gd name="T83" fmla="*/ 1268 h 2556"/>
                    <a:gd name="T84" fmla="*/ 2458 w 2754"/>
                    <a:gd name="T85" fmla="*/ 1225 h 2556"/>
                    <a:gd name="T86" fmla="*/ 546 w 2754"/>
                    <a:gd name="T87" fmla="*/ 1307 h 2556"/>
                    <a:gd name="T88" fmla="*/ 1019 w 2754"/>
                    <a:gd name="T89" fmla="*/ 489 h 2556"/>
                    <a:gd name="T90" fmla="*/ 1120 w 2754"/>
                    <a:gd name="T91" fmla="*/ 1499 h 2556"/>
                    <a:gd name="T92" fmla="*/ 2040 w 2754"/>
                    <a:gd name="T93" fmla="*/ 1351 h 2556"/>
                    <a:gd name="T94" fmla="*/ 1539 w 2754"/>
                    <a:gd name="T95" fmla="*/ 733 h 2556"/>
                    <a:gd name="T96" fmla="*/ 765 w 2754"/>
                    <a:gd name="T97" fmla="*/ 1964 h 2556"/>
                    <a:gd name="T98" fmla="*/ 624 w 2754"/>
                    <a:gd name="T99" fmla="*/ 1999 h 2556"/>
                    <a:gd name="T100" fmla="*/ 511 w 2754"/>
                    <a:gd name="T101" fmla="*/ 2106 h 2556"/>
                    <a:gd name="T102" fmla="*/ 469 w 2754"/>
                    <a:gd name="T103" fmla="*/ 2260 h 2556"/>
                    <a:gd name="T104" fmla="*/ 505 w 2754"/>
                    <a:gd name="T105" fmla="*/ 2400 h 2556"/>
                    <a:gd name="T106" fmla="*/ 612 w 2754"/>
                    <a:gd name="T107" fmla="*/ 2513 h 2556"/>
                    <a:gd name="T108" fmla="*/ 765 w 2754"/>
                    <a:gd name="T109" fmla="*/ 2556 h 2556"/>
                    <a:gd name="T110" fmla="*/ 906 w 2754"/>
                    <a:gd name="T111" fmla="*/ 2520 h 2556"/>
                    <a:gd name="T112" fmla="*/ 1017 w 2754"/>
                    <a:gd name="T113" fmla="*/ 2413 h 2556"/>
                    <a:gd name="T114" fmla="*/ 1060 w 2754"/>
                    <a:gd name="T115" fmla="*/ 2260 h 2556"/>
                    <a:gd name="T116" fmla="*/ 1025 w 2754"/>
                    <a:gd name="T117" fmla="*/ 2119 h 2556"/>
                    <a:gd name="T118" fmla="*/ 918 w 2754"/>
                    <a:gd name="T119" fmla="*/ 2007 h 2556"/>
                    <a:gd name="T120" fmla="*/ 765 w 2754"/>
                    <a:gd name="T121" fmla="*/ 1964 h 2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4" h="2556">
                      <a:moveTo>
                        <a:pt x="827" y="436"/>
                      </a:moveTo>
                      <a:lnTo>
                        <a:pt x="827" y="436"/>
                      </a:lnTo>
                      <a:lnTo>
                        <a:pt x="848" y="435"/>
                      </a:lnTo>
                      <a:lnTo>
                        <a:pt x="871" y="432"/>
                      </a:lnTo>
                      <a:lnTo>
                        <a:pt x="891" y="427"/>
                      </a:lnTo>
                      <a:lnTo>
                        <a:pt x="911" y="419"/>
                      </a:lnTo>
                      <a:lnTo>
                        <a:pt x="930" y="410"/>
                      </a:lnTo>
                      <a:lnTo>
                        <a:pt x="948" y="399"/>
                      </a:lnTo>
                      <a:lnTo>
                        <a:pt x="965" y="387"/>
                      </a:lnTo>
                      <a:lnTo>
                        <a:pt x="981" y="373"/>
                      </a:lnTo>
                      <a:lnTo>
                        <a:pt x="995" y="357"/>
                      </a:lnTo>
                      <a:lnTo>
                        <a:pt x="1007" y="340"/>
                      </a:lnTo>
                      <a:lnTo>
                        <a:pt x="1018" y="322"/>
                      </a:lnTo>
                      <a:lnTo>
                        <a:pt x="1027" y="303"/>
                      </a:lnTo>
                      <a:lnTo>
                        <a:pt x="1035" y="283"/>
                      </a:lnTo>
                      <a:lnTo>
                        <a:pt x="1040" y="263"/>
                      </a:lnTo>
                      <a:lnTo>
                        <a:pt x="1043" y="241"/>
                      </a:lnTo>
                      <a:lnTo>
                        <a:pt x="1044" y="219"/>
                      </a:lnTo>
                      <a:lnTo>
                        <a:pt x="1044" y="219"/>
                      </a:lnTo>
                      <a:lnTo>
                        <a:pt x="1043" y="196"/>
                      </a:lnTo>
                      <a:lnTo>
                        <a:pt x="1040" y="175"/>
                      </a:lnTo>
                      <a:lnTo>
                        <a:pt x="1035" y="153"/>
                      </a:lnTo>
                      <a:lnTo>
                        <a:pt x="1027" y="133"/>
                      </a:lnTo>
                      <a:lnTo>
                        <a:pt x="1018" y="114"/>
                      </a:lnTo>
                      <a:lnTo>
                        <a:pt x="1007" y="96"/>
                      </a:lnTo>
                      <a:lnTo>
                        <a:pt x="995" y="79"/>
                      </a:lnTo>
                      <a:lnTo>
                        <a:pt x="981" y="64"/>
                      </a:lnTo>
                      <a:lnTo>
                        <a:pt x="965" y="50"/>
                      </a:lnTo>
                      <a:lnTo>
                        <a:pt x="948" y="37"/>
                      </a:lnTo>
                      <a:lnTo>
                        <a:pt x="930" y="26"/>
                      </a:lnTo>
                      <a:lnTo>
                        <a:pt x="911" y="17"/>
                      </a:lnTo>
                      <a:lnTo>
                        <a:pt x="891" y="10"/>
                      </a:lnTo>
                      <a:lnTo>
                        <a:pt x="871" y="5"/>
                      </a:lnTo>
                      <a:lnTo>
                        <a:pt x="848" y="1"/>
                      </a:lnTo>
                      <a:lnTo>
                        <a:pt x="827" y="0"/>
                      </a:lnTo>
                      <a:lnTo>
                        <a:pt x="827" y="0"/>
                      </a:lnTo>
                      <a:lnTo>
                        <a:pt x="804" y="1"/>
                      </a:lnTo>
                      <a:lnTo>
                        <a:pt x="783" y="5"/>
                      </a:lnTo>
                      <a:lnTo>
                        <a:pt x="761" y="10"/>
                      </a:lnTo>
                      <a:lnTo>
                        <a:pt x="741" y="17"/>
                      </a:lnTo>
                      <a:lnTo>
                        <a:pt x="722" y="26"/>
                      </a:lnTo>
                      <a:lnTo>
                        <a:pt x="704" y="37"/>
                      </a:lnTo>
                      <a:lnTo>
                        <a:pt x="687" y="50"/>
                      </a:lnTo>
                      <a:lnTo>
                        <a:pt x="672" y="64"/>
                      </a:lnTo>
                      <a:lnTo>
                        <a:pt x="658" y="79"/>
                      </a:lnTo>
                      <a:lnTo>
                        <a:pt x="645" y="96"/>
                      </a:lnTo>
                      <a:lnTo>
                        <a:pt x="634" y="114"/>
                      </a:lnTo>
                      <a:lnTo>
                        <a:pt x="625" y="133"/>
                      </a:lnTo>
                      <a:lnTo>
                        <a:pt x="618" y="153"/>
                      </a:lnTo>
                      <a:lnTo>
                        <a:pt x="613" y="175"/>
                      </a:lnTo>
                      <a:lnTo>
                        <a:pt x="609" y="196"/>
                      </a:lnTo>
                      <a:lnTo>
                        <a:pt x="608" y="219"/>
                      </a:lnTo>
                      <a:lnTo>
                        <a:pt x="608" y="219"/>
                      </a:lnTo>
                      <a:lnTo>
                        <a:pt x="609" y="241"/>
                      </a:lnTo>
                      <a:lnTo>
                        <a:pt x="613" y="263"/>
                      </a:lnTo>
                      <a:lnTo>
                        <a:pt x="618" y="283"/>
                      </a:lnTo>
                      <a:lnTo>
                        <a:pt x="625" y="303"/>
                      </a:lnTo>
                      <a:lnTo>
                        <a:pt x="634" y="322"/>
                      </a:lnTo>
                      <a:lnTo>
                        <a:pt x="645" y="340"/>
                      </a:lnTo>
                      <a:lnTo>
                        <a:pt x="658" y="357"/>
                      </a:lnTo>
                      <a:lnTo>
                        <a:pt x="672" y="373"/>
                      </a:lnTo>
                      <a:lnTo>
                        <a:pt x="687" y="387"/>
                      </a:lnTo>
                      <a:lnTo>
                        <a:pt x="704" y="399"/>
                      </a:lnTo>
                      <a:lnTo>
                        <a:pt x="722" y="410"/>
                      </a:lnTo>
                      <a:lnTo>
                        <a:pt x="741" y="419"/>
                      </a:lnTo>
                      <a:lnTo>
                        <a:pt x="761" y="427"/>
                      </a:lnTo>
                      <a:lnTo>
                        <a:pt x="783" y="432"/>
                      </a:lnTo>
                      <a:lnTo>
                        <a:pt x="804" y="435"/>
                      </a:lnTo>
                      <a:lnTo>
                        <a:pt x="827" y="436"/>
                      </a:lnTo>
                      <a:close/>
                      <a:moveTo>
                        <a:pt x="2309" y="308"/>
                      </a:moveTo>
                      <a:lnTo>
                        <a:pt x="2309" y="308"/>
                      </a:lnTo>
                      <a:lnTo>
                        <a:pt x="2308" y="285"/>
                      </a:lnTo>
                      <a:lnTo>
                        <a:pt x="2305" y="264"/>
                      </a:lnTo>
                      <a:lnTo>
                        <a:pt x="2299" y="242"/>
                      </a:lnTo>
                      <a:lnTo>
                        <a:pt x="2291" y="223"/>
                      </a:lnTo>
                      <a:lnTo>
                        <a:pt x="2282" y="204"/>
                      </a:lnTo>
                      <a:lnTo>
                        <a:pt x="2272" y="186"/>
                      </a:lnTo>
                      <a:lnTo>
                        <a:pt x="2258" y="169"/>
                      </a:lnTo>
                      <a:lnTo>
                        <a:pt x="2245" y="153"/>
                      </a:lnTo>
                      <a:lnTo>
                        <a:pt x="2229" y="139"/>
                      </a:lnTo>
                      <a:lnTo>
                        <a:pt x="2212" y="126"/>
                      </a:lnTo>
                      <a:lnTo>
                        <a:pt x="2194" y="116"/>
                      </a:lnTo>
                      <a:lnTo>
                        <a:pt x="2175" y="106"/>
                      </a:lnTo>
                      <a:lnTo>
                        <a:pt x="2155" y="99"/>
                      </a:lnTo>
                      <a:lnTo>
                        <a:pt x="2134" y="94"/>
                      </a:lnTo>
                      <a:lnTo>
                        <a:pt x="2113" y="90"/>
                      </a:lnTo>
                      <a:lnTo>
                        <a:pt x="2091" y="89"/>
                      </a:lnTo>
                      <a:lnTo>
                        <a:pt x="2091" y="89"/>
                      </a:lnTo>
                      <a:lnTo>
                        <a:pt x="2068" y="90"/>
                      </a:lnTo>
                      <a:lnTo>
                        <a:pt x="2047" y="94"/>
                      </a:lnTo>
                      <a:lnTo>
                        <a:pt x="2025" y="99"/>
                      </a:lnTo>
                      <a:lnTo>
                        <a:pt x="2006" y="106"/>
                      </a:lnTo>
                      <a:lnTo>
                        <a:pt x="1987" y="116"/>
                      </a:lnTo>
                      <a:lnTo>
                        <a:pt x="1969" y="126"/>
                      </a:lnTo>
                      <a:lnTo>
                        <a:pt x="1952" y="139"/>
                      </a:lnTo>
                      <a:lnTo>
                        <a:pt x="1936" y="153"/>
                      </a:lnTo>
                      <a:lnTo>
                        <a:pt x="1922" y="169"/>
                      </a:lnTo>
                      <a:lnTo>
                        <a:pt x="1909" y="186"/>
                      </a:lnTo>
                      <a:lnTo>
                        <a:pt x="1899" y="204"/>
                      </a:lnTo>
                      <a:lnTo>
                        <a:pt x="1889" y="223"/>
                      </a:lnTo>
                      <a:lnTo>
                        <a:pt x="1882" y="242"/>
                      </a:lnTo>
                      <a:lnTo>
                        <a:pt x="1877" y="264"/>
                      </a:lnTo>
                      <a:lnTo>
                        <a:pt x="1873" y="285"/>
                      </a:lnTo>
                      <a:lnTo>
                        <a:pt x="1872" y="308"/>
                      </a:lnTo>
                      <a:lnTo>
                        <a:pt x="1872" y="308"/>
                      </a:lnTo>
                      <a:lnTo>
                        <a:pt x="1873" y="330"/>
                      </a:lnTo>
                      <a:lnTo>
                        <a:pt x="1877" y="352"/>
                      </a:lnTo>
                      <a:lnTo>
                        <a:pt x="1882" y="373"/>
                      </a:lnTo>
                      <a:lnTo>
                        <a:pt x="1889" y="392"/>
                      </a:lnTo>
                      <a:lnTo>
                        <a:pt x="1899" y="411"/>
                      </a:lnTo>
                      <a:lnTo>
                        <a:pt x="1909" y="429"/>
                      </a:lnTo>
                      <a:lnTo>
                        <a:pt x="1922" y="446"/>
                      </a:lnTo>
                      <a:lnTo>
                        <a:pt x="1936" y="462"/>
                      </a:lnTo>
                      <a:lnTo>
                        <a:pt x="1952" y="476"/>
                      </a:lnTo>
                      <a:lnTo>
                        <a:pt x="1969" y="489"/>
                      </a:lnTo>
                      <a:lnTo>
                        <a:pt x="1987" y="499"/>
                      </a:lnTo>
                      <a:lnTo>
                        <a:pt x="2006" y="508"/>
                      </a:lnTo>
                      <a:lnTo>
                        <a:pt x="2025" y="516"/>
                      </a:lnTo>
                      <a:lnTo>
                        <a:pt x="2047" y="522"/>
                      </a:lnTo>
                      <a:lnTo>
                        <a:pt x="2068" y="525"/>
                      </a:lnTo>
                      <a:lnTo>
                        <a:pt x="2091" y="526"/>
                      </a:lnTo>
                      <a:lnTo>
                        <a:pt x="2091" y="526"/>
                      </a:lnTo>
                      <a:lnTo>
                        <a:pt x="2113" y="525"/>
                      </a:lnTo>
                      <a:lnTo>
                        <a:pt x="2134" y="522"/>
                      </a:lnTo>
                      <a:lnTo>
                        <a:pt x="2155" y="516"/>
                      </a:lnTo>
                      <a:lnTo>
                        <a:pt x="2175" y="508"/>
                      </a:lnTo>
                      <a:lnTo>
                        <a:pt x="2194" y="499"/>
                      </a:lnTo>
                      <a:lnTo>
                        <a:pt x="2212" y="489"/>
                      </a:lnTo>
                      <a:lnTo>
                        <a:pt x="2229" y="476"/>
                      </a:lnTo>
                      <a:lnTo>
                        <a:pt x="2245" y="462"/>
                      </a:lnTo>
                      <a:lnTo>
                        <a:pt x="2258" y="446"/>
                      </a:lnTo>
                      <a:lnTo>
                        <a:pt x="2272" y="429"/>
                      </a:lnTo>
                      <a:lnTo>
                        <a:pt x="2282" y="411"/>
                      </a:lnTo>
                      <a:lnTo>
                        <a:pt x="2291" y="392"/>
                      </a:lnTo>
                      <a:lnTo>
                        <a:pt x="2299" y="373"/>
                      </a:lnTo>
                      <a:lnTo>
                        <a:pt x="2305" y="352"/>
                      </a:lnTo>
                      <a:lnTo>
                        <a:pt x="2308" y="330"/>
                      </a:lnTo>
                      <a:lnTo>
                        <a:pt x="2309" y="308"/>
                      </a:lnTo>
                      <a:close/>
                      <a:moveTo>
                        <a:pt x="219" y="1145"/>
                      </a:moveTo>
                      <a:lnTo>
                        <a:pt x="219" y="1145"/>
                      </a:lnTo>
                      <a:lnTo>
                        <a:pt x="196" y="1146"/>
                      </a:lnTo>
                      <a:lnTo>
                        <a:pt x="175" y="1148"/>
                      </a:lnTo>
                      <a:lnTo>
                        <a:pt x="153" y="1154"/>
                      </a:lnTo>
                      <a:lnTo>
                        <a:pt x="134" y="1162"/>
                      </a:lnTo>
                      <a:lnTo>
                        <a:pt x="115" y="1171"/>
                      </a:lnTo>
                      <a:lnTo>
                        <a:pt x="97" y="1182"/>
                      </a:lnTo>
                      <a:lnTo>
                        <a:pt x="80" y="1195"/>
                      </a:lnTo>
                      <a:lnTo>
                        <a:pt x="64" y="1208"/>
                      </a:lnTo>
                      <a:lnTo>
                        <a:pt x="50" y="1224"/>
                      </a:lnTo>
                      <a:lnTo>
                        <a:pt x="37" y="1241"/>
                      </a:lnTo>
                      <a:lnTo>
                        <a:pt x="27" y="1259"/>
                      </a:lnTo>
                      <a:lnTo>
                        <a:pt x="17" y="1278"/>
                      </a:lnTo>
                      <a:lnTo>
                        <a:pt x="10" y="1298"/>
                      </a:lnTo>
                      <a:lnTo>
                        <a:pt x="5" y="1319"/>
                      </a:lnTo>
                      <a:lnTo>
                        <a:pt x="1" y="1340"/>
                      </a:lnTo>
                      <a:lnTo>
                        <a:pt x="0" y="1363"/>
                      </a:lnTo>
                      <a:lnTo>
                        <a:pt x="0" y="1363"/>
                      </a:lnTo>
                      <a:lnTo>
                        <a:pt x="1" y="1385"/>
                      </a:lnTo>
                      <a:lnTo>
                        <a:pt x="5" y="1406"/>
                      </a:lnTo>
                      <a:lnTo>
                        <a:pt x="10" y="1428"/>
                      </a:lnTo>
                      <a:lnTo>
                        <a:pt x="17" y="1448"/>
                      </a:lnTo>
                      <a:lnTo>
                        <a:pt x="27" y="1467"/>
                      </a:lnTo>
                      <a:lnTo>
                        <a:pt x="37" y="1485"/>
                      </a:lnTo>
                      <a:lnTo>
                        <a:pt x="50" y="1501"/>
                      </a:lnTo>
                      <a:lnTo>
                        <a:pt x="64" y="1517"/>
                      </a:lnTo>
                      <a:lnTo>
                        <a:pt x="80" y="1532"/>
                      </a:lnTo>
                      <a:lnTo>
                        <a:pt x="97" y="1544"/>
                      </a:lnTo>
                      <a:lnTo>
                        <a:pt x="115" y="1555"/>
                      </a:lnTo>
                      <a:lnTo>
                        <a:pt x="134" y="1564"/>
                      </a:lnTo>
                      <a:lnTo>
                        <a:pt x="153" y="1571"/>
                      </a:lnTo>
                      <a:lnTo>
                        <a:pt x="175" y="1577"/>
                      </a:lnTo>
                      <a:lnTo>
                        <a:pt x="196" y="1580"/>
                      </a:lnTo>
                      <a:lnTo>
                        <a:pt x="219" y="1581"/>
                      </a:lnTo>
                      <a:lnTo>
                        <a:pt x="219" y="1581"/>
                      </a:lnTo>
                      <a:lnTo>
                        <a:pt x="241" y="1580"/>
                      </a:lnTo>
                      <a:lnTo>
                        <a:pt x="262" y="1577"/>
                      </a:lnTo>
                      <a:lnTo>
                        <a:pt x="283" y="1571"/>
                      </a:lnTo>
                      <a:lnTo>
                        <a:pt x="303" y="1564"/>
                      </a:lnTo>
                      <a:lnTo>
                        <a:pt x="322" y="1555"/>
                      </a:lnTo>
                      <a:lnTo>
                        <a:pt x="340" y="1544"/>
                      </a:lnTo>
                      <a:lnTo>
                        <a:pt x="357" y="1532"/>
                      </a:lnTo>
                      <a:lnTo>
                        <a:pt x="373" y="1517"/>
                      </a:lnTo>
                      <a:lnTo>
                        <a:pt x="386" y="1501"/>
                      </a:lnTo>
                      <a:lnTo>
                        <a:pt x="400" y="1485"/>
                      </a:lnTo>
                      <a:lnTo>
                        <a:pt x="410" y="1467"/>
                      </a:lnTo>
                      <a:lnTo>
                        <a:pt x="419" y="1448"/>
                      </a:lnTo>
                      <a:lnTo>
                        <a:pt x="427" y="1428"/>
                      </a:lnTo>
                      <a:lnTo>
                        <a:pt x="433" y="1406"/>
                      </a:lnTo>
                      <a:lnTo>
                        <a:pt x="436" y="1385"/>
                      </a:lnTo>
                      <a:lnTo>
                        <a:pt x="437" y="1363"/>
                      </a:lnTo>
                      <a:lnTo>
                        <a:pt x="437" y="1363"/>
                      </a:lnTo>
                      <a:lnTo>
                        <a:pt x="436" y="1340"/>
                      </a:lnTo>
                      <a:lnTo>
                        <a:pt x="433" y="1319"/>
                      </a:lnTo>
                      <a:lnTo>
                        <a:pt x="427" y="1298"/>
                      </a:lnTo>
                      <a:lnTo>
                        <a:pt x="419" y="1278"/>
                      </a:lnTo>
                      <a:lnTo>
                        <a:pt x="410" y="1259"/>
                      </a:lnTo>
                      <a:lnTo>
                        <a:pt x="400" y="1241"/>
                      </a:lnTo>
                      <a:lnTo>
                        <a:pt x="386" y="1224"/>
                      </a:lnTo>
                      <a:lnTo>
                        <a:pt x="373" y="1208"/>
                      </a:lnTo>
                      <a:lnTo>
                        <a:pt x="357" y="1195"/>
                      </a:lnTo>
                      <a:lnTo>
                        <a:pt x="340" y="1182"/>
                      </a:lnTo>
                      <a:lnTo>
                        <a:pt x="322" y="1171"/>
                      </a:lnTo>
                      <a:lnTo>
                        <a:pt x="303" y="1162"/>
                      </a:lnTo>
                      <a:lnTo>
                        <a:pt x="283" y="1154"/>
                      </a:lnTo>
                      <a:lnTo>
                        <a:pt x="262" y="1148"/>
                      </a:lnTo>
                      <a:lnTo>
                        <a:pt x="241" y="1146"/>
                      </a:lnTo>
                      <a:lnTo>
                        <a:pt x="219" y="1145"/>
                      </a:lnTo>
                      <a:close/>
                      <a:moveTo>
                        <a:pt x="1228" y="764"/>
                      </a:moveTo>
                      <a:lnTo>
                        <a:pt x="1228" y="764"/>
                      </a:lnTo>
                      <a:lnTo>
                        <a:pt x="1213" y="765"/>
                      </a:lnTo>
                      <a:lnTo>
                        <a:pt x="1198" y="766"/>
                      </a:lnTo>
                      <a:lnTo>
                        <a:pt x="1183" y="767"/>
                      </a:lnTo>
                      <a:lnTo>
                        <a:pt x="1169" y="771"/>
                      </a:lnTo>
                      <a:lnTo>
                        <a:pt x="1155" y="774"/>
                      </a:lnTo>
                      <a:lnTo>
                        <a:pt x="1140" y="778"/>
                      </a:lnTo>
                      <a:lnTo>
                        <a:pt x="1126" y="782"/>
                      </a:lnTo>
                      <a:lnTo>
                        <a:pt x="1113" y="788"/>
                      </a:lnTo>
                      <a:lnTo>
                        <a:pt x="1100" y="793"/>
                      </a:lnTo>
                      <a:lnTo>
                        <a:pt x="1087" y="800"/>
                      </a:lnTo>
                      <a:lnTo>
                        <a:pt x="1075" y="807"/>
                      </a:lnTo>
                      <a:lnTo>
                        <a:pt x="1063" y="815"/>
                      </a:lnTo>
                      <a:lnTo>
                        <a:pt x="1051" y="823"/>
                      </a:lnTo>
                      <a:lnTo>
                        <a:pt x="1040" y="832"/>
                      </a:lnTo>
                      <a:lnTo>
                        <a:pt x="1030" y="841"/>
                      </a:lnTo>
                      <a:lnTo>
                        <a:pt x="1019" y="851"/>
                      </a:lnTo>
                      <a:lnTo>
                        <a:pt x="1009" y="861"/>
                      </a:lnTo>
                      <a:lnTo>
                        <a:pt x="1000" y="872"/>
                      </a:lnTo>
                      <a:lnTo>
                        <a:pt x="991" y="884"/>
                      </a:lnTo>
                      <a:lnTo>
                        <a:pt x="983" y="895"/>
                      </a:lnTo>
                      <a:lnTo>
                        <a:pt x="975" y="907"/>
                      </a:lnTo>
                      <a:lnTo>
                        <a:pt x="969" y="920"/>
                      </a:lnTo>
                      <a:lnTo>
                        <a:pt x="962" y="932"/>
                      </a:lnTo>
                      <a:lnTo>
                        <a:pt x="956" y="946"/>
                      </a:lnTo>
                      <a:lnTo>
                        <a:pt x="951" y="959"/>
                      </a:lnTo>
                      <a:lnTo>
                        <a:pt x="946" y="973"/>
                      </a:lnTo>
                      <a:lnTo>
                        <a:pt x="942" y="986"/>
                      </a:lnTo>
                      <a:lnTo>
                        <a:pt x="938" y="1001"/>
                      </a:lnTo>
                      <a:lnTo>
                        <a:pt x="936" y="1015"/>
                      </a:lnTo>
                      <a:lnTo>
                        <a:pt x="934" y="1030"/>
                      </a:lnTo>
                      <a:lnTo>
                        <a:pt x="933" y="1045"/>
                      </a:lnTo>
                      <a:lnTo>
                        <a:pt x="933" y="1060"/>
                      </a:lnTo>
                      <a:lnTo>
                        <a:pt x="933" y="1060"/>
                      </a:lnTo>
                      <a:lnTo>
                        <a:pt x="933" y="1075"/>
                      </a:lnTo>
                      <a:lnTo>
                        <a:pt x="934" y="1091"/>
                      </a:lnTo>
                      <a:lnTo>
                        <a:pt x="936" y="1106"/>
                      </a:lnTo>
                      <a:lnTo>
                        <a:pt x="938" y="1120"/>
                      </a:lnTo>
                      <a:lnTo>
                        <a:pt x="942" y="1134"/>
                      </a:lnTo>
                      <a:lnTo>
                        <a:pt x="946" y="1148"/>
                      </a:lnTo>
                      <a:lnTo>
                        <a:pt x="951" y="1162"/>
                      </a:lnTo>
                      <a:lnTo>
                        <a:pt x="956" y="1175"/>
                      </a:lnTo>
                      <a:lnTo>
                        <a:pt x="962" y="1189"/>
                      </a:lnTo>
                      <a:lnTo>
                        <a:pt x="969" y="1201"/>
                      </a:lnTo>
                      <a:lnTo>
                        <a:pt x="975" y="1214"/>
                      </a:lnTo>
                      <a:lnTo>
                        <a:pt x="983" y="1226"/>
                      </a:lnTo>
                      <a:lnTo>
                        <a:pt x="991" y="1237"/>
                      </a:lnTo>
                      <a:lnTo>
                        <a:pt x="1000" y="1249"/>
                      </a:lnTo>
                      <a:lnTo>
                        <a:pt x="1009" y="1259"/>
                      </a:lnTo>
                      <a:lnTo>
                        <a:pt x="1019" y="1270"/>
                      </a:lnTo>
                      <a:lnTo>
                        <a:pt x="1030" y="1279"/>
                      </a:lnTo>
                      <a:lnTo>
                        <a:pt x="1040" y="1288"/>
                      </a:lnTo>
                      <a:lnTo>
                        <a:pt x="1051" y="1297"/>
                      </a:lnTo>
                      <a:lnTo>
                        <a:pt x="1063" y="1306"/>
                      </a:lnTo>
                      <a:lnTo>
                        <a:pt x="1075" y="1313"/>
                      </a:lnTo>
                      <a:lnTo>
                        <a:pt x="1087" y="1321"/>
                      </a:lnTo>
                      <a:lnTo>
                        <a:pt x="1100" y="1328"/>
                      </a:lnTo>
                      <a:lnTo>
                        <a:pt x="1113" y="1333"/>
                      </a:lnTo>
                      <a:lnTo>
                        <a:pt x="1126" y="1338"/>
                      </a:lnTo>
                      <a:lnTo>
                        <a:pt x="1140" y="1343"/>
                      </a:lnTo>
                      <a:lnTo>
                        <a:pt x="1155" y="1347"/>
                      </a:lnTo>
                      <a:lnTo>
                        <a:pt x="1169" y="1350"/>
                      </a:lnTo>
                      <a:lnTo>
                        <a:pt x="1183" y="1352"/>
                      </a:lnTo>
                      <a:lnTo>
                        <a:pt x="1198" y="1355"/>
                      </a:lnTo>
                      <a:lnTo>
                        <a:pt x="1213" y="1356"/>
                      </a:lnTo>
                      <a:lnTo>
                        <a:pt x="1228" y="1356"/>
                      </a:lnTo>
                      <a:lnTo>
                        <a:pt x="1228" y="1356"/>
                      </a:lnTo>
                      <a:lnTo>
                        <a:pt x="1244" y="1356"/>
                      </a:lnTo>
                      <a:lnTo>
                        <a:pt x="1258" y="1355"/>
                      </a:lnTo>
                      <a:lnTo>
                        <a:pt x="1273" y="1352"/>
                      </a:lnTo>
                      <a:lnTo>
                        <a:pt x="1287" y="1350"/>
                      </a:lnTo>
                      <a:lnTo>
                        <a:pt x="1302" y="1347"/>
                      </a:lnTo>
                      <a:lnTo>
                        <a:pt x="1317" y="1343"/>
                      </a:lnTo>
                      <a:lnTo>
                        <a:pt x="1330" y="1338"/>
                      </a:lnTo>
                      <a:lnTo>
                        <a:pt x="1344" y="1333"/>
                      </a:lnTo>
                      <a:lnTo>
                        <a:pt x="1356" y="1328"/>
                      </a:lnTo>
                      <a:lnTo>
                        <a:pt x="1370" y="1321"/>
                      </a:lnTo>
                      <a:lnTo>
                        <a:pt x="1382" y="1313"/>
                      </a:lnTo>
                      <a:lnTo>
                        <a:pt x="1393" y="1306"/>
                      </a:lnTo>
                      <a:lnTo>
                        <a:pt x="1406" y="1297"/>
                      </a:lnTo>
                      <a:lnTo>
                        <a:pt x="1416" y="1288"/>
                      </a:lnTo>
                      <a:lnTo>
                        <a:pt x="1427" y="1279"/>
                      </a:lnTo>
                      <a:lnTo>
                        <a:pt x="1437" y="1270"/>
                      </a:lnTo>
                      <a:lnTo>
                        <a:pt x="1447" y="1259"/>
                      </a:lnTo>
                      <a:lnTo>
                        <a:pt x="1456" y="1249"/>
                      </a:lnTo>
                      <a:lnTo>
                        <a:pt x="1465" y="1237"/>
                      </a:lnTo>
                      <a:lnTo>
                        <a:pt x="1473" y="1226"/>
                      </a:lnTo>
                      <a:lnTo>
                        <a:pt x="1481" y="1214"/>
                      </a:lnTo>
                      <a:lnTo>
                        <a:pt x="1488" y="1201"/>
                      </a:lnTo>
                      <a:lnTo>
                        <a:pt x="1495" y="1189"/>
                      </a:lnTo>
                      <a:lnTo>
                        <a:pt x="1500" y="1175"/>
                      </a:lnTo>
                      <a:lnTo>
                        <a:pt x="1506" y="1162"/>
                      </a:lnTo>
                      <a:lnTo>
                        <a:pt x="1510" y="1148"/>
                      </a:lnTo>
                      <a:lnTo>
                        <a:pt x="1515" y="1134"/>
                      </a:lnTo>
                      <a:lnTo>
                        <a:pt x="1518" y="1120"/>
                      </a:lnTo>
                      <a:lnTo>
                        <a:pt x="1521" y="1106"/>
                      </a:lnTo>
                      <a:lnTo>
                        <a:pt x="1523" y="1091"/>
                      </a:lnTo>
                      <a:lnTo>
                        <a:pt x="1524" y="1075"/>
                      </a:lnTo>
                      <a:lnTo>
                        <a:pt x="1524" y="1060"/>
                      </a:lnTo>
                      <a:lnTo>
                        <a:pt x="1524" y="1060"/>
                      </a:lnTo>
                      <a:lnTo>
                        <a:pt x="1524" y="1045"/>
                      </a:lnTo>
                      <a:lnTo>
                        <a:pt x="1523" y="1030"/>
                      </a:lnTo>
                      <a:lnTo>
                        <a:pt x="1521" y="1015"/>
                      </a:lnTo>
                      <a:lnTo>
                        <a:pt x="1518" y="1001"/>
                      </a:lnTo>
                      <a:lnTo>
                        <a:pt x="1515" y="986"/>
                      </a:lnTo>
                      <a:lnTo>
                        <a:pt x="1510" y="973"/>
                      </a:lnTo>
                      <a:lnTo>
                        <a:pt x="1506" y="959"/>
                      </a:lnTo>
                      <a:lnTo>
                        <a:pt x="1500" y="946"/>
                      </a:lnTo>
                      <a:lnTo>
                        <a:pt x="1495" y="932"/>
                      </a:lnTo>
                      <a:lnTo>
                        <a:pt x="1488" y="920"/>
                      </a:lnTo>
                      <a:lnTo>
                        <a:pt x="1481" y="907"/>
                      </a:lnTo>
                      <a:lnTo>
                        <a:pt x="1473" y="895"/>
                      </a:lnTo>
                      <a:lnTo>
                        <a:pt x="1465" y="884"/>
                      </a:lnTo>
                      <a:lnTo>
                        <a:pt x="1456" y="872"/>
                      </a:lnTo>
                      <a:lnTo>
                        <a:pt x="1447" y="861"/>
                      </a:lnTo>
                      <a:lnTo>
                        <a:pt x="1437" y="851"/>
                      </a:lnTo>
                      <a:lnTo>
                        <a:pt x="1427" y="841"/>
                      </a:lnTo>
                      <a:lnTo>
                        <a:pt x="1416" y="832"/>
                      </a:lnTo>
                      <a:lnTo>
                        <a:pt x="1406" y="823"/>
                      </a:lnTo>
                      <a:lnTo>
                        <a:pt x="1393" y="815"/>
                      </a:lnTo>
                      <a:lnTo>
                        <a:pt x="1382" y="807"/>
                      </a:lnTo>
                      <a:lnTo>
                        <a:pt x="1370" y="800"/>
                      </a:lnTo>
                      <a:lnTo>
                        <a:pt x="1356" y="793"/>
                      </a:lnTo>
                      <a:lnTo>
                        <a:pt x="1344" y="788"/>
                      </a:lnTo>
                      <a:lnTo>
                        <a:pt x="1330" y="782"/>
                      </a:lnTo>
                      <a:lnTo>
                        <a:pt x="1317" y="778"/>
                      </a:lnTo>
                      <a:lnTo>
                        <a:pt x="1302" y="774"/>
                      </a:lnTo>
                      <a:lnTo>
                        <a:pt x="1287" y="771"/>
                      </a:lnTo>
                      <a:lnTo>
                        <a:pt x="1273" y="767"/>
                      </a:lnTo>
                      <a:lnTo>
                        <a:pt x="1258" y="766"/>
                      </a:lnTo>
                      <a:lnTo>
                        <a:pt x="1244" y="765"/>
                      </a:lnTo>
                      <a:lnTo>
                        <a:pt x="1228" y="764"/>
                      </a:lnTo>
                      <a:close/>
                      <a:moveTo>
                        <a:pt x="2458" y="1225"/>
                      </a:moveTo>
                      <a:lnTo>
                        <a:pt x="2458" y="1225"/>
                      </a:lnTo>
                      <a:lnTo>
                        <a:pt x="2443" y="1225"/>
                      </a:lnTo>
                      <a:lnTo>
                        <a:pt x="2427" y="1226"/>
                      </a:lnTo>
                      <a:lnTo>
                        <a:pt x="2413" y="1228"/>
                      </a:lnTo>
                      <a:lnTo>
                        <a:pt x="2398" y="1231"/>
                      </a:lnTo>
                      <a:lnTo>
                        <a:pt x="2385" y="1234"/>
                      </a:lnTo>
                      <a:lnTo>
                        <a:pt x="2370" y="1239"/>
                      </a:lnTo>
                      <a:lnTo>
                        <a:pt x="2356" y="1243"/>
                      </a:lnTo>
                      <a:lnTo>
                        <a:pt x="2343" y="1249"/>
                      </a:lnTo>
                      <a:lnTo>
                        <a:pt x="2329" y="1254"/>
                      </a:lnTo>
                      <a:lnTo>
                        <a:pt x="2317" y="1261"/>
                      </a:lnTo>
                      <a:lnTo>
                        <a:pt x="2305" y="1268"/>
                      </a:lnTo>
                      <a:lnTo>
                        <a:pt x="2292" y="1276"/>
                      </a:lnTo>
                      <a:lnTo>
                        <a:pt x="2281" y="1284"/>
                      </a:lnTo>
                      <a:lnTo>
                        <a:pt x="2270" y="1293"/>
                      </a:lnTo>
                      <a:lnTo>
                        <a:pt x="2260" y="1302"/>
                      </a:lnTo>
                      <a:lnTo>
                        <a:pt x="2249" y="1312"/>
                      </a:lnTo>
                      <a:lnTo>
                        <a:pt x="2239" y="1322"/>
                      </a:lnTo>
                      <a:lnTo>
                        <a:pt x="2230" y="1332"/>
                      </a:lnTo>
                      <a:lnTo>
                        <a:pt x="2221" y="1343"/>
                      </a:lnTo>
                      <a:lnTo>
                        <a:pt x="2213" y="1356"/>
                      </a:lnTo>
                      <a:lnTo>
                        <a:pt x="2205" y="1367"/>
                      </a:lnTo>
                      <a:lnTo>
                        <a:pt x="2198" y="1379"/>
                      </a:lnTo>
                      <a:lnTo>
                        <a:pt x="2192" y="1393"/>
                      </a:lnTo>
                      <a:lnTo>
                        <a:pt x="2185" y="1405"/>
                      </a:lnTo>
                      <a:lnTo>
                        <a:pt x="2181" y="1419"/>
                      </a:lnTo>
                      <a:lnTo>
                        <a:pt x="2175" y="1432"/>
                      </a:lnTo>
                      <a:lnTo>
                        <a:pt x="2172" y="1447"/>
                      </a:lnTo>
                      <a:lnTo>
                        <a:pt x="2168" y="1462"/>
                      </a:lnTo>
                      <a:lnTo>
                        <a:pt x="2166" y="1475"/>
                      </a:lnTo>
                      <a:lnTo>
                        <a:pt x="2164" y="1491"/>
                      </a:lnTo>
                      <a:lnTo>
                        <a:pt x="2163" y="1506"/>
                      </a:lnTo>
                      <a:lnTo>
                        <a:pt x="2163" y="1520"/>
                      </a:lnTo>
                      <a:lnTo>
                        <a:pt x="2163" y="1520"/>
                      </a:lnTo>
                      <a:lnTo>
                        <a:pt x="2163" y="1536"/>
                      </a:lnTo>
                      <a:lnTo>
                        <a:pt x="2164" y="1551"/>
                      </a:lnTo>
                      <a:lnTo>
                        <a:pt x="2166" y="1565"/>
                      </a:lnTo>
                      <a:lnTo>
                        <a:pt x="2168" y="1580"/>
                      </a:lnTo>
                      <a:lnTo>
                        <a:pt x="2172" y="1595"/>
                      </a:lnTo>
                      <a:lnTo>
                        <a:pt x="2175" y="1609"/>
                      </a:lnTo>
                      <a:lnTo>
                        <a:pt x="2181" y="1623"/>
                      </a:lnTo>
                      <a:lnTo>
                        <a:pt x="2185" y="1636"/>
                      </a:lnTo>
                      <a:lnTo>
                        <a:pt x="2192" y="1649"/>
                      </a:lnTo>
                      <a:lnTo>
                        <a:pt x="2198" y="1662"/>
                      </a:lnTo>
                      <a:lnTo>
                        <a:pt x="2205" y="1675"/>
                      </a:lnTo>
                      <a:lnTo>
                        <a:pt x="2213" y="1686"/>
                      </a:lnTo>
                      <a:lnTo>
                        <a:pt x="2221" y="1698"/>
                      </a:lnTo>
                      <a:lnTo>
                        <a:pt x="2230" y="1710"/>
                      </a:lnTo>
                      <a:lnTo>
                        <a:pt x="2239" y="1720"/>
                      </a:lnTo>
                      <a:lnTo>
                        <a:pt x="2249" y="1730"/>
                      </a:lnTo>
                      <a:lnTo>
                        <a:pt x="2260" y="1740"/>
                      </a:lnTo>
                      <a:lnTo>
                        <a:pt x="2270" y="1749"/>
                      </a:lnTo>
                      <a:lnTo>
                        <a:pt x="2281" y="1758"/>
                      </a:lnTo>
                      <a:lnTo>
                        <a:pt x="2292" y="1766"/>
                      </a:lnTo>
                      <a:lnTo>
                        <a:pt x="2305" y="1774"/>
                      </a:lnTo>
                      <a:lnTo>
                        <a:pt x="2317" y="1781"/>
                      </a:lnTo>
                      <a:lnTo>
                        <a:pt x="2329" y="1787"/>
                      </a:lnTo>
                      <a:lnTo>
                        <a:pt x="2343" y="1793"/>
                      </a:lnTo>
                      <a:lnTo>
                        <a:pt x="2356" y="1799"/>
                      </a:lnTo>
                      <a:lnTo>
                        <a:pt x="2370" y="1803"/>
                      </a:lnTo>
                      <a:lnTo>
                        <a:pt x="2385" y="1808"/>
                      </a:lnTo>
                      <a:lnTo>
                        <a:pt x="2398" y="1811"/>
                      </a:lnTo>
                      <a:lnTo>
                        <a:pt x="2413" y="1813"/>
                      </a:lnTo>
                      <a:lnTo>
                        <a:pt x="2427" y="1816"/>
                      </a:lnTo>
                      <a:lnTo>
                        <a:pt x="2443" y="1817"/>
                      </a:lnTo>
                      <a:lnTo>
                        <a:pt x="2458" y="1817"/>
                      </a:lnTo>
                      <a:lnTo>
                        <a:pt x="2458" y="1817"/>
                      </a:lnTo>
                      <a:lnTo>
                        <a:pt x="2474" y="1817"/>
                      </a:lnTo>
                      <a:lnTo>
                        <a:pt x="2488" y="1816"/>
                      </a:lnTo>
                      <a:lnTo>
                        <a:pt x="2503" y="1813"/>
                      </a:lnTo>
                      <a:lnTo>
                        <a:pt x="2517" y="1811"/>
                      </a:lnTo>
                      <a:lnTo>
                        <a:pt x="2532" y="1808"/>
                      </a:lnTo>
                      <a:lnTo>
                        <a:pt x="2546" y="1803"/>
                      </a:lnTo>
                      <a:lnTo>
                        <a:pt x="2559" y="1799"/>
                      </a:lnTo>
                      <a:lnTo>
                        <a:pt x="2573" y="1793"/>
                      </a:lnTo>
                      <a:lnTo>
                        <a:pt x="2586" y="1787"/>
                      </a:lnTo>
                      <a:lnTo>
                        <a:pt x="2599" y="1781"/>
                      </a:lnTo>
                      <a:lnTo>
                        <a:pt x="2611" y="1774"/>
                      </a:lnTo>
                      <a:lnTo>
                        <a:pt x="2623" y="1766"/>
                      </a:lnTo>
                      <a:lnTo>
                        <a:pt x="2635" y="1758"/>
                      </a:lnTo>
                      <a:lnTo>
                        <a:pt x="2646" y="1749"/>
                      </a:lnTo>
                      <a:lnTo>
                        <a:pt x="2657" y="1740"/>
                      </a:lnTo>
                      <a:lnTo>
                        <a:pt x="2667" y="1730"/>
                      </a:lnTo>
                      <a:lnTo>
                        <a:pt x="2677" y="1720"/>
                      </a:lnTo>
                      <a:lnTo>
                        <a:pt x="2686" y="1710"/>
                      </a:lnTo>
                      <a:lnTo>
                        <a:pt x="2695" y="1698"/>
                      </a:lnTo>
                      <a:lnTo>
                        <a:pt x="2703" y="1686"/>
                      </a:lnTo>
                      <a:lnTo>
                        <a:pt x="2711" y="1675"/>
                      </a:lnTo>
                      <a:lnTo>
                        <a:pt x="2718" y="1662"/>
                      </a:lnTo>
                      <a:lnTo>
                        <a:pt x="2725" y="1649"/>
                      </a:lnTo>
                      <a:lnTo>
                        <a:pt x="2730" y="1636"/>
                      </a:lnTo>
                      <a:lnTo>
                        <a:pt x="2736" y="1623"/>
                      </a:lnTo>
                      <a:lnTo>
                        <a:pt x="2740" y="1609"/>
                      </a:lnTo>
                      <a:lnTo>
                        <a:pt x="2745" y="1595"/>
                      </a:lnTo>
                      <a:lnTo>
                        <a:pt x="2747" y="1580"/>
                      </a:lnTo>
                      <a:lnTo>
                        <a:pt x="2751" y="1565"/>
                      </a:lnTo>
                      <a:lnTo>
                        <a:pt x="2752" y="1551"/>
                      </a:lnTo>
                      <a:lnTo>
                        <a:pt x="2753" y="1536"/>
                      </a:lnTo>
                      <a:lnTo>
                        <a:pt x="2754" y="1520"/>
                      </a:lnTo>
                      <a:lnTo>
                        <a:pt x="2754" y="1520"/>
                      </a:lnTo>
                      <a:lnTo>
                        <a:pt x="2753" y="1506"/>
                      </a:lnTo>
                      <a:lnTo>
                        <a:pt x="2752" y="1491"/>
                      </a:lnTo>
                      <a:lnTo>
                        <a:pt x="2751" y="1475"/>
                      </a:lnTo>
                      <a:lnTo>
                        <a:pt x="2747" y="1462"/>
                      </a:lnTo>
                      <a:lnTo>
                        <a:pt x="2745" y="1447"/>
                      </a:lnTo>
                      <a:lnTo>
                        <a:pt x="2740" y="1432"/>
                      </a:lnTo>
                      <a:lnTo>
                        <a:pt x="2736" y="1419"/>
                      </a:lnTo>
                      <a:lnTo>
                        <a:pt x="2730" y="1405"/>
                      </a:lnTo>
                      <a:lnTo>
                        <a:pt x="2725" y="1393"/>
                      </a:lnTo>
                      <a:lnTo>
                        <a:pt x="2718" y="1379"/>
                      </a:lnTo>
                      <a:lnTo>
                        <a:pt x="2711" y="1367"/>
                      </a:lnTo>
                      <a:lnTo>
                        <a:pt x="2703" y="1356"/>
                      </a:lnTo>
                      <a:lnTo>
                        <a:pt x="2695" y="1343"/>
                      </a:lnTo>
                      <a:lnTo>
                        <a:pt x="2686" y="1332"/>
                      </a:lnTo>
                      <a:lnTo>
                        <a:pt x="2677" y="1322"/>
                      </a:lnTo>
                      <a:lnTo>
                        <a:pt x="2667" y="1312"/>
                      </a:lnTo>
                      <a:lnTo>
                        <a:pt x="2657" y="1302"/>
                      </a:lnTo>
                      <a:lnTo>
                        <a:pt x="2646" y="1293"/>
                      </a:lnTo>
                      <a:lnTo>
                        <a:pt x="2635" y="1284"/>
                      </a:lnTo>
                      <a:lnTo>
                        <a:pt x="2623" y="1276"/>
                      </a:lnTo>
                      <a:lnTo>
                        <a:pt x="2611" y="1268"/>
                      </a:lnTo>
                      <a:lnTo>
                        <a:pt x="2599" y="1261"/>
                      </a:lnTo>
                      <a:lnTo>
                        <a:pt x="2586" y="1254"/>
                      </a:lnTo>
                      <a:lnTo>
                        <a:pt x="2573" y="1249"/>
                      </a:lnTo>
                      <a:lnTo>
                        <a:pt x="2559" y="1243"/>
                      </a:lnTo>
                      <a:lnTo>
                        <a:pt x="2546" y="1239"/>
                      </a:lnTo>
                      <a:lnTo>
                        <a:pt x="2532" y="1234"/>
                      </a:lnTo>
                      <a:lnTo>
                        <a:pt x="2517" y="1231"/>
                      </a:lnTo>
                      <a:lnTo>
                        <a:pt x="2503" y="1228"/>
                      </a:lnTo>
                      <a:lnTo>
                        <a:pt x="2488" y="1226"/>
                      </a:lnTo>
                      <a:lnTo>
                        <a:pt x="2474" y="1225"/>
                      </a:lnTo>
                      <a:lnTo>
                        <a:pt x="2458" y="1225"/>
                      </a:lnTo>
                      <a:close/>
                      <a:moveTo>
                        <a:pt x="819" y="1250"/>
                      </a:moveTo>
                      <a:lnTo>
                        <a:pt x="819" y="1250"/>
                      </a:lnTo>
                      <a:lnTo>
                        <a:pt x="808" y="1225"/>
                      </a:lnTo>
                      <a:lnTo>
                        <a:pt x="799" y="1199"/>
                      </a:lnTo>
                      <a:lnTo>
                        <a:pt x="791" y="1173"/>
                      </a:lnTo>
                      <a:lnTo>
                        <a:pt x="785" y="1146"/>
                      </a:lnTo>
                      <a:lnTo>
                        <a:pt x="524" y="1230"/>
                      </a:lnTo>
                      <a:lnTo>
                        <a:pt x="524" y="1230"/>
                      </a:lnTo>
                      <a:lnTo>
                        <a:pt x="534" y="1254"/>
                      </a:lnTo>
                      <a:lnTo>
                        <a:pt x="542" y="1280"/>
                      </a:lnTo>
                      <a:lnTo>
                        <a:pt x="546" y="1307"/>
                      </a:lnTo>
                      <a:lnTo>
                        <a:pt x="551" y="1335"/>
                      </a:lnTo>
                      <a:lnTo>
                        <a:pt x="819" y="1250"/>
                      </a:lnTo>
                      <a:close/>
                      <a:moveTo>
                        <a:pt x="921" y="538"/>
                      </a:moveTo>
                      <a:lnTo>
                        <a:pt x="992" y="675"/>
                      </a:lnTo>
                      <a:lnTo>
                        <a:pt x="992" y="675"/>
                      </a:lnTo>
                      <a:lnTo>
                        <a:pt x="1016" y="662"/>
                      </a:lnTo>
                      <a:lnTo>
                        <a:pt x="1041" y="649"/>
                      </a:lnTo>
                      <a:lnTo>
                        <a:pt x="1066" y="639"/>
                      </a:lnTo>
                      <a:lnTo>
                        <a:pt x="1091" y="630"/>
                      </a:lnTo>
                      <a:lnTo>
                        <a:pt x="1019" y="489"/>
                      </a:lnTo>
                      <a:lnTo>
                        <a:pt x="1019" y="489"/>
                      </a:lnTo>
                      <a:lnTo>
                        <a:pt x="997" y="504"/>
                      </a:lnTo>
                      <a:lnTo>
                        <a:pt x="973" y="517"/>
                      </a:lnTo>
                      <a:lnTo>
                        <a:pt x="948" y="529"/>
                      </a:lnTo>
                      <a:lnTo>
                        <a:pt x="921" y="538"/>
                      </a:lnTo>
                      <a:close/>
                      <a:moveTo>
                        <a:pt x="879" y="1822"/>
                      </a:moveTo>
                      <a:lnTo>
                        <a:pt x="879" y="1822"/>
                      </a:lnTo>
                      <a:lnTo>
                        <a:pt x="904" y="1830"/>
                      </a:lnTo>
                      <a:lnTo>
                        <a:pt x="930" y="1839"/>
                      </a:lnTo>
                      <a:lnTo>
                        <a:pt x="955" y="1851"/>
                      </a:lnTo>
                      <a:lnTo>
                        <a:pt x="980" y="1863"/>
                      </a:lnTo>
                      <a:lnTo>
                        <a:pt x="1120" y="1499"/>
                      </a:lnTo>
                      <a:lnTo>
                        <a:pt x="1120" y="1499"/>
                      </a:lnTo>
                      <a:lnTo>
                        <a:pt x="1093" y="1491"/>
                      </a:lnTo>
                      <a:lnTo>
                        <a:pt x="1067" y="1482"/>
                      </a:lnTo>
                      <a:lnTo>
                        <a:pt x="1042" y="1472"/>
                      </a:lnTo>
                      <a:lnTo>
                        <a:pt x="1017" y="1459"/>
                      </a:lnTo>
                      <a:lnTo>
                        <a:pt x="879" y="1822"/>
                      </a:lnTo>
                      <a:close/>
                      <a:moveTo>
                        <a:pt x="1631" y="1264"/>
                      </a:moveTo>
                      <a:lnTo>
                        <a:pt x="2022" y="1404"/>
                      </a:lnTo>
                      <a:lnTo>
                        <a:pt x="2022" y="1404"/>
                      </a:lnTo>
                      <a:lnTo>
                        <a:pt x="2030" y="1377"/>
                      </a:lnTo>
                      <a:lnTo>
                        <a:pt x="2040" y="1351"/>
                      </a:lnTo>
                      <a:lnTo>
                        <a:pt x="2050" y="1326"/>
                      </a:lnTo>
                      <a:lnTo>
                        <a:pt x="2062" y="1302"/>
                      </a:lnTo>
                      <a:lnTo>
                        <a:pt x="1668" y="1162"/>
                      </a:lnTo>
                      <a:lnTo>
                        <a:pt x="1668" y="1162"/>
                      </a:lnTo>
                      <a:lnTo>
                        <a:pt x="1661" y="1188"/>
                      </a:lnTo>
                      <a:lnTo>
                        <a:pt x="1652" y="1214"/>
                      </a:lnTo>
                      <a:lnTo>
                        <a:pt x="1642" y="1240"/>
                      </a:lnTo>
                      <a:lnTo>
                        <a:pt x="1631" y="1264"/>
                      </a:lnTo>
                      <a:close/>
                      <a:moveTo>
                        <a:pt x="1810" y="488"/>
                      </a:moveTo>
                      <a:lnTo>
                        <a:pt x="1539" y="733"/>
                      </a:lnTo>
                      <a:lnTo>
                        <a:pt x="1539" y="733"/>
                      </a:lnTo>
                      <a:lnTo>
                        <a:pt x="1558" y="752"/>
                      </a:lnTo>
                      <a:lnTo>
                        <a:pt x="1576" y="772"/>
                      </a:lnTo>
                      <a:lnTo>
                        <a:pt x="1593" y="793"/>
                      </a:lnTo>
                      <a:lnTo>
                        <a:pt x="1608" y="816"/>
                      </a:lnTo>
                      <a:lnTo>
                        <a:pt x="1884" y="569"/>
                      </a:lnTo>
                      <a:lnTo>
                        <a:pt x="1884" y="569"/>
                      </a:lnTo>
                      <a:lnTo>
                        <a:pt x="1863" y="551"/>
                      </a:lnTo>
                      <a:lnTo>
                        <a:pt x="1844" y="532"/>
                      </a:lnTo>
                      <a:lnTo>
                        <a:pt x="1826" y="511"/>
                      </a:lnTo>
                      <a:lnTo>
                        <a:pt x="1810" y="488"/>
                      </a:lnTo>
                      <a:close/>
                      <a:moveTo>
                        <a:pt x="765" y="1964"/>
                      </a:moveTo>
                      <a:lnTo>
                        <a:pt x="765" y="1964"/>
                      </a:lnTo>
                      <a:lnTo>
                        <a:pt x="749" y="1964"/>
                      </a:lnTo>
                      <a:lnTo>
                        <a:pt x="734" y="1965"/>
                      </a:lnTo>
                      <a:lnTo>
                        <a:pt x="720" y="1968"/>
                      </a:lnTo>
                      <a:lnTo>
                        <a:pt x="705" y="1970"/>
                      </a:lnTo>
                      <a:lnTo>
                        <a:pt x="690" y="1973"/>
                      </a:lnTo>
                      <a:lnTo>
                        <a:pt x="677" y="1977"/>
                      </a:lnTo>
                      <a:lnTo>
                        <a:pt x="662" y="1982"/>
                      </a:lnTo>
                      <a:lnTo>
                        <a:pt x="650" y="1987"/>
                      </a:lnTo>
                      <a:lnTo>
                        <a:pt x="636" y="1993"/>
                      </a:lnTo>
                      <a:lnTo>
                        <a:pt x="624" y="1999"/>
                      </a:lnTo>
                      <a:lnTo>
                        <a:pt x="612" y="2007"/>
                      </a:lnTo>
                      <a:lnTo>
                        <a:pt x="599" y="2014"/>
                      </a:lnTo>
                      <a:lnTo>
                        <a:pt x="588" y="2023"/>
                      </a:lnTo>
                      <a:lnTo>
                        <a:pt x="577" y="2032"/>
                      </a:lnTo>
                      <a:lnTo>
                        <a:pt x="565" y="2041"/>
                      </a:lnTo>
                      <a:lnTo>
                        <a:pt x="555" y="2050"/>
                      </a:lnTo>
                      <a:lnTo>
                        <a:pt x="545" y="2061"/>
                      </a:lnTo>
                      <a:lnTo>
                        <a:pt x="536" y="2071"/>
                      </a:lnTo>
                      <a:lnTo>
                        <a:pt x="527" y="2083"/>
                      </a:lnTo>
                      <a:lnTo>
                        <a:pt x="519" y="2094"/>
                      </a:lnTo>
                      <a:lnTo>
                        <a:pt x="511" y="2106"/>
                      </a:lnTo>
                      <a:lnTo>
                        <a:pt x="505" y="2119"/>
                      </a:lnTo>
                      <a:lnTo>
                        <a:pt x="498" y="2131"/>
                      </a:lnTo>
                      <a:lnTo>
                        <a:pt x="492" y="2145"/>
                      </a:lnTo>
                      <a:lnTo>
                        <a:pt x="487" y="2158"/>
                      </a:lnTo>
                      <a:lnTo>
                        <a:pt x="482" y="2172"/>
                      </a:lnTo>
                      <a:lnTo>
                        <a:pt x="478" y="2186"/>
                      </a:lnTo>
                      <a:lnTo>
                        <a:pt x="475" y="2200"/>
                      </a:lnTo>
                      <a:lnTo>
                        <a:pt x="472" y="2215"/>
                      </a:lnTo>
                      <a:lnTo>
                        <a:pt x="471" y="2229"/>
                      </a:lnTo>
                      <a:lnTo>
                        <a:pt x="470" y="2245"/>
                      </a:lnTo>
                      <a:lnTo>
                        <a:pt x="469" y="2260"/>
                      </a:lnTo>
                      <a:lnTo>
                        <a:pt x="469" y="2260"/>
                      </a:lnTo>
                      <a:lnTo>
                        <a:pt x="470" y="2275"/>
                      </a:lnTo>
                      <a:lnTo>
                        <a:pt x="471" y="2290"/>
                      </a:lnTo>
                      <a:lnTo>
                        <a:pt x="472" y="2305"/>
                      </a:lnTo>
                      <a:lnTo>
                        <a:pt x="475" y="2319"/>
                      </a:lnTo>
                      <a:lnTo>
                        <a:pt x="478" y="2334"/>
                      </a:lnTo>
                      <a:lnTo>
                        <a:pt x="482" y="2348"/>
                      </a:lnTo>
                      <a:lnTo>
                        <a:pt x="487" y="2361"/>
                      </a:lnTo>
                      <a:lnTo>
                        <a:pt x="492" y="2375"/>
                      </a:lnTo>
                      <a:lnTo>
                        <a:pt x="498" y="2388"/>
                      </a:lnTo>
                      <a:lnTo>
                        <a:pt x="505" y="2400"/>
                      </a:lnTo>
                      <a:lnTo>
                        <a:pt x="511" y="2413"/>
                      </a:lnTo>
                      <a:lnTo>
                        <a:pt x="519" y="2425"/>
                      </a:lnTo>
                      <a:lnTo>
                        <a:pt x="527" y="2437"/>
                      </a:lnTo>
                      <a:lnTo>
                        <a:pt x="536" y="2448"/>
                      </a:lnTo>
                      <a:lnTo>
                        <a:pt x="545" y="2459"/>
                      </a:lnTo>
                      <a:lnTo>
                        <a:pt x="555" y="2469"/>
                      </a:lnTo>
                      <a:lnTo>
                        <a:pt x="565" y="2479"/>
                      </a:lnTo>
                      <a:lnTo>
                        <a:pt x="577" y="2488"/>
                      </a:lnTo>
                      <a:lnTo>
                        <a:pt x="588" y="2497"/>
                      </a:lnTo>
                      <a:lnTo>
                        <a:pt x="599" y="2505"/>
                      </a:lnTo>
                      <a:lnTo>
                        <a:pt x="612" y="2513"/>
                      </a:lnTo>
                      <a:lnTo>
                        <a:pt x="624" y="2520"/>
                      </a:lnTo>
                      <a:lnTo>
                        <a:pt x="636" y="2527"/>
                      </a:lnTo>
                      <a:lnTo>
                        <a:pt x="650" y="2532"/>
                      </a:lnTo>
                      <a:lnTo>
                        <a:pt x="662" y="2538"/>
                      </a:lnTo>
                      <a:lnTo>
                        <a:pt x="677" y="2542"/>
                      </a:lnTo>
                      <a:lnTo>
                        <a:pt x="690" y="2546"/>
                      </a:lnTo>
                      <a:lnTo>
                        <a:pt x="705" y="2549"/>
                      </a:lnTo>
                      <a:lnTo>
                        <a:pt x="720" y="2553"/>
                      </a:lnTo>
                      <a:lnTo>
                        <a:pt x="734" y="2554"/>
                      </a:lnTo>
                      <a:lnTo>
                        <a:pt x="749" y="2555"/>
                      </a:lnTo>
                      <a:lnTo>
                        <a:pt x="765" y="2556"/>
                      </a:lnTo>
                      <a:lnTo>
                        <a:pt x="765" y="2556"/>
                      </a:lnTo>
                      <a:lnTo>
                        <a:pt x="779" y="2555"/>
                      </a:lnTo>
                      <a:lnTo>
                        <a:pt x="795" y="2554"/>
                      </a:lnTo>
                      <a:lnTo>
                        <a:pt x="810" y="2553"/>
                      </a:lnTo>
                      <a:lnTo>
                        <a:pt x="825" y="2549"/>
                      </a:lnTo>
                      <a:lnTo>
                        <a:pt x="838" y="2546"/>
                      </a:lnTo>
                      <a:lnTo>
                        <a:pt x="853" y="2542"/>
                      </a:lnTo>
                      <a:lnTo>
                        <a:pt x="866" y="2538"/>
                      </a:lnTo>
                      <a:lnTo>
                        <a:pt x="880" y="2532"/>
                      </a:lnTo>
                      <a:lnTo>
                        <a:pt x="893" y="2527"/>
                      </a:lnTo>
                      <a:lnTo>
                        <a:pt x="906" y="2520"/>
                      </a:lnTo>
                      <a:lnTo>
                        <a:pt x="918" y="2513"/>
                      </a:lnTo>
                      <a:lnTo>
                        <a:pt x="930" y="2505"/>
                      </a:lnTo>
                      <a:lnTo>
                        <a:pt x="942" y="2497"/>
                      </a:lnTo>
                      <a:lnTo>
                        <a:pt x="953" y="2488"/>
                      </a:lnTo>
                      <a:lnTo>
                        <a:pt x="963" y="2479"/>
                      </a:lnTo>
                      <a:lnTo>
                        <a:pt x="973" y="2469"/>
                      </a:lnTo>
                      <a:lnTo>
                        <a:pt x="983" y="2459"/>
                      </a:lnTo>
                      <a:lnTo>
                        <a:pt x="992" y="2448"/>
                      </a:lnTo>
                      <a:lnTo>
                        <a:pt x="1001" y="2437"/>
                      </a:lnTo>
                      <a:lnTo>
                        <a:pt x="1009" y="2425"/>
                      </a:lnTo>
                      <a:lnTo>
                        <a:pt x="1017" y="2413"/>
                      </a:lnTo>
                      <a:lnTo>
                        <a:pt x="1025" y="2400"/>
                      </a:lnTo>
                      <a:lnTo>
                        <a:pt x="1031" y="2388"/>
                      </a:lnTo>
                      <a:lnTo>
                        <a:pt x="1037" y="2375"/>
                      </a:lnTo>
                      <a:lnTo>
                        <a:pt x="1042" y="2361"/>
                      </a:lnTo>
                      <a:lnTo>
                        <a:pt x="1048" y="2348"/>
                      </a:lnTo>
                      <a:lnTo>
                        <a:pt x="1051" y="2334"/>
                      </a:lnTo>
                      <a:lnTo>
                        <a:pt x="1054" y="2319"/>
                      </a:lnTo>
                      <a:lnTo>
                        <a:pt x="1057" y="2305"/>
                      </a:lnTo>
                      <a:lnTo>
                        <a:pt x="1059" y="2290"/>
                      </a:lnTo>
                      <a:lnTo>
                        <a:pt x="1060" y="2275"/>
                      </a:lnTo>
                      <a:lnTo>
                        <a:pt x="1060" y="2260"/>
                      </a:lnTo>
                      <a:lnTo>
                        <a:pt x="1060" y="2260"/>
                      </a:lnTo>
                      <a:lnTo>
                        <a:pt x="1060" y="2245"/>
                      </a:lnTo>
                      <a:lnTo>
                        <a:pt x="1059" y="2229"/>
                      </a:lnTo>
                      <a:lnTo>
                        <a:pt x="1057" y="2215"/>
                      </a:lnTo>
                      <a:lnTo>
                        <a:pt x="1054" y="2200"/>
                      </a:lnTo>
                      <a:lnTo>
                        <a:pt x="1051" y="2186"/>
                      </a:lnTo>
                      <a:lnTo>
                        <a:pt x="1048" y="2172"/>
                      </a:lnTo>
                      <a:lnTo>
                        <a:pt x="1042" y="2158"/>
                      </a:lnTo>
                      <a:lnTo>
                        <a:pt x="1037" y="2145"/>
                      </a:lnTo>
                      <a:lnTo>
                        <a:pt x="1031" y="2131"/>
                      </a:lnTo>
                      <a:lnTo>
                        <a:pt x="1025" y="2119"/>
                      </a:lnTo>
                      <a:lnTo>
                        <a:pt x="1017" y="2106"/>
                      </a:lnTo>
                      <a:lnTo>
                        <a:pt x="1009" y="2094"/>
                      </a:lnTo>
                      <a:lnTo>
                        <a:pt x="1001" y="2083"/>
                      </a:lnTo>
                      <a:lnTo>
                        <a:pt x="992" y="2071"/>
                      </a:lnTo>
                      <a:lnTo>
                        <a:pt x="983" y="2061"/>
                      </a:lnTo>
                      <a:lnTo>
                        <a:pt x="973" y="2050"/>
                      </a:lnTo>
                      <a:lnTo>
                        <a:pt x="963" y="2041"/>
                      </a:lnTo>
                      <a:lnTo>
                        <a:pt x="953" y="2032"/>
                      </a:lnTo>
                      <a:lnTo>
                        <a:pt x="942" y="2023"/>
                      </a:lnTo>
                      <a:lnTo>
                        <a:pt x="930" y="2014"/>
                      </a:lnTo>
                      <a:lnTo>
                        <a:pt x="918" y="2007"/>
                      </a:lnTo>
                      <a:lnTo>
                        <a:pt x="906" y="1999"/>
                      </a:lnTo>
                      <a:lnTo>
                        <a:pt x="893" y="1993"/>
                      </a:lnTo>
                      <a:lnTo>
                        <a:pt x="880" y="1987"/>
                      </a:lnTo>
                      <a:lnTo>
                        <a:pt x="866" y="1982"/>
                      </a:lnTo>
                      <a:lnTo>
                        <a:pt x="853" y="1977"/>
                      </a:lnTo>
                      <a:lnTo>
                        <a:pt x="838" y="1973"/>
                      </a:lnTo>
                      <a:lnTo>
                        <a:pt x="825" y="1970"/>
                      </a:lnTo>
                      <a:lnTo>
                        <a:pt x="810" y="1968"/>
                      </a:lnTo>
                      <a:lnTo>
                        <a:pt x="795" y="1965"/>
                      </a:lnTo>
                      <a:lnTo>
                        <a:pt x="779" y="1964"/>
                      </a:lnTo>
                      <a:lnTo>
                        <a:pt x="765" y="1964"/>
                      </a:lnTo>
                      <a:close/>
                    </a:path>
                  </a:pathLst>
                </a:custGeom>
                <a:solidFill>
                  <a:schemeClr val="bg2"/>
                </a:solidFill>
                <a:ln>
                  <a:noFill/>
                </a:ln>
              </p:spPr>
              <p:txBody>
                <a:bodyPr vert="horz" wrap="square" lIns="80147" tIns="40074" rIns="80147" bIns="40074" numCol="1" anchor="t" anchorCtr="0" compatLnSpc="1">
                  <a:prstTxWarp prst="textNoShape">
                    <a:avLst/>
                  </a:prstTxWarp>
                </a:bodyPr>
                <a:lstStyle/>
                <a:p>
                  <a:endParaRPr lang="de-DE" sz="1799"/>
                </a:p>
              </p:txBody>
            </p:sp>
          </p:grpSp>
          <p:grpSp>
            <p:nvGrpSpPr>
              <p:cNvPr id="210" name="5 hexa">
                <a:extLst>
                  <a:ext uri="{FF2B5EF4-FFF2-40B4-BE49-F238E27FC236}">
                    <a16:creationId xmlns:a16="http://schemas.microsoft.com/office/drawing/2014/main" id="{3B7974E6-6837-4746-B7D7-BC24E88EDEFE}"/>
                  </a:ext>
                </a:extLst>
              </p:cNvPr>
              <p:cNvGrpSpPr/>
              <p:nvPr/>
            </p:nvGrpSpPr>
            <p:grpSpPr>
              <a:xfrm>
                <a:off x="756910" y="491332"/>
                <a:ext cx="170993" cy="147408"/>
                <a:chOff x="3011291" y="3037271"/>
                <a:chExt cx="693176" cy="597566"/>
              </a:xfrm>
            </p:grpSpPr>
            <p:sp>
              <p:nvSpPr>
                <p:cNvPr id="271" name="Hexagon 270">
                  <a:extLst>
                    <a:ext uri="{FF2B5EF4-FFF2-40B4-BE49-F238E27FC236}">
                      <a16:creationId xmlns:a16="http://schemas.microsoft.com/office/drawing/2014/main" id="{8FC14E03-3529-42FF-94EC-F67B6E67163C}"/>
                    </a:ext>
                  </a:extLst>
                </p:cNvPr>
                <p:cNvSpPr/>
                <p:nvPr/>
              </p:nvSpPr>
              <p:spPr>
                <a:xfrm>
                  <a:off x="3011291" y="3037271"/>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72" name="Freeform 26">
                  <a:extLst>
                    <a:ext uri="{FF2B5EF4-FFF2-40B4-BE49-F238E27FC236}">
                      <a16:creationId xmlns:a16="http://schemas.microsoft.com/office/drawing/2014/main" id="{38F1A246-81EF-472C-98AC-1B54D1245891}"/>
                    </a:ext>
                  </a:extLst>
                </p:cNvPr>
                <p:cNvSpPr>
                  <a:spLocks noChangeAspect="1" noEditPoints="1"/>
                </p:cNvSpPr>
                <p:nvPr/>
              </p:nvSpPr>
              <p:spPr bwMode="blackGray">
                <a:xfrm>
                  <a:off x="3205081" y="3136604"/>
                  <a:ext cx="305596" cy="358252"/>
                </a:xfrm>
                <a:custGeom>
                  <a:avLst/>
                  <a:gdLst>
                    <a:gd name="T0" fmla="*/ 98 w 110"/>
                    <a:gd name="T1" fmla="*/ 15 h 129"/>
                    <a:gd name="T2" fmla="*/ 71 w 110"/>
                    <a:gd name="T3" fmla="*/ 55 h 129"/>
                    <a:gd name="T4" fmla="*/ 103 w 110"/>
                    <a:gd name="T5" fmla="*/ 87 h 129"/>
                    <a:gd name="T6" fmla="*/ 105 w 110"/>
                    <a:gd name="T7" fmla="*/ 96 h 129"/>
                    <a:gd name="T8" fmla="*/ 97 w 110"/>
                    <a:gd name="T9" fmla="*/ 101 h 129"/>
                    <a:gd name="T10" fmla="*/ 32 w 110"/>
                    <a:gd name="T11" fmla="*/ 75 h 129"/>
                    <a:gd name="T12" fmla="*/ 5 w 110"/>
                    <a:gd name="T13" fmla="*/ 9 h 129"/>
                    <a:gd name="T14" fmla="*/ 10 w 110"/>
                    <a:gd name="T15" fmla="*/ 1 h 129"/>
                    <a:gd name="T16" fmla="*/ 19 w 110"/>
                    <a:gd name="T17" fmla="*/ 3 h 129"/>
                    <a:gd name="T18" fmla="*/ 56 w 110"/>
                    <a:gd name="T19" fmla="*/ 39 h 129"/>
                    <a:gd name="T20" fmla="*/ 96 w 110"/>
                    <a:gd name="T21" fmla="*/ 13 h 129"/>
                    <a:gd name="T22" fmla="*/ 94 w 110"/>
                    <a:gd name="T23" fmla="*/ 8 h 129"/>
                    <a:gd name="T24" fmla="*/ 102 w 110"/>
                    <a:gd name="T25" fmla="*/ 0 h 129"/>
                    <a:gd name="T26" fmla="*/ 110 w 110"/>
                    <a:gd name="T27" fmla="*/ 8 h 129"/>
                    <a:gd name="T28" fmla="*/ 102 w 110"/>
                    <a:gd name="T29" fmla="*/ 16 h 129"/>
                    <a:gd name="T30" fmla="*/ 98 w 110"/>
                    <a:gd name="T31" fmla="*/ 15 h 129"/>
                    <a:gd name="T32" fmla="*/ 46 w 110"/>
                    <a:gd name="T33" fmla="*/ 100 h 129"/>
                    <a:gd name="T34" fmla="*/ 44 w 110"/>
                    <a:gd name="T35" fmla="*/ 98 h 129"/>
                    <a:gd name="T36" fmla="*/ 24 w 110"/>
                    <a:gd name="T37" fmla="*/ 83 h 129"/>
                    <a:gd name="T38" fmla="*/ 24 w 110"/>
                    <a:gd name="T39" fmla="*/ 83 h 129"/>
                    <a:gd name="T40" fmla="*/ 23 w 110"/>
                    <a:gd name="T41" fmla="*/ 83 h 129"/>
                    <a:gd name="T42" fmla="*/ 1 w 110"/>
                    <a:gd name="T43" fmla="*/ 123 h 129"/>
                    <a:gd name="T44" fmla="*/ 1 w 110"/>
                    <a:gd name="T45" fmla="*/ 127 h 129"/>
                    <a:gd name="T46" fmla="*/ 5 w 110"/>
                    <a:gd name="T47" fmla="*/ 129 h 129"/>
                    <a:gd name="T48" fmla="*/ 49 w 110"/>
                    <a:gd name="T49" fmla="*/ 129 h 129"/>
                    <a:gd name="T50" fmla="*/ 52 w 110"/>
                    <a:gd name="T51" fmla="*/ 127 h 129"/>
                    <a:gd name="T52" fmla="*/ 53 w 110"/>
                    <a:gd name="T53" fmla="*/ 124 h 129"/>
                    <a:gd name="T54" fmla="*/ 46 w 110"/>
                    <a:gd name="T55" fmla="*/ 10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129">
                      <a:moveTo>
                        <a:pt x="98" y="15"/>
                      </a:moveTo>
                      <a:cubicBezTo>
                        <a:pt x="71" y="55"/>
                        <a:pt x="71" y="55"/>
                        <a:pt x="71" y="55"/>
                      </a:cubicBezTo>
                      <a:cubicBezTo>
                        <a:pt x="103" y="87"/>
                        <a:pt x="103" y="87"/>
                        <a:pt x="103" y="87"/>
                      </a:cubicBezTo>
                      <a:cubicBezTo>
                        <a:pt x="106" y="90"/>
                        <a:pt x="106" y="93"/>
                        <a:pt x="105" y="96"/>
                      </a:cubicBezTo>
                      <a:cubicBezTo>
                        <a:pt x="104" y="99"/>
                        <a:pt x="101" y="102"/>
                        <a:pt x="97" y="101"/>
                      </a:cubicBezTo>
                      <a:cubicBezTo>
                        <a:pt x="73" y="101"/>
                        <a:pt x="50" y="93"/>
                        <a:pt x="32" y="75"/>
                      </a:cubicBezTo>
                      <a:cubicBezTo>
                        <a:pt x="14" y="57"/>
                        <a:pt x="5" y="33"/>
                        <a:pt x="5" y="9"/>
                      </a:cubicBezTo>
                      <a:cubicBezTo>
                        <a:pt x="5" y="6"/>
                        <a:pt x="7" y="3"/>
                        <a:pt x="10" y="1"/>
                      </a:cubicBezTo>
                      <a:cubicBezTo>
                        <a:pt x="13" y="0"/>
                        <a:pt x="17" y="1"/>
                        <a:pt x="19" y="3"/>
                      </a:cubicBezTo>
                      <a:cubicBezTo>
                        <a:pt x="56" y="39"/>
                        <a:pt x="56" y="39"/>
                        <a:pt x="56" y="39"/>
                      </a:cubicBezTo>
                      <a:cubicBezTo>
                        <a:pt x="96" y="13"/>
                        <a:pt x="96" y="13"/>
                        <a:pt x="96" y="13"/>
                      </a:cubicBezTo>
                      <a:cubicBezTo>
                        <a:pt x="95" y="11"/>
                        <a:pt x="94" y="10"/>
                        <a:pt x="94" y="8"/>
                      </a:cubicBezTo>
                      <a:cubicBezTo>
                        <a:pt x="94" y="4"/>
                        <a:pt x="98" y="0"/>
                        <a:pt x="102" y="0"/>
                      </a:cubicBezTo>
                      <a:cubicBezTo>
                        <a:pt x="107" y="0"/>
                        <a:pt x="110" y="4"/>
                        <a:pt x="110" y="8"/>
                      </a:cubicBezTo>
                      <a:cubicBezTo>
                        <a:pt x="110" y="13"/>
                        <a:pt x="107" y="16"/>
                        <a:pt x="102" y="16"/>
                      </a:cubicBezTo>
                      <a:cubicBezTo>
                        <a:pt x="101" y="16"/>
                        <a:pt x="99" y="16"/>
                        <a:pt x="98" y="15"/>
                      </a:cubicBezTo>
                      <a:close/>
                      <a:moveTo>
                        <a:pt x="46" y="100"/>
                      </a:moveTo>
                      <a:cubicBezTo>
                        <a:pt x="46" y="99"/>
                        <a:pt x="45" y="98"/>
                        <a:pt x="44" y="98"/>
                      </a:cubicBezTo>
                      <a:cubicBezTo>
                        <a:pt x="37" y="94"/>
                        <a:pt x="30" y="89"/>
                        <a:pt x="24" y="83"/>
                      </a:cubicBezTo>
                      <a:cubicBezTo>
                        <a:pt x="24" y="83"/>
                        <a:pt x="24" y="83"/>
                        <a:pt x="24" y="83"/>
                      </a:cubicBezTo>
                      <a:cubicBezTo>
                        <a:pt x="23" y="83"/>
                        <a:pt x="23" y="83"/>
                        <a:pt x="23" y="83"/>
                      </a:cubicBezTo>
                      <a:cubicBezTo>
                        <a:pt x="1" y="123"/>
                        <a:pt x="1" y="123"/>
                        <a:pt x="1" y="123"/>
                      </a:cubicBezTo>
                      <a:cubicBezTo>
                        <a:pt x="0" y="124"/>
                        <a:pt x="0" y="126"/>
                        <a:pt x="1" y="127"/>
                      </a:cubicBezTo>
                      <a:cubicBezTo>
                        <a:pt x="2" y="128"/>
                        <a:pt x="3" y="129"/>
                        <a:pt x="5" y="129"/>
                      </a:cubicBezTo>
                      <a:cubicBezTo>
                        <a:pt x="49" y="129"/>
                        <a:pt x="49" y="129"/>
                        <a:pt x="49" y="129"/>
                      </a:cubicBezTo>
                      <a:cubicBezTo>
                        <a:pt x="50" y="129"/>
                        <a:pt x="51" y="128"/>
                        <a:pt x="52" y="127"/>
                      </a:cubicBezTo>
                      <a:cubicBezTo>
                        <a:pt x="53" y="126"/>
                        <a:pt x="53" y="125"/>
                        <a:pt x="53" y="124"/>
                      </a:cubicBezTo>
                      <a:lnTo>
                        <a:pt x="46" y="10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grpSp>
            <p:nvGrpSpPr>
              <p:cNvPr id="211" name="6 hexa">
                <a:extLst>
                  <a:ext uri="{FF2B5EF4-FFF2-40B4-BE49-F238E27FC236}">
                    <a16:creationId xmlns:a16="http://schemas.microsoft.com/office/drawing/2014/main" id="{0E537189-CC17-4BF2-B69F-F69F7B970C9F}"/>
                  </a:ext>
                </a:extLst>
              </p:cNvPr>
              <p:cNvGrpSpPr/>
              <p:nvPr/>
            </p:nvGrpSpPr>
            <p:grpSpPr>
              <a:xfrm>
                <a:off x="622953" y="565035"/>
                <a:ext cx="170993" cy="147408"/>
                <a:chOff x="2468252" y="3336054"/>
                <a:chExt cx="693176" cy="597566"/>
              </a:xfrm>
            </p:grpSpPr>
            <p:sp>
              <p:nvSpPr>
                <p:cNvPr id="269" name="Hexagon 268">
                  <a:extLst>
                    <a:ext uri="{FF2B5EF4-FFF2-40B4-BE49-F238E27FC236}">
                      <a16:creationId xmlns:a16="http://schemas.microsoft.com/office/drawing/2014/main" id="{83637793-6D6A-4A97-AE1C-170C0C6305B7}"/>
                    </a:ext>
                  </a:extLst>
                </p:cNvPr>
                <p:cNvSpPr/>
                <p:nvPr/>
              </p:nvSpPr>
              <p:spPr>
                <a:xfrm>
                  <a:off x="2468252" y="3336054"/>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70" name="Freeform 32">
                  <a:extLst>
                    <a:ext uri="{FF2B5EF4-FFF2-40B4-BE49-F238E27FC236}">
                      <a16:creationId xmlns:a16="http://schemas.microsoft.com/office/drawing/2014/main" id="{315F64D2-034A-48C8-BC7C-1F3980CC7E7F}"/>
                    </a:ext>
                  </a:extLst>
                </p:cNvPr>
                <p:cNvSpPr>
                  <a:spLocks noChangeAspect="1" noEditPoints="1"/>
                </p:cNvSpPr>
                <p:nvPr/>
              </p:nvSpPr>
              <p:spPr bwMode="blackGray">
                <a:xfrm>
                  <a:off x="2638126" y="3450366"/>
                  <a:ext cx="358257" cy="358252"/>
                </a:xfrm>
                <a:custGeom>
                  <a:avLst/>
                  <a:gdLst>
                    <a:gd name="T0" fmla="*/ 129 w 129"/>
                    <a:gd name="T1" fmla="*/ 57 h 129"/>
                    <a:gd name="T2" fmla="*/ 129 w 129"/>
                    <a:gd name="T3" fmla="*/ 89 h 129"/>
                    <a:gd name="T4" fmla="*/ 113 w 129"/>
                    <a:gd name="T5" fmla="*/ 105 h 129"/>
                    <a:gd name="T6" fmla="*/ 113 w 129"/>
                    <a:gd name="T7" fmla="*/ 129 h 129"/>
                    <a:gd name="T8" fmla="*/ 89 w 129"/>
                    <a:gd name="T9" fmla="*/ 105 h 129"/>
                    <a:gd name="T10" fmla="*/ 49 w 129"/>
                    <a:gd name="T11" fmla="*/ 105 h 129"/>
                    <a:gd name="T12" fmla="*/ 32 w 129"/>
                    <a:gd name="T13" fmla="*/ 89 h 129"/>
                    <a:gd name="T14" fmla="*/ 32 w 129"/>
                    <a:gd name="T15" fmla="*/ 84 h 129"/>
                    <a:gd name="T16" fmla="*/ 44 w 129"/>
                    <a:gd name="T17" fmla="*/ 73 h 129"/>
                    <a:gd name="T18" fmla="*/ 81 w 129"/>
                    <a:gd name="T19" fmla="*/ 73 h 129"/>
                    <a:gd name="T20" fmla="*/ 105 w 129"/>
                    <a:gd name="T21" fmla="*/ 49 h 129"/>
                    <a:gd name="T22" fmla="*/ 105 w 129"/>
                    <a:gd name="T23" fmla="*/ 40 h 129"/>
                    <a:gd name="T24" fmla="*/ 113 w 129"/>
                    <a:gd name="T25" fmla="*/ 40 h 129"/>
                    <a:gd name="T26" fmla="*/ 129 w 129"/>
                    <a:gd name="T27" fmla="*/ 57 h 129"/>
                    <a:gd name="T28" fmla="*/ 40 w 129"/>
                    <a:gd name="T29" fmla="*/ 65 h 129"/>
                    <a:gd name="T30" fmla="*/ 81 w 129"/>
                    <a:gd name="T31" fmla="*/ 65 h 129"/>
                    <a:gd name="T32" fmla="*/ 97 w 129"/>
                    <a:gd name="T33" fmla="*/ 49 h 129"/>
                    <a:gd name="T34" fmla="*/ 97 w 129"/>
                    <a:gd name="T35" fmla="*/ 16 h 129"/>
                    <a:gd name="T36" fmla="*/ 81 w 129"/>
                    <a:gd name="T37" fmla="*/ 0 h 129"/>
                    <a:gd name="T38" fmla="*/ 16 w 129"/>
                    <a:gd name="T39" fmla="*/ 0 h 129"/>
                    <a:gd name="T40" fmla="*/ 0 w 129"/>
                    <a:gd name="T41" fmla="*/ 16 h 129"/>
                    <a:gd name="T42" fmla="*/ 0 w 129"/>
                    <a:gd name="T43" fmla="*/ 49 h 129"/>
                    <a:gd name="T44" fmla="*/ 16 w 129"/>
                    <a:gd name="T45" fmla="*/ 65 h 129"/>
                    <a:gd name="T46" fmla="*/ 16 w 129"/>
                    <a:gd name="T47" fmla="*/ 89 h 129"/>
                    <a:gd name="T48" fmla="*/ 40 w 129"/>
                    <a:gd name="T49"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29">
                      <a:moveTo>
                        <a:pt x="129" y="57"/>
                      </a:moveTo>
                      <a:cubicBezTo>
                        <a:pt x="129" y="89"/>
                        <a:pt x="129" y="89"/>
                        <a:pt x="129" y="89"/>
                      </a:cubicBezTo>
                      <a:cubicBezTo>
                        <a:pt x="129" y="97"/>
                        <a:pt x="121" y="105"/>
                        <a:pt x="113" y="105"/>
                      </a:cubicBezTo>
                      <a:cubicBezTo>
                        <a:pt x="113" y="129"/>
                        <a:pt x="113" y="129"/>
                        <a:pt x="113" y="129"/>
                      </a:cubicBezTo>
                      <a:cubicBezTo>
                        <a:pt x="89" y="105"/>
                        <a:pt x="89" y="105"/>
                        <a:pt x="89" y="105"/>
                      </a:cubicBezTo>
                      <a:cubicBezTo>
                        <a:pt x="49" y="105"/>
                        <a:pt x="49" y="105"/>
                        <a:pt x="49" y="105"/>
                      </a:cubicBezTo>
                      <a:cubicBezTo>
                        <a:pt x="40" y="105"/>
                        <a:pt x="32" y="97"/>
                        <a:pt x="32" y="89"/>
                      </a:cubicBezTo>
                      <a:cubicBezTo>
                        <a:pt x="32" y="84"/>
                        <a:pt x="32" y="84"/>
                        <a:pt x="32" y="84"/>
                      </a:cubicBezTo>
                      <a:cubicBezTo>
                        <a:pt x="44" y="73"/>
                        <a:pt x="44" y="73"/>
                        <a:pt x="44" y="73"/>
                      </a:cubicBezTo>
                      <a:cubicBezTo>
                        <a:pt x="81" y="73"/>
                        <a:pt x="81" y="73"/>
                        <a:pt x="81" y="73"/>
                      </a:cubicBezTo>
                      <a:cubicBezTo>
                        <a:pt x="93" y="73"/>
                        <a:pt x="105" y="61"/>
                        <a:pt x="105" y="49"/>
                      </a:cubicBezTo>
                      <a:cubicBezTo>
                        <a:pt x="105" y="40"/>
                        <a:pt x="105" y="40"/>
                        <a:pt x="105" y="40"/>
                      </a:cubicBezTo>
                      <a:cubicBezTo>
                        <a:pt x="113" y="40"/>
                        <a:pt x="113" y="40"/>
                        <a:pt x="113" y="40"/>
                      </a:cubicBezTo>
                      <a:cubicBezTo>
                        <a:pt x="121" y="40"/>
                        <a:pt x="129" y="49"/>
                        <a:pt x="129" y="57"/>
                      </a:cubicBezTo>
                      <a:close/>
                      <a:moveTo>
                        <a:pt x="40" y="65"/>
                      </a:moveTo>
                      <a:cubicBezTo>
                        <a:pt x="81" y="65"/>
                        <a:pt x="81" y="65"/>
                        <a:pt x="81" y="65"/>
                      </a:cubicBezTo>
                      <a:cubicBezTo>
                        <a:pt x="89" y="65"/>
                        <a:pt x="97" y="57"/>
                        <a:pt x="97" y="49"/>
                      </a:cubicBezTo>
                      <a:cubicBezTo>
                        <a:pt x="97" y="16"/>
                        <a:pt x="97" y="16"/>
                        <a:pt x="97" y="16"/>
                      </a:cubicBezTo>
                      <a:cubicBezTo>
                        <a:pt x="97" y="8"/>
                        <a:pt x="89" y="0"/>
                        <a:pt x="81" y="0"/>
                      </a:cubicBezTo>
                      <a:cubicBezTo>
                        <a:pt x="16" y="0"/>
                        <a:pt x="16" y="0"/>
                        <a:pt x="16" y="0"/>
                      </a:cubicBezTo>
                      <a:cubicBezTo>
                        <a:pt x="8" y="0"/>
                        <a:pt x="0" y="8"/>
                        <a:pt x="0" y="16"/>
                      </a:cubicBezTo>
                      <a:cubicBezTo>
                        <a:pt x="0" y="49"/>
                        <a:pt x="0" y="49"/>
                        <a:pt x="0" y="49"/>
                      </a:cubicBezTo>
                      <a:cubicBezTo>
                        <a:pt x="0" y="57"/>
                        <a:pt x="8" y="65"/>
                        <a:pt x="16" y="65"/>
                      </a:cubicBezTo>
                      <a:cubicBezTo>
                        <a:pt x="16" y="89"/>
                        <a:pt x="16" y="89"/>
                        <a:pt x="16" y="89"/>
                      </a:cubicBezTo>
                      <a:lnTo>
                        <a:pt x="40" y="65"/>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grpSp>
            <p:nvGrpSpPr>
              <p:cNvPr id="212" name="7 hexa">
                <a:extLst>
                  <a:ext uri="{FF2B5EF4-FFF2-40B4-BE49-F238E27FC236}">
                    <a16:creationId xmlns:a16="http://schemas.microsoft.com/office/drawing/2014/main" id="{DB0F858E-E087-411E-91C0-C53D7D177A23}"/>
                  </a:ext>
                </a:extLst>
              </p:cNvPr>
              <p:cNvGrpSpPr/>
              <p:nvPr/>
            </p:nvGrpSpPr>
            <p:grpSpPr>
              <a:xfrm>
                <a:off x="489696" y="491749"/>
                <a:ext cx="170993" cy="147408"/>
                <a:chOff x="1928049" y="3038963"/>
                <a:chExt cx="693176" cy="597566"/>
              </a:xfrm>
            </p:grpSpPr>
            <p:sp>
              <p:nvSpPr>
                <p:cNvPr id="267" name="Hexagon 266">
                  <a:extLst>
                    <a:ext uri="{FF2B5EF4-FFF2-40B4-BE49-F238E27FC236}">
                      <a16:creationId xmlns:a16="http://schemas.microsoft.com/office/drawing/2014/main" id="{46864B81-F378-4342-A1C4-551F4B4BA166}"/>
                    </a:ext>
                  </a:extLst>
                </p:cNvPr>
                <p:cNvSpPr/>
                <p:nvPr/>
              </p:nvSpPr>
              <p:spPr>
                <a:xfrm>
                  <a:off x="1928049" y="3038963"/>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68" name="Freeform 143">
                  <a:extLst>
                    <a:ext uri="{FF2B5EF4-FFF2-40B4-BE49-F238E27FC236}">
                      <a16:creationId xmlns:a16="http://schemas.microsoft.com/office/drawing/2014/main" id="{633F4ACB-AA69-43C4-BCAE-2B9814E83FD8}"/>
                    </a:ext>
                  </a:extLst>
                </p:cNvPr>
                <p:cNvSpPr>
                  <a:spLocks noChangeAspect="1" noEditPoints="1"/>
                </p:cNvSpPr>
                <p:nvPr/>
              </p:nvSpPr>
              <p:spPr bwMode="blackGray">
                <a:xfrm>
                  <a:off x="2104864" y="3199720"/>
                  <a:ext cx="317880" cy="325684"/>
                </a:xfrm>
                <a:custGeom>
                  <a:avLst/>
                  <a:gdLst>
                    <a:gd name="T0" fmla="*/ 120 w 160"/>
                    <a:gd name="T1" fmla="*/ 49 h 164"/>
                    <a:gd name="T2" fmla="*/ 136 w 160"/>
                    <a:gd name="T3" fmla="*/ 47 h 164"/>
                    <a:gd name="T4" fmla="*/ 136 w 160"/>
                    <a:gd name="T5" fmla="*/ 77 h 164"/>
                    <a:gd name="T6" fmla="*/ 80 w 160"/>
                    <a:gd name="T7" fmla="*/ 139 h 164"/>
                    <a:gd name="T8" fmla="*/ 24 w 160"/>
                    <a:gd name="T9" fmla="*/ 77 h 164"/>
                    <a:gd name="T10" fmla="*/ 24 w 160"/>
                    <a:gd name="T11" fmla="*/ 51 h 164"/>
                    <a:gd name="T12" fmla="*/ 40 w 160"/>
                    <a:gd name="T13" fmla="*/ 53 h 164"/>
                    <a:gd name="T14" fmla="*/ 82 w 160"/>
                    <a:gd name="T15" fmla="*/ 33 h 164"/>
                    <a:gd name="T16" fmla="*/ 120 w 160"/>
                    <a:gd name="T17" fmla="*/ 49 h 164"/>
                    <a:gd name="T18" fmla="*/ 160 w 160"/>
                    <a:gd name="T19" fmla="*/ 21 h 164"/>
                    <a:gd name="T20" fmla="*/ 160 w 160"/>
                    <a:gd name="T21" fmla="*/ 77 h 164"/>
                    <a:gd name="T22" fmla="*/ 88 w 160"/>
                    <a:gd name="T23" fmla="*/ 162 h 164"/>
                    <a:gd name="T24" fmla="*/ 73 w 160"/>
                    <a:gd name="T25" fmla="*/ 162 h 164"/>
                    <a:gd name="T26" fmla="*/ 0 w 160"/>
                    <a:gd name="T27" fmla="*/ 77 h 164"/>
                    <a:gd name="T28" fmla="*/ 0 w 160"/>
                    <a:gd name="T29" fmla="*/ 21 h 164"/>
                    <a:gd name="T30" fmla="*/ 7 w 160"/>
                    <a:gd name="T31" fmla="*/ 18 h 164"/>
                    <a:gd name="T32" fmla="*/ 40 w 160"/>
                    <a:gd name="T33" fmla="*/ 29 h 164"/>
                    <a:gd name="T34" fmla="*/ 76 w 160"/>
                    <a:gd name="T35" fmla="*/ 4 h 164"/>
                    <a:gd name="T36" fmla="*/ 85 w 160"/>
                    <a:gd name="T37" fmla="*/ 3 h 164"/>
                    <a:gd name="T38" fmla="*/ 120 w 160"/>
                    <a:gd name="T39" fmla="*/ 25 h 164"/>
                    <a:gd name="T40" fmla="*/ 154 w 160"/>
                    <a:gd name="T41" fmla="*/ 17 h 164"/>
                    <a:gd name="T42" fmla="*/ 160 w 160"/>
                    <a:gd name="T43" fmla="*/ 21 h 164"/>
                    <a:gd name="T44" fmla="*/ 144 w 160"/>
                    <a:gd name="T45" fmla="*/ 37 h 164"/>
                    <a:gd name="T46" fmla="*/ 120 w 160"/>
                    <a:gd name="T47" fmla="*/ 41 h 164"/>
                    <a:gd name="T48" fmla="*/ 81 w 160"/>
                    <a:gd name="T49" fmla="*/ 22 h 164"/>
                    <a:gd name="T50" fmla="*/ 40 w 160"/>
                    <a:gd name="T51" fmla="*/ 45 h 164"/>
                    <a:gd name="T52" fmla="*/ 16 w 160"/>
                    <a:gd name="T53" fmla="*/ 40 h 164"/>
                    <a:gd name="T54" fmla="*/ 16 w 160"/>
                    <a:gd name="T55" fmla="*/ 77 h 164"/>
                    <a:gd name="T56" fmla="*/ 80 w 160"/>
                    <a:gd name="T57" fmla="*/ 148 h 164"/>
                    <a:gd name="T58" fmla="*/ 144 w 160"/>
                    <a:gd name="T59" fmla="*/ 77 h 164"/>
                    <a:gd name="T60" fmla="*/ 144 w 160"/>
                    <a:gd name="T61" fmla="*/ 3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164">
                      <a:moveTo>
                        <a:pt x="120" y="49"/>
                      </a:moveTo>
                      <a:cubicBezTo>
                        <a:pt x="126" y="49"/>
                        <a:pt x="131" y="48"/>
                        <a:pt x="136" y="47"/>
                      </a:cubicBezTo>
                      <a:cubicBezTo>
                        <a:pt x="136" y="77"/>
                        <a:pt x="136" y="77"/>
                        <a:pt x="136" y="77"/>
                      </a:cubicBezTo>
                      <a:cubicBezTo>
                        <a:pt x="136" y="113"/>
                        <a:pt x="97" y="133"/>
                        <a:pt x="80" y="139"/>
                      </a:cubicBezTo>
                      <a:cubicBezTo>
                        <a:pt x="64" y="133"/>
                        <a:pt x="24" y="113"/>
                        <a:pt x="24" y="77"/>
                      </a:cubicBezTo>
                      <a:cubicBezTo>
                        <a:pt x="24" y="51"/>
                        <a:pt x="24" y="51"/>
                        <a:pt x="24" y="51"/>
                      </a:cubicBezTo>
                      <a:cubicBezTo>
                        <a:pt x="30" y="52"/>
                        <a:pt x="35" y="53"/>
                        <a:pt x="40" y="53"/>
                      </a:cubicBezTo>
                      <a:cubicBezTo>
                        <a:pt x="54" y="53"/>
                        <a:pt x="68" y="46"/>
                        <a:pt x="82" y="33"/>
                      </a:cubicBezTo>
                      <a:cubicBezTo>
                        <a:pt x="95" y="43"/>
                        <a:pt x="108" y="49"/>
                        <a:pt x="120" y="49"/>
                      </a:cubicBezTo>
                      <a:close/>
                      <a:moveTo>
                        <a:pt x="160" y="21"/>
                      </a:moveTo>
                      <a:cubicBezTo>
                        <a:pt x="160" y="21"/>
                        <a:pt x="160" y="45"/>
                        <a:pt x="160" y="77"/>
                      </a:cubicBezTo>
                      <a:cubicBezTo>
                        <a:pt x="160" y="141"/>
                        <a:pt x="88" y="162"/>
                        <a:pt x="88" y="162"/>
                      </a:cubicBezTo>
                      <a:cubicBezTo>
                        <a:pt x="84" y="164"/>
                        <a:pt x="77" y="164"/>
                        <a:pt x="73" y="162"/>
                      </a:cubicBezTo>
                      <a:cubicBezTo>
                        <a:pt x="73" y="162"/>
                        <a:pt x="0" y="141"/>
                        <a:pt x="0" y="77"/>
                      </a:cubicBezTo>
                      <a:cubicBezTo>
                        <a:pt x="0" y="41"/>
                        <a:pt x="0" y="21"/>
                        <a:pt x="0" y="21"/>
                      </a:cubicBezTo>
                      <a:cubicBezTo>
                        <a:pt x="0" y="16"/>
                        <a:pt x="3" y="15"/>
                        <a:pt x="7" y="18"/>
                      </a:cubicBezTo>
                      <a:cubicBezTo>
                        <a:pt x="7" y="18"/>
                        <a:pt x="20" y="29"/>
                        <a:pt x="40" y="29"/>
                      </a:cubicBezTo>
                      <a:cubicBezTo>
                        <a:pt x="60" y="29"/>
                        <a:pt x="76" y="4"/>
                        <a:pt x="76" y="4"/>
                      </a:cubicBezTo>
                      <a:cubicBezTo>
                        <a:pt x="78" y="0"/>
                        <a:pt x="82" y="0"/>
                        <a:pt x="85" y="3"/>
                      </a:cubicBezTo>
                      <a:cubicBezTo>
                        <a:pt x="85" y="3"/>
                        <a:pt x="100" y="25"/>
                        <a:pt x="120" y="25"/>
                      </a:cubicBezTo>
                      <a:cubicBezTo>
                        <a:pt x="140" y="25"/>
                        <a:pt x="154" y="17"/>
                        <a:pt x="154" y="17"/>
                      </a:cubicBezTo>
                      <a:cubicBezTo>
                        <a:pt x="157" y="15"/>
                        <a:pt x="160" y="16"/>
                        <a:pt x="160" y="21"/>
                      </a:cubicBezTo>
                      <a:close/>
                      <a:moveTo>
                        <a:pt x="144" y="37"/>
                      </a:moveTo>
                      <a:cubicBezTo>
                        <a:pt x="137" y="39"/>
                        <a:pt x="129" y="41"/>
                        <a:pt x="120" y="41"/>
                      </a:cubicBezTo>
                      <a:cubicBezTo>
                        <a:pt x="105" y="41"/>
                        <a:pt x="91" y="31"/>
                        <a:pt x="81" y="22"/>
                      </a:cubicBezTo>
                      <a:cubicBezTo>
                        <a:pt x="71" y="33"/>
                        <a:pt x="57" y="45"/>
                        <a:pt x="40" y="45"/>
                      </a:cubicBezTo>
                      <a:cubicBezTo>
                        <a:pt x="32" y="45"/>
                        <a:pt x="24" y="43"/>
                        <a:pt x="16" y="40"/>
                      </a:cubicBezTo>
                      <a:cubicBezTo>
                        <a:pt x="16" y="77"/>
                        <a:pt x="16" y="77"/>
                        <a:pt x="16" y="77"/>
                      </a:cubicBezTo>
                      <a:cubicBezTo>
                        <a:pt x="16" y="120"/>
                        <a:pt x="65" y="142"/>
                        <a:pt x="80" y="148"/>
                      </a:cubicBezTo>
                      <a:cubicBezTo>
                        <a:pt x="96" y="142"/>
                        <a:pt x="144" y="120"/>
                        <a:pt x="144" y="77"/>
                      </a:cubicBezTo>
                      <a:lnTo>
                        <a:pt x="144" y="3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sz="1799"/>
                </a:p>
              </p:txBody>
            </p:sp>
          </p:grpSp>
          <p:grpSp>
            <p:nvGrpSpPr>
              <p:cNvPr id="213" name="9 hexa">
                <a:extLst>
                  <a:ext uri="{FF2B5EF4-FFF2-40B4-BE49-F238E27FC236}">
                    <a16:creationId xmlns:a16="http://schemas.microsoft.com/office/drawing/2014/main" id="{3827A85B-D4E6-429D-BECC-2505056F7CE6}"/>
                  </a:ext>
                </a:extLst>
              </p:cNvPr>
              <p:cNvGrpSpPr/>
              <p:nvPr/>
            </p:nvGrpSpPr>
            <p:grpSpPr>
              <a:xfrm>
                <a:off x="757178" y="786079"/>
                <a:ext cx="170993" cy="147408"/>
                <a:chOff x="3012378" y="4232127"/>
                <a:chExt cx="693176" cy="597566"/>
              </a:xfrm>
            </p:grpSpPr>
            <p:sp>
              <p:nvSpPr>
                <p:cNvPr id="265" name="Hexagon 264">
                  <a:extLst>
                    <a:ext uri="{FF2B5EF4-FFF2-40B4-BE49-F238E27FC236}">
                      <a16:creationId xmlns:a16="http://schemas.microsoft.com/office/drawing/2014/main" id="{FFACFD3C-E381-45E7-BE05-4FA35E207AAD}"/>
                    </a:ext>
                  </a:extLst>
                </p:cNvPr>
                <p:cNvSpPr/>
                <p:nvPr/>
              </p:nvSpPr>
              <p:spPr>
                <a:xfrm>
                  <a:off x="3012378" y="4232127"/>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66" name="Freeform 46">
                  <a:extLst>
                    <a:ext uri="{FF2B5EF4-FFF2-40B4-BE49-F238E27FC236}">
                      <a16:creationId xmlns:a16="http://schemas.microsoft.com/office/drawing/2014/main" id="{5CAC2836-E56F-41F6-9AC8-2C6665511F7F}"/>
                    </a:ext>
                  </a:extLst>
                </p:cNvPr>
                <p:cNvSpPr>
                  <a:spLocks noChangeAspect="1" noEditPoints="1"/>
                </p:cNvSpPr>
                <p:nvPr/>
              </p:nvSpPr>
              <p:spPr bwMode="auto">
                <a:xfrm>
                  <a:off x="3163652" y="4398168"/>
                  <a:ext cx="390800" cy="269160"/>
                </a:xfrm>
                <a:custGeom>
                  <a:avLst/>
                  <a:gdLst>
                    <a:gd name="T0" fmla="*/ 64 w 128"/>
                    <a:gd name="T1" fmla="*/ 36 h 88"/>
                    <a:gd name="T2" fmla="*/ 44 w 128"/>
                    <a:gd name="T3" fmla="*/ 60 h 88"/>
                    <a:gd name="T4" fmla="*/ 56 w 128"/>
                    <a:gd name="T5" fmla="*/ 60 h 88"/>
                    <a:gd name="T6" fmla="*/ 56 w 128"/>
                    <a:gd name="T7" fmla="*/ 88 h 88"/>
                    <a:gd name="T8" fmla="*/ 72 w 128"/>
                    <a:gd name="T9" fmla="*/ 88 h 88"/>
                    <a:gd name="T10" fmla="*/ 72 w 128"/>
                    <a:gd name="T11" fmla="*/ 60 h 88"/>
                    <a:gd name="T12" fmla="*/ 84 w 128"/>
                    <a:gd name="T13" fmla="*/ 60 h 88"/>
                    <a:gd name="T14" fmla="*/ 64 w 128"/>
                    <a:gd name="T15" fmla="*/ 36 h 88"/>
                    <a:gd name="T16" fmla="*/ 110 w 128"/>
                    <a:gd name="T17" fmla="*/ 33 h 88"/>
                    <a:gd name="T18" fmla="*/ 86 w 128"/>
                    <a:gd name="T19" fmla="*/ 16 h 88"/>
                    <a:gd name="T20" fmla="*/ 79 w 128"/>
                    <a:gd name="T21" fmla="*/ 17 h 88"/>
                    <a:gd name="T22" fmla="*/ 48 w 128"/>
                    <a:gd name="T23" fmla="*/ 0 h 88"/>
                    <a:gd name="T24" fmla="*/ 12 w 128"/>
                    <a:gd name="T25" fmla="*/ 35 h 88"/>
                    <a:gd name="T26" fmla="*/ 0 w 128"/>
                    <a:gd name="T27" fmla="*/ 56 h 88"/>
                    <a:gd name="T28" fmla="*/ 24 w 128"/>
                    <a:gd name="T29" fmla="*/ 80 h 88"/>
                    <a:gd name="T30" fmla="*/ 48 w 128"/>
                    <a:gd name="T31" fmla="*/ 80 h 88"/>
                    <a:gd name="T32" fmla="*/ 48 w 128"/>
                    <a:gd name="T33" fmla="*/ 72 h 88"/>
                    <a:gd name="T34" fmla="*/ 24 w 128"/>
                    <a:gd name="T35" fmla="*/ 72 h 88"/>
                    <a:gd name="T36" fmla="*/ 8 w 128"/>
                    <a:gd name="T37" fmla="*/ 56 h 88"/>
                    <a:gd name="T38" fmla="*/ 20 w 128"/>
                    <a:gd name="T39" fmla="*/ 40 h 88"/>
                    <a:gd name="T40" fmla="*/ 20 w 128"/>
                    <a:gd name="T41" fmla="*/ 36 h 88"/>
                    <a:gd name="T42" fmla="*/ 48 w 128"/>
                    <a:gd name="T43" fmla="*/ 8 h 88"/>
                    <a:gd name="T44" fmla="*/ 75 w 128"/>
                    <a:gd name="T45" fmla="*/ 28 h 88"/>
                    <a:gd name="T46" fmla="*/ 86 w 128"/>
                    <a:gd name="T47" fmla="*/ 24 h 88"/>
                    <a:gd name="T48" fmla="*/ 104 w 128"/>
                    <a:gd name="T49" fmla="*/ 40 h 88"/>
                    <a:gd name="T50" fmla="*/ 104 w 128"/>
                    <a:gd name="T51" fmla="*/ 40 h 88"/>
                    <a:gd name="T52" fmla="*/ 120 w 128"/>
                    <a:gd name="T53" fmla="*/ 56 h 88"/>
                    <a:gd name="T54" fmla="*/ 104 w 128"/>
                    <a:gd name="T55" fmla="*/ 72 h 88"/>
                    <a:gd name="T56" fmla="*/ 80 w 128"/>
                    <a:gd name="T57" fmla="*/ 72 h 88"/>
                    <a:gd name="T58" fmla="*/ 80 w 128"/>
                    <a:gd name="T59" fmla="*/ 80 h 88"/>
                    <a:gd name="T60" fmla="*/ 104 w 128"/>
                    <a:gd name="T61" fmla="*/ 80 h 88"/>
                    <a:gd name="T62" fmla="*/ 128 w 128"/>
                    <a:gd name="T63" fmla="*/ 56 h 88"/>
                    <a:gd name="T64" fmla="*/ 110 w 128"/>
                    <a:gd name="T65" fmla="*/ 3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88">
                      <a:moveTo>
                        <a:pt x="64" y="36"/>
                      </a:moveTo>
                      <a:cubicBezTo>
                        <a:pt x="44" y="60"/>
                        <a:pt x="44" y="60"/>
                        <a:pt x="44" y="60"/>
                      </a:cubicBezTo>
                      <a:cubicBezTo>
                        <a:pt x="56" y="60"/>
                        <a:pt x="56" y="60"/>
                        <a:pt x="56" y="60"/>
                      </a:cubicBezTo>
                      <a:cubicBezTo>
                        <a:pt x="56" y="88"/>
                        <a:pt x="56" y="88"/>
                        <a:pt x="56" y="88"/>
                      </a:cubicBezTo>
                      <a:cubicBezTo>
                        <a:pt x="72" y="88"/>
                        <a:pt x="72" y="88"/>
                        <a:pt x="72" y="88"/>
                      </a:cubicBezTo>
                      <a:cubicBezTo>
                        <a:pt x="72" y="60"/>
                        <a:pt x="72" y="60"/>
                        <a:pt x="72" y="60"/>
                      </a:cubicBezTo>
                      <a:cubicBezTo>
                        <a:pt x="84" y="60"/>
                        <a:pt x="84" y="60"/>
                        <a:pt x="84" y="60"/>
                      </a:cubicBezTo>
                      <a:lnTo>
                        <a:pt x="64" y="36"/>
                      </a:lnTo>
                      <a:close/>
                      <a:moveTo>
                        <a:pt x="110" y="33"/>
                      </a:moveTo>
                      <a:cubicBezTo>
                        <a:pt x="107" y="23"/>
                        <a:pt x="97" y="16"/>
                        <a:pt x="86" y="16"/>
                      </a:cubicBezTo>
                      <a:cubicBezTo>
                        <a:pt x="83" y="16"/>
                        <a:pt x="81" y="16"/>
                        <a:pt x="79" y="17"/>
                      </a:cubicBezTo>
                      <a:cubicBezTo>
                        <a:pt x="72" y="7"/>
                        <a:pt x="61" y="0"/>
                        <a:pt x="48" y="0"/>
                      </a:cubicBezTo>
                      <a:cubicBezTo>
                        <a:pt x="28" y="0"/>
                        <a:pt x="12" y="16"/>
                        <a:pt x="12" y="35"/>
                      </a:cubicBezTo>
                      <a:cubicBezTo>
                        <a:pt x="5" y="39"/>
                        <a:pt x="0" y="47"/>
                        <a:pt x="0" y="56"/>
                      </a:cubicBezTo>
                      <a:cubicBezTo>
                        <a:pt x="0" y="69"/>
                        <a:pt x="11" y="80"/>
                        <a:pt x="24" y="80"/>
                      </a:cubicBezTo>
                      <a:cubicBezTo>
                        <a:pt x="48" y="80"/>
                        <a:pt x="48" y="80"/>
                        <a:pt x="48" y="80"/>
                      </a:cubicBezTo>
                      <a:cubicBezTo>
                        <a:pt x="48" y="72"/>
                        <a:pt x="48" y="72"/>
                        <a:pt x="48" y="72"/>
                      </a:cubicBezTo>
                      <a:cubicBezTo>
                        <a:pt x="24" y="72"/>
                        <a:pt x="24" y="72"/>
                        <a:pt x="24" y="72"/>
                      </a:cubicBezTo>
                      <a:cubicBezTo>
                        <a:pt x="15" y="72"/>
                        <a:pt x="8" y="65"/>
                        <a:pt x="8" y="56"/>
                      </a:cubicBezTo>
                      <a:cubicBezTo>
                        <a:pt x="8" y="48"/>
                        <a:pt x="13" y="42"/>
                        <a:pt x="20" y="40"/>
                      </a:cubicBezTo>
                      <a:cubicBezTo>
                        <a:pt x="20" y="39"/>
                        <a:pt x="20" y="38"/>
                        <a:pt x="20" y="36"/>
                      </a:cubicBezTo>
                      <a:cubicBezTo>
                        <a:pt x="20" y="21"/>
                        <a:pt x="33" y="8"/>
                        <a:pt x="48" y="8"/>
                      </a:cubicBezTo>
                      <a:cubicBezTo>
                        <a:pt x="61" y="8"/>
                        <a:pt x="71" y="16"/>
                        <a:pt x="75" y="28"/>
                      </a:cubicBezTo>
                      <a:cubicBezTo>
                        <a:pt x="78" y="25"/>
                        <a:pt x="82" y="24"/>
                        <a:pt x="86" y="24"/>
                      </a:cubicBezTo>
                      <a:cubicBezTo>
                        <a:pt x="95" y="24"/>
                        <a:pt x="103" y="31"/>
                        <a:pt x="104" y="40"/>
                      </a:cubicBezTo>
                      <a:cubicBezTo>
                        <a:pt x="104" y="40"/>
                        <a:pt x="104" y="40"/>
                        <a:pt x="104" y="40"/>
                      </a:cubicBezTo>
                      <a:cubicBezTo>
                        <a:pt x="113" y="40"/>
                        <a:pt x="120" y="47"/>
                        <a:pt x="120" y="56"/>
                      </a:cubicBezTo>
                      <a:cubicBezTo>
                        <a:pt x="120" y="65"/>
                        <a:pt x="113" y="72"/>
                        <a:pt x="104" y="72"/>
                      </a:cubicBezTo>
                      <a:cubicBezTo>
                        <a:pt x="80" y="72"/>
                        <a:pt x="80" y="72"/>
                        <a:pt x="80" y="72"/>
                      </a:cubicBezTo>
                      <a:cubicBezTo>
                        <a:pt x="80" y="80"/>
                        <a:pt x="80" y="80"/>
                        <a:pt x="80" y="80"/>
                      </a:cubicBezTo>
                      <a:cubicBezTo>
                        <a:pt x="104" y="80"/>
                        <a:pt x="104" y="80"/>
                        <a:pt x="104" y="80"/>
                      </a:cubicBezTo>
                      <a:cubicBezTo>
                        <a:pt x="117" y="80"/>
                        <a:pt x="128" y="69"/>
                        <a:pt x="128" y="56"/>
                      </a:cubicBezTo>
                      <a:cubicBezTo>
                        <a:pt x="128" y="45"/>
                        <a:pt x="121" y="36"/>
                        <a:pt x="110" y="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799"/>
                </a:p>
              </p:txBody>
            </p:sp>
          </p:grpSp>
          <p:grpSp>
            <p:nvGrpSpPr>
              <p:cNvPr id="214" name="1 hexa Line">
                <a:extLst>
                  <a:ext uri="{FF2B5EF4-FFF2-40B4-BE49-F238E27FC236}">
                    <a16:creationId xmlns:a16="http://schemas.microsoft.com/office/drawing/2014/main" id="{7FE76B9E-1466-4708-9FC8-0BD5799F498D}"/>
                  </a:ext>
                </a:extLst>
              </p:cNvPr>
              <p:cNvGrpSpPr/>
              <p:nvPr/>
            </p:nvGrpSpPr>
            <p:grpSpPr>
              <a:xfrm>
                <a:off x="478136" y="131629"/>
                <a:ext cx="167109" cy="234345"/>
                <a:chOff x="1881188" y="1579096"/>
                <a:chExt cx="677434" cy="949996"/>
              </a:xfrm>
            </p:grpSpPr>
            <p:grpSp>
              <p:nvGrpSpPr>
                <p:cNvPr id="260" name="Group 259">
                  <a:extLst>
                    <a:ext uri="{FF2B5EF4-FFF2-40B4-BE49-F238E27FC236}">
                      <a16:creationId xmlns:a16="http://schemas.microsoft.com/office/drawing/2014/main" id="{7D60860D-D969-4FF2-82A2-56436B190EAA}"/>
                    </a:ext>
                  </a:extLst>
                </p:cNvPr>
                <p:cNvGrpSpPr/>
                <p:nvPr/>
              </p:nvGrpSpPr>
              <p:grpSpPr>
                <a:xfrm>
                  <a:off x="1882940" y="1767197"/>
                  <a:ext cx="675682" cy="761895"/>
                  <a:chOff x="1882940" y="1767197"/>
                  <a:chExt cx="675682" cy="761895"/>
                </a:xfrm>
              </p:grpSpPr>
              <p:sp>
                <p:nvSpPr>
                  <p:cNvPr id="262" name="Hexagon 231">
                    <a:extLst>
                      <a:ext uri="{FF2B5EF4-FFF2-40B4-BE49-F238E27FC236}">
                        <a16:creationId xmlns:a16="http://schemas.microsoft.com/office/drawing/2014/main" id="{03312FE9-60C9-496B-8B3C-5F6AD089EAA6}"/>
                      </a:ext>
                    </a:extLst>
                  </p:cNvPr>
                  <p:cNvSpPr/>
                  <p:nvPr/>
                </p:nvSpPr>
                <p:spPr>
                  <a:xfrm>
                    <a:off x="1882940" y="1803806"/>
                    <a:ext cx="611864" cy="672378"/>
                  </a:xfrm>
                  <a:custGeom>
                    <a:avLst/>
                    <a:gdLst>
                      <a:gd name="connsiteX0" fmla="*/ 0 w 779958"/>
                      <a:gd name="connsiteY0" fmla="*/ 336189 h 672378"/>
                      <a:gd name="connsiteX1" fmla="*/ 168095 w 779958"/>
                      <a:gd name="connsiteY1" fmla="*/ 0 h 672378"/>
                      <a:gd name="connsiteX2" fmla="*/ 611864 w 779958"/>
                      <a:gd name="connsiteY2" fmla="*/ 0 h 672378"/>
                      <a:gd name="connsiteX3" fmla="*/ 779958 w 779958"/>
                      <a:gd name="connsiteY3" fmla="*/ 336189 h 672378"/>
                      <a:gd name="connsiteX4" fmla="*/ 611864 w 779958"/>
                      <a:gd name="connsiteY4" fmla="*/ 672378 h 672378"/>
                      <a:gd name="connsiteX5" fmla="*/ 168095 w 779958"/>
                      <a:gd name="connsiteY5" fmla="*/ 672378 h 672378"/>
                      <a:gd name="connsiteX6" fmla="*/ 0 w 779958"/>
                      <a:gd name="connsiteY6" fmla="*/ 336189 h 672378"/>
                      <a:gd name="connsiteX0" fmla="*/ 611864 w 779958"/>
                      <a:gd name="connsiteY0" fmla="*/ 672378 h 763818"/>
                      <a:gd name="connsiteX1" fmla="*/ 168095 w 779958"/>
                      <a:gd name="connsiteY1" fmla="*/ 672378 h 763818"/>
                      <a:gd name="connsiteX2" fmla="*/ 0 w 779958"/>
                      <a:gd name="connsiteY2" fmla="*/ 336189 h 763818"/>
                      <a:gd name="connsiteX3" fmla="*/ 168095 w 779958"/>
                      <a:gd name="connsiteY3" fmla="*/ 0 h 763818"/>
                      <a:gd name="connsiteX4" fmla="*/ 611864 w 779958"/>
                      <a:gd name="connsiteY4" fmla="*/ 0 h 763818"/>
                      <a:gd name="connsiteX5" fmla="*/ 779958 w 779958"/>
                      <a:gd name="connsiteY5" fmla="*/ 336189 h 763818"/>
                      <a:gd name="connsiteX6" fmla="*/ 703304 w 779958"/>
                      <a:gd name="connsiteY6" fmla="*/ 763818 h 763818"/>
                      <a:gd name="connsiteX0" fmla="*/ 611864 w 779958"/>
                      <a:gd name="connsiteY0" fmla="*/ 672378 h 672378"/>
                      <a:gd name="connsiteX1" fmla="*/ 168095 w 779958"/>
                      <a:gd name="connsiteY1" fmla="*/ 672378 h 672378"/>
                      <a:gd name="connsiteX2" fmla="*/ 0 w 779958"/>
                      <a:gd name="connsiteY2" fmla="*/ 336189 h 672378"/>
                      <a:gd name="connsiteX3" fmla="*/ 168095 w 779958"/>
                      <a:gd name="connsiteY3" fmla="*/ 0 h 672378"/>
                      <a:gd name="connsiteX4" fmla="*/ 611864 w 779958"/>
                      <a:gd name="connsiteY4" fmla="*/ 0 h 672378"/>
                      <a:gd name="connsiteX5" fmla="*/ 779958 w 779958"/>
                      <a:gd name="connsiteY5" fmla="*/ 336189 h 672378"/>
                      <a:gd name="connsiteX0" fmla="*/ 611864 w 611864"/>
                      <a:gd name="connsiteY0" fmla="*/ 672378 h 672378"/>
                      <a:gd name="connsiteX1" fmla="*/ 168095 w 611864"/>
                      <a:gd name="connsiteY1" fmla="*/ 672378 h 672378"/>
                      <a:gd name="connsiteX2" fmla="*/ 0 w 611864"/>
                      <a:gd name="connsiteY2" fmla="*/ 336189 h 672378"/>
                      <a:gd name="connsiteX3" fmla="*/ 168095 w 611864"/>
                      <a:gd name="connsiteY3" fmla="*/ 0 h 672378"/>
                      <a:gd name="connsiteX4" fmla="*/ 611864 w 611864"/>
                      <a:gd name="connsiteY4" fmla="*/ 0 h 672378"/>
                      <a:gd name="connsiteX0" fmla="*/ 168095 w 611864"/>
                      <a:gd name="connsiteY0" fmla="*/ 672378 h 672378"/>
                      <a:gd name="connsiteX1" fmla="*/ 0 w 611864"/>
                      <a:gd name="connsiteY1" fmla="*/ 336189 h 672378"/>
                      <a:gd name="connsiteX2" fmla="*/ 168095 w 611864"/>
                      <a:gd name="connsiteY2" fmla="*/ 0 h 672378"/>
                      <a:gd name="connsiteX3" fmla="*/ 611864 w 611864"/>
                      <a:gd name="connsiteY3" fmla="*/ 0 h 672378"/>
                    </a:gdLst>
                    <a:ahLst/>
                    <a:cxnLst>
                      <a:cxn ang="0">
                        <a:pos x="connsiteX0" y="connsiteY0"/>
                      </a:cxn>
                      <a:cxn ang="0">
                        <a:pos x="connsiteX1" y="connsiteY1"/>
                      </a:cxn>
                      <a:cxn ang="0">
                        <a:pos x="connsiteX2" y="connsiteY2"/>
                      </a:cxn>
                      <a:cxn ang="0">
                        <a:pos x="connsiteX3" y="connsiteY3"/>
                      </a:cxn>
                    </a:cxnLst>
                    <a:rect l="l" t="t" r="r" b="b"/>
                    <a:pathLst>
                      <a:path w="611864" h="672378">
                        <a:moveTo>
                          <a:pt x="168095" y="672378"/>
                        </a:moveTo>
                        <a:lnTo>
                          <a:pt x="0" y="336189"/>
                        </a:lnTo>
                        <a:lnTo>
                          <a:pt x="168095" y="0"/>
                        </a:lnTo>
                        <a:lnTo>
                          <a:pt x="611864" y="0"/>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63" name="Oval 262">
                    <a:extLst>
                      <a:ext uri="{FF2B5EF4-FFF2-40B4-BE49-F238E27FC236}">
                        <a16:creationId xmlns:a16="http://schemas.microsoft.com/office/drawing/2014/main" id="{2BD83DE3-B25E-4921-879B-A1F42AB83CFD}"/>
                      </a:ext>
                    </a:extLst>
                  </p:cNvPr>
                  <p:cNvSpPr>
                    <a:spLocks noChangeAspect="1"/>
                  </p:cNvSpPr>
                  <p:nvPr/>
                </p:nvSpPr>
                <p:spPr>
                  <a:xfrm>
                    <a:off x="2484680" y="1767197"/>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64" name="Oval 263">
                    <a:extLst>
                      <a:ext uri="{FF2B5EF4-FFF2-40B4-BE49-F238E27FC236}">
                        <a16:creationId xmlns:a16="http://schemas.microsoft.com/office/drawing/2014/main" id="{A3338621-C6A4-459D-8485-0CAFF49847A7}"/>
                      </a:ext>
                    </a:extLst>
                  </p:cNvPr>
                  <p:cNvSpPr>
                    <a:spLocks noChangeAspect="1"/>
                  </p:cNvSpPr>
                  <p:nvPr/>
                </p:nvSpPr>
                <p:spPr>
                  <a:xfrm>
                    <a:off x="2024666" y="2455150"/>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61" name="Straight Connector 260">
                  <a:extLst>
                    <a:ext uri="{FF2B5EF4-FFF2-40B4-BE49-F238E27FC236}">
                      <a16:creationId xmlns:a16="http://schemas.microsoft.com/office/drawing/2014/main" id="{00CCD7DF-8611-4C12-839B-C8E74B2BE4D2}"/>
                    </a:ext>
                  </a:extLst>
                </p:cNvPr>
                <p:cNvCxnSpPr>
                  <a:cxnSpLocks/>
                  <a:stCxn id="262" idx="2"/>
                </p:cNvCxnSpPr>
                <p:nvPr/>
              </p:nvCxnSpPr>
              <p:spPr>
                <a:xfrm flipH="1" flipV="1">
                  <a:off x="1881188" y="1579096"/>
                  <a:ext cx="169847" cy="224710"/>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15" name="3 hexa line">
                <a:extLst>
                  <a:ext uri="{FF2B5EF4-FFF2-40B4-BE49-F238E27FC236}">
                    <a16:creationId xmlns:a16="http://schemas.microsoft.com/office/drawing/2014/main" id="{C113138F-8077-4528-BCF2-D2F06BD845CF}"/>
                  </a:ext>
                </a:extLst>
              </p:cNvPr>
              <p:cNvGrpSpPr/>
              <p:nvPr/>
            </p:nvGrpSpPr>
            <p:grpSpPr>
              <a:xfrm>
                <a:off x="775419" y="143134"/>
                <a:ext cx="172960" cy="138638"/>
                <a:chOff x="3086324" y="1625737"/>
                <a:chExt cx="701153" cy="562015"/>
              </a:xfrm>
            </p:grpSpPr>
            <p:grpSp>
              <p:nvGrpSpPr>
                <p:cNvPr id="255" name="Group 254">
                  <a:extLst>
                    <a:ext uri="{FF2B5EF4-FFF2-40B4-BE49-F238E27FC236}">
                      <a16:creationId xmlns:a16="http://schemas.microsoft.com/office/drawing/2014/main" id="{08593F3B-9724-4127-B9C1-12F880630BE9}"/>
                    </a:ext>
                  </a:extLst>
                </p:cNvPr>
                <p:cNvGrpSpPr/>
                <p:nvPr/>
              </p:nvGrpSpPr>
              <p:grpSpPr>
                <a:xfrm>
                  <a:off x="3086324" y="1763386"/>
                  <a:ext cx="701153" cy="424366"/>
                  <a:chOff x="3086324" y="1763386"/>
                  <a:chExt cx="701153" cy="424366"/>
                </a:xfrm>
              </p:grpSpPr>
              <p:sp>
                <p:nvSpPr>
                  <p:cNvPr id="257" name="Hexagon 240">
                    <a:extLst>
                      <a:ext uri="{FF2B5EF4-FFF2-40B4-BE49-F238E27FC236}">
                        <a16:creationId xmlns:a16="http://schemas.microsoft.com/office/drawing/2014/main" id="{6ADE1022-3288-45D4-B0E5-36CC9CED89D6}"/>
                      </a:ext>
                    </a:extLst>
                  </p:cNvPr>
                  <p:cNvSpPr/>
                  <p:nvPr/>
                </p:nvSpPr>
                <p:spPr>
                  <a:xfrm>
                    <a:off x="3137571" y="1805025"/>
                    <a:ext cx="609643" cy="334969"/>
                  </a:xfrm>
                  <a:custGeom>
                    <a:avLst/>
                    <a:gdLst>
                      <a:gd name="connsiteX0" fmla="*/ 0 w 777128"/>
                      <a:gd name="connsiteY0" fmla="*/ 334969 h 669938"/>
                      <a:gd name="connsiteX1" fmla="*/ 167485 w 777128"/>
                      <a:gd name="connsiteY1" fmla="*/ 0 h 669938"/>
                      <a:gd name="connsiteX2" fmla="*/ 609644 w 777128"/>
                      <a:gd name="connsiteY2" fmla="*/ 0 h 669938"/>
                      <a:gd name="connsiteX3" fmla="*/ 777128 w 777128"/>
                      <a:gd name="connsiteY3" fmla="*/ 334969 h 669938"/>
                      <a:gd name="connsiteX4" fmla="*/ 609644 w 777128"/>
                      <a:gd name="connsiteY4" fmla="*/ 669938 h 669938"/>
                      <a:gd name="connsiteX5" fmla="*/ 167485 w 777128"/>
                      <a:gd name="connsiteY5" fmla="*/ 669938 h 669938"/>
                      <a:gd name="connsiteX6" fmla="*/ 0 w 777128"/>
                      <a:gd name="connsiteY6" fmla="*/ 334969 h 669938"/>
                      <a:gd name="connsiteX0" fmla="*/ 0 w 777128"/>
                      <a:gd name="connsiteY0" fmla="*/ 334969 h 669938"/>
                      <a:gd name="connsiteX1" fmla="*/ 167485 w 777128"/>
                      <a:gd name="connsiteY1" fmla="*/ 0 h 669938"/>
                      <a:gd name="connsiteX2" fmla="*/ 609644 w 777128"/>
                      <a:gd name="connsiteY2" fmla="*/ 0 h 669938"/>
                      <a:gd name="connsiteX3" fmla="*/ 777128 w 777128"/>
                      <a:gd name="connsiteY3" fmla="*/ 334969 h 669938"/>
                      <a:gd name="connsiteX4" fmla="*/ 609644 w 777128"/>
                      <a:gd name="connsiteY4" fmla="*/ 669938 h 669938"/>
                      <a:gd name="connsiteX5" fmla="*/ 167485 w 777128"/>
                      <a:gd name="connsiteY5" fmla="*/ 669938 h 669938"/>
                      <a:gd name="connsiteX6" fmla="*/ 91440 w 777128"/>
                      <a:gd name="connsiteY6" fmla="*/ 426409 h 669938"/>
                      <a:gd name="connsiteX0" fmla="*/ 0 w 777128"/>
                      <a:gd name="connsiteY0" fmla="*/ 334969 h 669938"/>
                      <a:gd name="connsiteX1" fmla="*/ 167485 w 777128"/>
                      <a:gd name="connsiteY1" fmla="*/ 0 h 669938"/>
                      <a:gd name="connsiteX2" fmla="*/ 609644 w 777128"/>
                      <a:gd name="connsiteY2" fmla="*/ 0 h 669938"/>
                      <a:gd name="connsiteX3" fmla="*/ 777128 w 777128"/>
                      <a:gd name="connsiteY3" fmla="*/ 334969 h 669938"/>
                      <a:gd name="connsiteX4" fmla="*/ 609644 w 777128"/>
                      <a:gd name="connsiteY4" fmla="*/ 669938 h 669938"/>
                      <a:gd name="connsiteX5" fmla="*/ 167485 w 777128"/>
                      <a:gd name="connsiteY5" fmla="*/ 669938 h 669938"/>
                      <a:gd name="connsiteX0" fmla="*/ 0 w 777128"/>
                      <a:gd name="connsiteY0" fmla="*/ 334969 h 669938"/>
                      <a:gd name="connsiteX1" fmla="*/ 167485 w 777128"/>
                      <a:gd name="connsiteY1" fmla="*/ 0 h 669938"/>
                      <a:gd name="connsiteX2" fmla="*/ 609644 w 777128"/>
                      <a:gd name="connsiteY2" fmla="*/ 0 h 669938"/>
                      <a:gd name="connsiteX3" fmla="*/ 777128 w 777128"/>
                      <a:gd name="connsiteY3" fmla="*/ 334969 h 669938"/>
                      <a:gd name="connsiteX4" fmla="*/ 609644 w 777128"/>
                      <a:gd name="connsiteY4" fmla="*/ 669938 h 669938"/>
                      <a:gd name="connsiteX0" fmla="*/ 0 w 777128"/>
                      <a:gd name="connsiteY0" fmla="*/ 334969 h 334969"/>
                      <a:gd name="connsiteX1" fmla="*/ 167485 w 777128"/>
                      <a:gd name="connsiteY1" fmla="*/ 0 h 334969"/>
                      <a:gd name="connsiteX2" fmla="*/ 609644 w 777128"/>
                      <a:gd name="connsiteY2" fmla="*/ 0 h 334969"/>
                      <a:gd name="connsiteX3" fmla="*/ 777128 w 777128"/>
                      <a:gd name="connsiteY3" fmla="*/ 334969 h 334969"/>
                      <a:gd name="connsiteX0" fmla="*/ 0 w 609643"/>
                      <a:gd name="connsiteY0" fmla="*/ 0 h 334969"/>
                      <a:gd name="connsiteX1" fmla="*/ 442159 w 609643"/>
                      <a:gd name="connsiteY1" fmla="*/ 0 h 334969"/>
                      <a:gd name="connsiteX2" fmla="*/ 609643 w 609643"/>
                      <a:gd name="connsiteY2" fmla="*/ 334969 h 334969"/>
                    </a:gdLst>
                    <a:ahLst/>
                    <a:cxnLst>
                      <a:cxn ang="0">
                        <a:pos x="connsiteX0" y="connsiteY0"/>
                      </a:cxn>
                      <a:cxn ang="0">
                        <a:pos x="connsiteX1" y="connsiteY1"/>
                      </a:cxn>
                      <a:cxn ang="0">
                        <a:pos x="connsiteX2" y="connsiteY2"/>
                      </a:cxn>
                    </a:cxnLst>
                    <a:rect l="l" t="t" r="r" b="b"/>
                    <a:pathLst>
                      <a:path w="609643" h="334969">
                        <a:moveTo>
                          <a:pt x="0" y="0"/>
                        </a:moveTo>
                        <a:lnTo>
                          <a:pt x="442159" y="0"/>
                        </a:lnTo>
                        <a:lnTo>
                          <a:pt x="609643" y="334969"/>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58" name="Oval 257">
                    <a:extLst>
                      <a:ext uri="{FF2B5EF4-FFF2-40B4-BE49-F238E27FC236}">
                        <a16:creationId xmlns:a16="http://schemas.microsoft.com/office/drawing/2014/main" id="{197DB1A7-948F-4493-8413-6BE13E6B49C0}"/>
                      </a:ext>
                    </a:extLst>
                  </p:cNvPr>
                  <p:cNvSpPr>
                    <a:spLocks noChangeAspect="1"/>
                  </p:cNvSpPr>
                  <p:nvPr/>
                </p:nvSpPr>
                <p:spPr>
                  <a:xfrm>
                    <a:off x="3713535" y="2113810"/>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59" name="Oval 258">
                    <a:extLst>
                      <a:ext uri="{FF2B5EF4-FFF2-40B4-BE49-F238E27FC236}">
                        <a16:creationId xmlns:a16="http://schemas.microsoft.com/office/drawing/2014/main" id="{E491947E-04DB-4635-B13A-C64ACBCF1CE1}"/>
                      </a:ext>
                    </a:extLst>
                  </p:cNvPr>
                  <p:cNvSpPr>
                    <a:spLocks noChangeAspect="1"/>
                  </p:cNvSpPr>
                  <p:nvPr/>
                </p:nvSpPr>
                <p:spPr>
                  <a:xfrm>
                    <a:off x="3086324" y="1763386"/>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56" name="Straight Connector 255">
                  <a:extLst>
                    <a:ext uri="{FF2B5EF4-FFF2-40B4-BE49-F238E27FC236}">
                      <a16:creationId xmlns:a16="http://schemas.microsoft.com/office/drawing/2014/main" id="{064CD2AD-642D-4299-8798-FD7127F0AAEA}"/>
                    </a:ext>
                  </a:extLst>
                </p:cNvPr>
                <p:cNvCxnSpPr>
                  <a:cxnSpLocks/>
                  <a:stCxn id="257" idx="1"/>
                </p:cNvCxnSpPr>
                <p:nvPr/>
              </p:nvCxnSpPr>
              <p:spPr>
                <a:xfrm flipV="1">
                  <a:off x="3579730" y="1625737"/>
                  <a:ext cx="98600" cy="179288"/>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16" name="4 hexa line">
                <a:extLst>
                  <a:ext uri="{FF2B5EF4-FFF2-40B4-BE49-F238E27FC236}">
                    <a16:creationId xmlns:a16="http://schemas.microsoft.com/office/drawing/2014/main" id="{52C51D9D-80AA-4A6E-8DA2-320DFC3115D9}"/>
                  </a:ext>
                </a:extLst>
              </p:cNvPr>
              <p:cNvGrpSpPr/>
              <p:nvPr/>
            </p:nvGrpSpPr>
            <p:grpSpPr>
              <a:xfrm>
                <a:off x="897324" y="332946"/>
                <a:ext cx="293510" cy="166631"/>
                <a:chOff x="3580507" y="2395202"/>
                <a:chExt cx="1189842" cy="675494"/>
              </a:xfrm>
            </p:grpSpPr>
            <p:grpSp>
              <p:nvGrpSpPr>
                <p:cNvPr id="250" name="Group 249">
                  <a:extLst>
                    <a:ext uri="{FF2B5EF4-FFF2-40B4-BE49-F238E27FC236}">
                      <a16:creationId xmlns:a16="http://schemas.microsoft.com/office/drawing/2014/main" id="{694FBB89-F1F5-4A00-9A6B-34C399B94B90}"/>
                    </a:ext>
                  </a:extLst>
                </p:cNvPr>
                <p:cNvGrpSpPr/>
                <p:nvPr/>
              </p:nvGrpSpPr>
              <p:grpSpPr>
                <a:xfrm>
                  <a:off x="3580507" y="2395202"/>
                  <a:ext cx="188415" cy="675494"/>
                  <a:chOff x="3580507" y="2395202"/>
                  <a:chExt cx="188415" cy="675494"/>
                </a:xfrm>
              </p:grpSpPr>
              <p:sp>
                <p:nvSpPr>
                  <p:cNvPr id="252" name="Hexagon 241">
                    <a:extLst>
                      <a:ext uri="{FF2B5EF4-FFF2-40B4-BE49-F238E27FC236}">
                        <a16:creationId xmlns:a16="http://schemas.microsoft.com/office/drawing/2014/main" id="{5B67061B-57E5-4EB7-9FF1-9F688EA7B44C}"/>
                      </a:ext>
                    </a:extLst>
                  </p:cNvPr>
                  <p:cNvSpPr/>
                  <p:nvPr/>
                </p:nvSpPr>
                <p:spPr>
                  <a:xfrm>
                    <a:off x="3609626" y="2419060"/>
                    <a:ext cx="159296" cy="637184"/>
                  </a:xfrm>
                  <a:custGeom>
                    <a:avLst/>
                    <a:gdLst>
                      <a:gd name="connsiteX0" fmla="*/ 0 w 844872"/>
                      <a:gd name="connsiteY0" fmla="*/ 364169 h 728338"/>
                      <a:gd name="connsiteX1" fmla="*/ 182085 w 844872"/>
                      <a:gd name="connsiteY1" fmla="*/ 0 h 728338"/>
                      <a:gd name="connsiteX2" fmla="*/ 662788 w 844872"/>
                      <a:gd name="connsiteY2" fmla="*/ 0 h 728338"/>
                      <a:gd name="connsiteX3" fmla="*/ 844872 w 844872"/>
                      <a:gd name="connsiteY3" fmla="*/ 364169 h 728338"/>
                      <a:gd name="connsiteX4" fmla="*/ 662788 w 844872"/>
                      <a:gd name="connsiteY4" fmla="*/ 728338 h 728338"/>
                      <a:gd name="connsiteX5" fmla="*/ 182085 w 844872"/>
                      <a:gd name="connsiteY5" fmla="*/ 728338 h 728338"/>
                      <a:gd name="connsiteX6" fmla="*/ 0 w 844872"/>
                      <a:gd name="connsiteY6" fmla="*/ 364169 h 728338"/>
                      <a:gd name="connsiteX0" fmla="*/ 182085 w 844872"/>
                      <a:gd name="connsiteY0" fmla="*/ 0 h 728338"/>
                      <a:gd name="connsiteX1" fmla="*/ 662788 w 844872"/>
                      <a:gd name="connsiteY1" fmla="*/ 0 h 728338"/>
                      <a:gd name="connsiteX2" fmla="*/ 844872 w 844872"/>
                      <a:gd name="connsiteY2" fmla="*/ 364169 h 728338"/>
                      <a:gd name="connsiteX3" fmla="*/ 662788 w 844872"/>
                      <a:gd name="connsiteY3" fmla="*/ 728338 h 728338"/>
                      <a:gd name="connsiteX4" fmla="*/ 182085 w 844872"/>
                      <a:gd name="connsiteY4" fmla="*/ 728338 h 728338"/>
                      <a:gd name="connsiteX5" fmla="*/ 0 w 844872"/>
                      <a:gd name="connsiteY5" fmla="*/ 364169 h 728338"/>
                      <a:gd name="connsiteX6" fmla="*/ 273525 w 844872"/>
                      <a:gd name="connsiteY6" fmla="*/ 91440 h 728338"/>
                      <a:gd name="connsiteX0" fmla="*/ 182085 w 844872"/>
                      <a:gd name="connsiteY0" fmla="*/ 0 h 728338"/>
                      <a:gd name="connsiteX1" fmla="*/ 662788 w 844872"/>
                      <a:gd name="connsiteY1" fmla="*/ 0 h 728338"/>
                      <a:gd name="connsiteX2" fmla="*/ 844872 w 844872"/>
                      <a:gd name="connsiteY2" fmla="*/ 364169 h 728338"/>
                      <a:gd name="connsiteX3" fmla="*/ 662788 w 844872"/>
                      <a:gd name="connsiteY3" fmla="*/ 728338 h 728338"/>
                      <a:gd name="connsiteX4" fmla="*/ 182085 w 844872"/>
                      <a:gd name="connsiteY4" fmla="*/ 728338 h 728338"/>
                      <a:gd name="connsiteX5" fmla="*/ 0 w 844872"/>
                      <a:gd name="connsiteY5" fmla="*/ 364169 h 728338"/>
                      <a:gd name="connsiteX0" fmla="*/ 0 w 662787"/>
                      <a:gd name="connsiteY0" fmla="*/ 0 h 728338"/>
                      <a:gd name="connsiteX1" fmla="*/ 480703 w 662787"/>
                      <a:gd name="connsiteY1" fmla="*/ 0 h 728338"/>
                      <a:gd name="connsiteX2" fmla="*/ 662787 w 662787"/>
                      <a:gd name="connsiteY2" fmla="*/ 364169 h 728338"/>
                      <a:gd name="connsiteX3" fmla="*/ 480703 w 662787"/>
                      <a:gd name="connsiteY3" fmla="*/ 728338 h 728338"/>
                      <a:gd name="connsiteX4" fmla="*/ 0 w 662787"/>
                      <a:gd name="connsiteY4" fmla="*/ 728338 h 728338"/>
                      <a:gd name="connsiteX0" fmla="*/ 0 w 662787"/>
                      <a:gd name="connsiteY0" fmla="*/ 0 h 728338"/>
                      <a:gd name="connsiteX1" fmla="*/ 480703 w 662787"/>
                      <a:gd name="connsiteY1" fmla="*/ 0 h 728338"/>
                      <a:gd name="connsiteX2" fmla="*/ 662787 w 662787"/>
                      <a:gd name="connsiteY2" fmla="*/ 364169 h 728338"/>
                      <a:gd name="connsiteX3" fmla="*/ 480703 w 662787"/>
                      <a:gd name="connsiteY3" fmla="*/ 728338 h 728338"/>
                      <a:gd name="connsiteX0" fmla="*/ 0 w 182084"/>
                      <a:gd name="connsiteY0" fmla="*/ 0 h 728338"/>
                      <a:gd name="connsiteX1" fmla="*/ 182084 w 182084"/>
                      <a:gd name="connsiteY1" fmla="*/ 364169 h 728338"/>
                      <a:gd name="connsiteX2" fmla="*/ 0 w 182084"/>
                      <a:gd name="connsiteY2" fmla="*/ 728338 h 728338"/>
                    </a:gdLst>
                    <a:ahLst/>
                    <a:cxnLst>
                      <a:cxn ang="0">
                        <a:pos x="connsiteX0" y="connsiteY0"/>
                      </a:cxn>
                      <a:cxn ang="0">
                        <a:pos x="connsiteX1" y="connsiteY1"/>
                      </a:cxn>
                      <a:cxn ang="0">
                        <a:pos x="connsiteX2" y="connsiteY2"/>
                      </a:cxn>
                    </a:cxnLst>
                    <a:rect l="l" t="t" r="r" b="b"/>
                    <a:pathLst>
                      <a:path w="182084" h="728338">
                        <a:moveTo>
                          <a:pt x="0" y="0"/>
                        </a:moveTo>
                        <a:lnTo>
                          <a:pt x="182084" y="364169"/>
                        </a:lnTo>
                        <a:lnTo>
                          <a:pt x="0" y="728338"/>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53" name="Oval 252">
                    <a:extLst>
                      <a:ext uri="{FF2B5EF4-FFF2-40B4-BE49-F238E27FC236}">
                        <a16:creationId xmlns:a16="http://schemas.microsoft.com/office/drawing/2014/main" id="{7FB16C5F-09A3-44CF-AE48-8B47734CCD3C}"/>
                      </a:ext>
                    </a:extLst>
                  </p:cNvPr>
                  <p:cNvSpPr>
                    <a:spLocks noChangeAspect="1"/>
                  </p:cNvSpPr>
                  <p:nvPr/>
                </p:nvSpPr>
                <p:spPr>
                  <a:xfrm>
                    <a:off x="3580507" y="2395202"/>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54" name="Oval 253">
                    <a:extLst>
                      <a:ext uri="{FF2B5EF4-FFF2-40B4-BE49-F238E27FC236}">
                        <a16:creationId xmlns:a16="http://schemas.microsoft.com/office/drawing/2014/main" id="{438D315D-B0B2-4D76-9005-70FE3B65B505}"/>
                      </a:ext>
                    </a:extLst>
                  </p:cNvPr>
                  <p:cNvSpPr>
                    <a:spLocks noChangeAspect="1"/>
                  </p:cNvSpPr>
                  <p:nvPr/>
                </p:nvSpPr>
                <p:spPr>
                  <a:xfrm>
                    <a:off x="3584709" y="2996754"/>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51" name="Straight Connector 250">
                  <a:extLst>
                    <a:ext uri="{FF2B5EF4-FFF2-40B4-BE49-F238E27FC236}">
                      <a16:creationId xmlns:a16="http://schemas.microsoft.com/office/drawing/2014/main" id="{7D956E71-D0D6-464A-87B5-78FE2B94847B}"/>
                    </a:ext>
                  </a:extLst>
                </p:cNvPr>
                <p:cNvCxnSpPr>
                  <a:cxnSpLocks/>
                  <a:endCxn id="252" idx="1"/>
                </p:cNvCxnSpPr>
                <p:nvPr/>
              </p:nvCxnSpPr>
              <p:spPr>
                <a:xfrm flipH="1" flipV="1">
                  <a:off x="3768922" y="2737652"/>
                  <a:ext cx="1001427" cy="0"/>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17" name="5 hexa line">
                <a:extLst>
                  <a:ext uri="{FF2B5EF4-FFF2-40B4-BE49-F238E27FC236}">
                    <a16:creationId xmlns:a16="http://schemas.microsoft.com/office/drawing/2014/main" id="{C54107C8-F754-4952-B9F3-C4DE482C6913}"/>
                  </a:ext>
                </a:extLst>
              </p:cNvPr>
              <p:cNvGrpSpPr/>
              <p:nvPr/>
            </p:nvGrpSpPr>
            <p:grpSpPr>
              <a:xfrm>
                <a:off x="792630" y="573532"/>
                <a:ext cx="153290" cy="139041"/>
                <a:chOff x="3156094" y="3370497"/>
                <a:chExt cx="621413" cy="563649"/>
              </a:xfrm>
            </p:grpSpPr>
            <p:grpSp>
              <p:nvGrpSpPr>
                <p:cNvPr id="245" name="Group 244">
                  <a:extLst>
                    <a:ext uri="{FF2B5EF4-FFF2-40B4-BE49-F238E27FC236}">
                      <a16:creationId xmlns:a16="http://schemas.microsoft.com/office/drawing/2014/main" id="{0D7CDB43-4AC9-40AF-8899-3CF79818B436}"/>
                    </a:ext>
                  </a:extLst>
                </p:cNvPr>
                <p:cNvGrpSpPr/>
                <p:nvPr/>
              </p:nvGrpSpPr>
              <p:grpSpPr>
                <a:xfrm>
                  <a:off x="3156094" y="3370497"/>
                  <a:ext cx="621413" cy="358635"/>
                  <a:chOff x="3148815" y="4558219"/>
                  <a:chExt cx="621413" cy="358635"/>
                </a:xfrm>
              </p:grpSpPr>
              <p:sp>
                <p:nvSpPr>
                  <p:cNvPr id="247" name="Hexagon 266">
                    <a:extLst>
                      <a:ext uri="{FF2B5EF4-FFF2-40B4-BE49-F238E27FC236}">
                        <a16:creationId xmlns:a16="http://schemas.microsoft.com/office/drawing/2014/main" id="{850884B9-A7F8-4E54-B1AF-2A3846E02FB9}"/>
                      </a:ext>
                    </a:extLst>
                  </p:cNvPr>
                  <p:cNvSpPr/>
                  <p:nvPr/>
                </p:nvSpPr>
                <p:spPr>
                  <a:xfrm>
                    <a:off x="3171870" y="4566396"/>
                    <a:ext cx="574708" cy="315774"/>
                  </a:xfrm>
                  <a:custGeom>
                    <a:avLst/>
                    <a:gdLst>
                      <a:gd name="connsiteX0" fmla="*/ 0 w 819912"/>
                      <a:gd name="connsiteY0" fmla="*/ 353411 h 706822"/>
                      <a:gd name="connsiteX1" fmla="*/ 176706 w 819912"/>
                      <a:gd name="connsiteY1" fmla="*/ 0 h 706822"/>
                      <a:gd name="connsiteX2" fmla="*/ 643207 w 819912"/>
                      <a:gd name="connsiteY2" fmla="*/ 0 h 706822"/>
                      <a:gd name="connsiteX3" fmla="*/ 819912 w 819912"/>
                      <a:gd name="connsiteY3" fmla="*/ 353411 h 706822"/>
                      <a:gd name="connsiteX4" fmla="*/ 643207 w 819912"/>
                      <a:gd name="connsiteY4" fmla="*/ 706822 h 706822"/>
                      <a:gd name="connsiteX5" fmla="*/ 176706 w 819912"/>
                      <a:gd name="connsiteY5" fmla="*/ 706822 h 706822"/>
                      <a:gd name="connsiteX6" fmla="*/ 0 w 819912"/>
                      <a:gd name="connsiteY6" fmla="*/ 353411 h 706822"/>
                      <a:gd name="connsiteX0" fmla="*/ 176706 w 819912"/>
                      <a:gd name="connsiteY0" fmla="*/ 0 h 706822"/>
                      <a:gd name="connsiteX1" fmla="*/ 643207 w 819912"/>
                      <a:gd name="connsiteY1" fmla="*/ 0 h 706822"/>
                      <a:gd name="connsiteX2" fmla="*/ 819912 w 819912"/>
                      <a:gd name="connsiteY2" fmla="*/ 353411 h 706822"/>
                      <a:gd name="connsiteX3" fmla="*/ 643207 w 819912"/>
                      <a:gd name="connsiteY3" fmla="*/ 706822 h 706822"/>
                      <a:gd name="connsiteX4" fmla="*/ 176706 w 819912"/>
                      <a:gd name="connsiteY4" fmla="*/ 706822 h 706822"/>
                      <a:gd name="connsiteX5" fmla="*/ 0 w 819912"/>
                      <a:gd name="connsiteY5" fmla="*/ 353411 h 706822"/>
                      <a:gd name="connsiteX6" fmla="*/ 268146 w 819912"/>
                      <a:gd name="connsiteY6" fmla="*/ 91440 h 706822"/>
                      <a:gd name="connsiteX0" fmla="*/ 176706 w 819912"/>
                      <a:gd name="connsiteY0" fmla="*/ 0 h 706822"/>
                      <a:gd name="connsiteX1" fmla="*/ 643207 w 819912"/>
                      <a:gd name="connsiteY1" fmla="*/ 0 h 706822"/>
                      <a:gd name="connsiteX2" fmla="*/ 819912 w 819912"/>
                      <a:gd name="connsiteY2" fmla="*/ 353411 h 706822"/>
                      <a:gd name="connsiteX3" fmla="*/ 643207 w 819912"/>
                      <a:gd name="connsiteY3" fmla="*/ 706822 h 706822"/>
                      <a:gd name="connsiteX4" fmla="*/ 176706 w 819912"/>
                      <a:gd name="connsiteY4" fmla="*/ 706822 h 706822"/>
                      <a:gd name="connsiteX5" fmla="*/ 0 w 819912"/>
                      <a:gd name="connsiteY5" fmla="*/ 353411 h 706822"/>
                      <a:gd name="connsiteX0" fmla="*/ 0 w 643206"/>
                      <a:gd name="connsiteY0" fmla="*/ 0 h 706822"/>
                      <a:gd name="connsiteX1" fmla="*/ 466501 w 643206"/>
                      <a:gd name="connsiteY1" fmla="*/ 0 h 706822"/>
                      <a:gd name="connsiteX2" fmla="*/ 643206 w 643206"/>
                      <a:gd name="connsiteY2" fmla="*/ 353411 h 706822"/>
                      <a:gd name="connsiteX3" fmla="*/ 466501 w 643206"/>
                      <a:gd name="connsiteY3" fmla="*/ 706822 h 706822"/>
                      <a:gd name="connsiteX4" fmla="*/ 0 w 643206"/>
                      <a:gd name="connsiteY4" fmla="*/ 706822 h 706822"/>
                      <a:gd name="connsiteX0" fmla="*/ 466501 w 643206"/>
                      <a:gd name="connsiteY0" fmla="*/ 0 h 706822"/>
                      <a:gd name="connsiteX1" fmla="*/ 643206 w 643206"/>
                      <a:gd name="connsiteY1" fmla="*/ 353411 h 706822"/>
                      <a:gd name="connsiteX2" fmla="*/ 466501 w 643206"/>
                      <a:gd name="connsiteY2" fmla="*/ 706822 h 706822"/>
                      <a:gd name="connsiteX3" fmla="*/ 0 w 643206"/>
                      <a:gd name="connsiteY3" fmla="*/ 706822 h 706822"/>
                      <a:gd name="connsiteX0" fmla="*/ 643206 w 643206"/>
                      <a:gd name="connsiteY0" fmla="*/ 0 h 353411"/>
                      <a:gd name="connsiteX1" fmla="*/ 466501 w 643206"/>
                      <a:gd name="connsiteY1" fmla="*/ 353411 h 353411"/>
                      <a:gd name="connsiteX2" fmla="*/ 0 w 643206"/>
                      <a:gd name="connsiteY2" fmla="*/ 353411 h 353411"/>
                    </a:gdLst>
                    <a:ahLst/>
                    <a:cxnLst>
                      <a:cxn ang="0">
                        <a:pos x="connsiteX0" y="connsiteY0"/>
                      </a:cxn>
                      <a:cxn ang="0">
                        <a:pos x="connsiteX1" y="connsiteY1"/>
                      </a:cxn>
                      <a:cxn ang="0">
                        <a:pos x="connsiteX2" y="connsiteY2"/>
                      </a:cxn>
                    </a:cxnLst>
                    <a:rect l="l" t="t" r="r" b="b"/>
                    <a:pathLst>
                      <a:path w="643206" h="353411">
                        <a:moveTo>
                          <a:pt x="643206" y="0"/>
                        </a:moveTo>
                        <a:lnTo>
                          <a:pt x="466501" y="353411"/>
                        </a:lnTo>
                        <a:lnTo>
                          <a:pt x="0" y="353411"/>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8" name="Oval 247">
                    <a:extLst>
                      <a:ext uri="{FF2B5EF4-FFF2-40B4-BE49-F238E27FC236}">
                        <a16:creationId xmlns:a16="http://schemas.microsoft.com/office/drawing/2014/main" id="{66FF27B9-8A06-4785-8E55-74DD40C92E3A}"/>
                      </a:ext>
                    </a:extLst>
                  </p:cNvPr>
                  <p:cNvSpPr>
                    <a:spLocks noChangeAspect="1"/>
                  </p:cNvSpPr>
                  <p:nvPr/>
                </p:nvSpPr>
                <p:spPr>
                  <a:xfrm>
                    <a:off x="3696286" y="4558219"/>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9" name="Oval 248">
                    <a:extLst>
                      <a:ext uri="{FF2B5EF4-FFF2-40B4-BE49-F238E27FC236}">
                        <a16:creationId xmlns:a16="http://schemas.microsoft.com/office/drawing/2014/main" id="{F3E4E8FD-92CF-42F6-B8B1-8D1534D59F4E}"/>
                      </a:ext>
                    </a:extLst>
                  </p:cNvPr>
                  <p:cNvSpPr>
                    <a:spLocks noChangeAspect="1"/>
                  </p:cNvSpPr>
                  <p:nvPr/>
                </p:nvSpPr>
                <p:spPr>
                  <a:xfrm>
                    <a:off x="3148815" y="4842912"/>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46" name="Straight Connector 245">
                  <a:extLst>
                    <a:ext uri="{FF2B5EF4-FFF2-40B4-BE49-F238E27FC236}">
                      <a16:creationId xmlns:a16="http://schemas.microsoft.com/office/drawing/2014/main" id="{B9B45B76-6431-40D8-821B-80CC4E189AFA}"/>
                    </a:ext>
                  </a:extLst>
                </p:cNvPr>
                <p:cNvCxnSpPr>
                  <a:cxnSpLocks/>
                  <a:stCxn id="243" idx="4"/>
                  <a:endCxn id="247" idx="1"/>
                </p:cNvCxnSpPr>
                <p:nvPr/>
              </p:nvCxnSpPr>
              <p:spPr>
                <a:xfrm flipH="1" flipV="1">
                  <a:off x="3595970" y="3694448"/>
                  <a:ext cx="111238" cy="239698"/>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18" name="10 hexa">
                <a:extLst>
                  <a:ext uri="{FF2B5EF4-FFF2-40B4-BE49-F238E27FC236}">
                    <a16:creationId xmlns:a16="http://schemas.microsoft.com/office/drawing/2014/main" id="{1DBFB490-D824-4E78-AA84-0A2A09916F7B}"/>
                  </a:ext>
                </a:extLst>
              </p:cNvPr>
              <p:cNvGrpSpPr/>
              <p:nvPr/>
            </p:nvGrpSpPr>
            <p:grpSpPr>
              <a:xfrm>
                <a:off x="891727" y="712573"/>
                <a:ext cx="170993" cy="147408"/>
                <a:chOff x="3557816" y="3934146"/>
                <a:chExt cx="693176" cy="597566"/>
              </a:xfrm>
            </p:grpSpPr>
            <p:sp>
              <p:nvSpPr>
                <p:cNvPr id="243" name="Hexagon 242">
                  <a:extLst>
                    <a:ext uri="{FF2B5EF4-FFF2-40B4-BE49-F238E27FC236}">
                      <a16:creationId xmlns:a16="http://schemas.microsoft.com/office/drawing/2014/main" id="{2007D5A7-8C83-44C5-BA3D-E27ED934822D}"/>
                    </a:ext>
                  </a:extLst>
                </p:cNvPr>
                <p:cNvSpPr/>
                <p:nvPr/>
              </p:nvSpPr>
              <p:spPr>
                <a:xfrm>
                  <a:off x="3557816" y="3934146"/>
                  <a:ext cx="693176" cy="597566"/>
                </a:xfrm>
                <a:prstGeom prst="hexagon">
                  <a:avLst/>
                </a:prstGeom>
                <a:solidFill>
                  <a:srgbClr val="646464"/>
                </a:solidFill>
                <a:ln w="6350">
                  <a:solidFill>
                    <a:srgbClr val="40404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4" name="Freeform 54">
                  <a:extLst>
                    <a:ext uri="{FF2B5EF4-FFF2-40B4-BE49-F238E27FC236}">
                      <a16:creationId xmlns:a16="http://schemas.microsoft.com/office/drawing/2014/main" id="{04F68CB7-A9C6-4820-89E4-7707C206E81A}"/>
                    </a:ext>
                  </a:extLst>
                </p:cNvPr>
                <p:cNvSpPr>
                  <a:spLocks noChangeAspect="1" noEditPoints="1"/>
                </p:cNvSpPr>
                <p:nvPr/>
              </p:nvSpPr>
              <p:spPr bwMode="auto">
                <a:xfrm>
                  <a:off x="3705617" y="4009581"/>
                  <a:ext cx="392658" cy="358252"/>
                </a:xfrm>
                <a:custGeom>
                  <a:avLst/>
                  <a:gdLst>
                    <a:gd name="T0" fmla="*/ 2506 w 2632"/>
                    <a:gd name="T1" fmla="*/ 2592 h 2830"/>
                    <a:gd name="T2" fmla="*/ 2467 w 2632"/>
                    <a:gd name="T3" fmla="*/ 2620 h 2830"/>
                    <a:gd name="T4" fmla="*/ 1346 w 2632"/>
                    <a:gd name="T5" fmla="*/ 241 h 2830"/>
                    <a:gd name="T6" fmla="*/ 1382 w 2632"/>
                    <a:gd name="T7" fmla="*/ 220 h 2830"/>
                    <a:gd name="T8" fmla="*/ 1409 w 2632"/>
                    <a:gd name="T9" fmla="*/ 182 h 2830"/>
                    <a:gd name="T10" fmla="*/ 1421 w 2632"/>
                    <a:gd name="T11" fmla="*/ 132 h 2830"/>
                    <a:gd name="T12" fmla="*/ 1417 w 2632"/>
                    <a:gd name="T13" fmla="*/ 86 h 2830"/>
                    <a:gd name="T14" fmla="*/ 1393 w 2632"/>
                    <a:gd name="T15" fmla="*/ 36 h 2830"/>
                    <a:gd name="T16" fmla="*/ 1353 w 2632"/>
                    <a:gd name="T17" fmla="*/ 5 h 2830"/>
                    <a:gd name="T18" fmla="*/ 1313 w 2632"/>
                    <a:gd name="T19" fmla="*/ 1 h 2830"/>
                    <a:gd name="T20" fmla="*/ 1268 w 2632"/>
                    <a:gd name="T21" fmla="*/ 21 h 2830"/>
                    <a:gd name="T22" fmla="*/ 1237 w 2632"/>
                    <a:gd name="T23" fmla="*/ 64 h 2830"/>
                    <a:gd name="T24" fmla="*/ 1225 w 2632"/>
                    <a:gd name="T25" fmla="*/ 122 h 2830"/>
                    <a:gd name="T26" fmla="*/ 1231 w 2632"/>
                    <a:gd name="T27" fmla="*/ 163 h 2830"/>
                    <a:gd name="T28" fmla="*/ 1252 w 2632"/>
                    <a:gd name="T29" fmla="*/ 206 h 2830"/>
                    <a:gd name="T30" fmla="*/ 1285 w 2632"/>
                    <a:gd name="T31" fmla="*/ 235 h 2830"/>
                    <a:gd name="T32" fmla="*/ 631 w 2632"/>
                    <a:gd name="T33" fmla="*/ 2281 h 2830"/>
                    <a:gd name="T34" fmla="*/ 152 w 2632"/>
                    <a:gd name="T35" fmla="*/ 2593 h 2830"/>
                    <a:gd name="T36" fmla="*/ 97 w 2632"/>
                    <a:gd name="T37" fmla="*/ 2572 h 2830"/>
                    <a:gd name="T38" fmla="*/ 59 w 2632"/>
                    <a:gd name="T39" fmla="*/ 2582 h 2830"/>
                    <a:gd name="T40" fmla="*/ 22 w 2632"/>
                    <a:gd name="T41" fmla="*/ 2617 h 2830"/>
                    <a:gd name="T42" fmla="*/ 2 w 2632"/>
                    <a:gd name="T43" fmla="*/ 2669 h 2830"/>
                    <a:gd name="T44" fmla="*/ 2 w 2632"/>
                    <a:gd name="T45" fmla="*/ 2719 h 2830"/>
                    <a:gd name="T46" fmla="*/ 22 w 2632"/>
                    <a:gd name="T47" fmla="*/ 2771 h 2830"/>
                    <a:gd name="T48" fmla="*/ 59 w 2632"/>
                    <a:gd name="T49" fmla="*/ 2806 h 2830"/>
                    <a:gd name="T50" fmla="*/ 97 w 2632"/>
                    <a:gd name="T51" fmla="*/ 2816 h 2830"/>
                    <a:gd name="T52" fmla="*/ 144 w 2632"/>
                    <a:gd name="T53" fmla="*/ 2801 h 2830"/>
                    <a:gd name="T54" fmla="*/ 178 w 2632"/>
                    <a:gd name="T55" fmla="*/ 2763 h 2830"/>
                    <a:gd name="T56" fmla="*/ 195 w 2632"/>
                    <a:gd name="T57" fmla="*/ 2706 h 2830"/>
                    <a:gd name="T58" fmla="*/ 655 w 2632"/>
                    <a:gd name="T59" fmla="*/ 2326 h 2830"/>
                    <a:gd name="T60" fmla="*/ 2443 w 2632"/>
                    <a:gd name="T61" fmla="*/ 2667 h 2830"/>
                    <a:gd name="T62" fmla="*/ 2437 w 2632"/>
                    <a:gd name="T63" fmla="*/ 2708 h 2830"/>
                    <a:gd name="T64" fmla="*/ 2449 w 2632"/>
                    <a:gd name="T65" fmla="*/ 2766 h 2830"/>
                    <a:gd name="T66" fmla="*/ 2480 w 2632"/>
                    <a:gd name="T67" fmla="*/ 2809 h 2830"/>
                    <a:gd name="T68" fmla="*/ 2525 w 2632"/>
                    <a:gd name="T69" fmla="*/ 2829 h 2830"/>
                    <a:gd name="T70" fmla="*/ 2564 w 2632"/>
                    <a:gd name="T71" fmla="*/ 2824 h 2830"/>
                    <a:gd name="T72" fmla="*/ 2604 w 2632"/>
                    <a:gd name="T73" fmla="*/ 2794 h 2830"/>
                    <a:gd name="T74" fmla="*/ 2628 w 2632"/>
                    <a:gd name="T75" fmla="*/ 2744 h 2830"/>
                    <a:gd name="T76" fmla="*/ 2632 w 2632"/>
                    <a:gd name="T77" fmla="*/ 2695 h 2830"/>
                    <a:gd name="T78" fmla="*/ 2616 w 2632"/>
                    <a:gd name="T79" fmla="*/ 2639 h 2830"/>
                    <a:gd name="T80" fmla="*/ 2581 w 2632"/>
                    <a:gd name="T81" fmla="*/ 2600 h 2830"/>
                    <a:gd name="T82" fmla="*/ 2535 w 2632"/>
                    <a:gd name="T83" fmla="*/ 2585 h 2830"/>
                    <a:gd name="T84" fmla="*/ 1279 w 2632"/>
                    <a:gd name="T85" fmla="*/ 2649 h 2830"/>
                    <a:gd name="T86" fmla="*/ 1324 w 2632"/>
                    <a:gd name="T87" fmla="*/ 1763 h 2830"/>
                    <a:gd name="T88" fmla="*/ 1367 w 2632"/>
                    <a:gd name="T89" fmla="*/ 2652 h 2830"/>
                    <a:gd name="T90" fmla="*/ 1238 w 2632"/>
                    <a:gd name="T91" fmla="*/ 2236 h 2830"/>
                    <a:gd name="T92" fmla="*/ 760 w 2632"/>
                    <a:gd name="T93" fmla="*/ 1880 h 2830"/>
                    <a:gd name="T94" fmla="*/ 1586 w 2632"/>
                    <a:gd name="T95" fmla="*/ 1184 h 2830"/>
                    <a:gd name="T96" fmla="*/ 1282 w 2632"/>
                    <a:gd name="T97" fmla="*/ 1339 h 2830"/>
                    <a:gd name="T98" fmla="*/ 1591 w 2632"/>
                    <a:gd name="T99" fmla="*/ 1497 h 2830"/>
                    <a:gd name="T100" fmla="*/ 1412 w 2632"/>
                    <a:gd name="T101" fmla="*/ 2234 h 2830"/>
                    <a:gd name="T102" fmla="*/ 1675 w 2632"/>
                    <a:gd name="T103" fmla="*/ 2100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32" h="2830">
                      <a:moveTo>
                        <a:pt x="2535" y="2585"/>
                      </a:moveTo>
                      <a:lnTo>
                        <a:pt x="2535" y="2585"/>
                      </a:lnTo>
                      <a:lnTo>
                        <a:pt x="2525" y="2587"/>
                      </a:lnTo>
                      <a:lnTo>
                        <a:pt x="2515" y="2588"/>
                      </a:lnTo>
                      <a:lnTo>
                        <a:pt x="2506" y="2592"/>
                      </a:lnTo>
                      <a:lnTo>
                        <a:pt x="2497" y="2595"/>
                      </a:lnTo>
                      <a:lnTo>
                        <a:pt x="2489" y="2600"/>
                      </a:lnTo>
                      <a:lnTo>
                        <a:pt x="2481" y="2605"/>
                      </a:lnTo>
                      <a:lnTo>
                        <a:pt x="2474" y="2613"/>
                      </a:lnTo>
                      <a:lnTo>
                        <a:pt x="2467" y="2620"/>
                      </a:lnTo>
                      <a:lnTo>
                        <a:pt x="2018" y="2285"/>
                      </a:lnTo>
                      <a:lnTo>
                        <a:pt x="2017" y="1306"/>
                      </a:lnTo>
                      <a:lnTo>
                        <a:pt x="1346" y="825"/>
                      </a:lnTo>
                      <a:lnTo>
                        <a:pt x="1346" y="241"/>
                      </a:lnTo>
                      <a:lnTo>
                        <a:pt x="1346" y="241"/>
                      </a:lnTo>
                      <a:lnTo>
                        <a:pt x="1354" y="238"/>
                      </a:lnTo>
                      <a:lnTo>
                        <a:pt x="1361" y="235"/>
                      </a:lnTo>
                      <a:lnTo>
                        <a:pt x="1369" y="230"/>
                      </a:lnTo>
                      <a:lnTo>
                        <a:pt x="1376" y="225"/>
                      </a:lnTo>
                      <a:lnTo>
                        <a:pt x="1382" y="220"/>
                      </a:lnTo>
                      <a:lnTo>
                        <a:pt x="1389" y="213"/>
                      </a:lnTo>
                      <a:lnTo>
                        <a:pt x="1395" y="206"/>
                      </a:lnTo>
                      <a:lnTo>
                        <a:pt x="1400" y="198"/>
                      </a:lnTo>
                      <a:lnTo>
                        <a:pt x="1405" y="191"/>
                      </a:lnTo>
                      <a:lnTo>
                        <a:pt x="1409" y="182"/>
                      </a:lnTo>
                      <a:lnTo>
                        <a:pt x="1413" y="172"/>
                      </a:lnTo>
                      <a:lnTo>
                        <a:pt x="1416" y="163"/>
                      </a:lnTo>
                      <a:lnTo>
                        <a:pt x="1418" y="153"/>
                      </a:lnTo>
                      <a:lnTo>
                        <a:pt x="1420" y="143"/>
                      </a:lnTo>
                      <a:lnTo>
                        <a:pt x="1421" y="132"/>
                      </a:lnTo>
                      <a:lnTo>
                        <a:pt x="1422" y="122"/>
                      </a:lnTo>
                      <a:lnTo>
                        <a:pt x="1422" y="122"/>
                      </a:lnTo>
                      <a:lnTo>
                        <a:pt x="1421" y="110"/>
                      </a:lnTo>
                      <a:lnTo>
                        <a:pt x="1420" y="97"/>
                      </a:lnTo>
                      <a:lnTo>
                        <a:pt x="1417" y="86"/>
                      </a:lnTo>
                      <a:lnTo>
                        <a:pt x="1414" y="75"/>
                      </a:lnTo>
                      <a:lnTo>
                        <a:pt x="1410" y="64"/>
                      </a:lnTo>
                      <a:lnTo>
                        <a:pt x="1405" y="54"/>
                      </a:lnTo>
                      <a:lnTo>
                        <a:pt x="1399" y="45"/>
                      </a:lnTo>
                      <a:lnTo>
                        <a:pt x="1393" y="36"/>
                      </a:lnTo>
                      <a:lnTo>
                        <a:pt x="1386" y="27"/>
                      </a:lnTo>
                      <a:lnTo>
                        <a:pt x="1379" y="21"/>
                      </a:lnTo>
                      <a:lnTo>
                        <a:pt x="1370" y="15"/>
                      </a:lnTo>
                      <a:lnTo>
                        <a:pt x="1362" y="10"/>
                      </a:lnTo>
                      <a:lnTo>
                        <a:pt x="1353" y="5"/>
                      </a:lnTo>
                      <a:lnTo>
                        <a:pt x="1344" y="2"/>
                      </a:lnTo>
                      <a:lnTo>
                        <a:pt x="1334" y="1"/>
                      </a:lnTo>
                      <a:lnTo>
                        <a:pt x="1324" y="0"/>
                      </a:lnTo>
                      <a:lnTo>
                        <a:pt x="1324" y="0"/>
                      </a:lnTo>
                      <a:lnTo>
                        <a:pt x="1313" y="1"/>
                      </a:lnTo>
                      <a:lnTo>
                        <a:pt x="1303" y="2"/>
                      </a:lnTo>
                      <a:lnTo>
                        <a:pt x="1294" y="5"/>
                      </a:lnTo>
                      <a:lnTo>
                        <a:pt x="1285" y="10"/>
                      </a:lnTo>
                      <a:lnTo>
                        <a:pt x="1276" y="15"/>
                      </a:lnTo>
                      <a:lnTo>
                        <a:pt x="1268" y="21"/>
                      </a:lnTo>
                      <a:lnTo>
                        <a:pt x="1261" y="27"/>
                      </a:lnTo>
                      <a:lnTo>
                        <a:pt x="1254" y="36"/>
                      </a:lnTo>
                      <a:lnTo>
                        <a:pt x="1247" y="45"/>
                      </a:lnTo>
                      <a:lnTo>
                        <a:pt x="1242" y="54"/>
                      </a:lnTo>
                      <a:lnTo>
                        <a:pt x="1237" y="64"/>
                      </a:lnTo>
                      <a:lnTo>
                        <a:pt x="1233" y="75"/>
                      </a:lnTo>
                      <a:lnTo>
                        <a:pt x="1230" y="86"/>
                      </a:lnTo>
                      <a:lnTo>
                        <a:pt x="1227" y="97"/>
                      </a:lnTo>
                      <a:lnTo>
                        <a:pt x="1226" y="110"/>
                      </a:lnTo>
                      <a:lnTo>
                        <a:pt x="1225" y="122"/>
                      </a:lnTo>
                      <a:lnTo>
                        <a:pt x="1225" y="122"/>
                      </a:lnTo>
                      <a:lnTo>
                        <a:pt x="1225" y="132"/>
                      </a:lnTo>
                      <a:lnTo>
                        <a:pt x="1227" y="143"/>
                      </a:lnTo>
                      <a:lnTo>
                        <a:pt x="1228" y="153"/>
                      </a:lnTo>
                      <a:lnTo>
                        <a:pt x="1231" y="163"/>
                      </a:lnTo>
                      <a:lnTo>
                        <a:pt x="1234" y="172"/>
                      </a:lnTo>
                      <a:lnTo>
                        <a:pt x="1238" y="182"/>
                      </a:lnTo>
                      <a:lnTo>
                        <a:pt x="1242" y="191"/>
                      </a:lnTo>
                      <a:lnTo>
                        <a:pt x="1247" y="198"/>
                      </a:lnTo>
                      <a:lnTo>
                        <a:pt x="1252" y="206"/>
                      </a:lnTo>
                      <a:lnTo>
                        <a:pt x="1258" y="213"/>
                      </a:lnTo>
                      <a:lnTo>
                        <a:pt x="1264" y="220"/>
                      </a:lnTo>
                      <a:lnTo>
                        <a:pt x="1271" y="225"/>
                      </a:lnTo>
                      <a:lnTo>
                        <a:pt x="1278" y="230"/>
                      </a:lnTo>
                      <a:lnTo>
                        <a:pt x="1285" y="235"/>
                      </a:lnTo>
                      <a:lnTo>
                        <a:pt x="1293" y="238"/>
                      </a:lnTo>
                      <a:lnTo>
                        <a:pt x="1301" y="241"/>
                      </a:lnTo>
                      <a:lnTo>
                        <a:pt x="1301" y="824"/>
                      </a:lnTo>
                      <a:lnTo>
                        <a:pt x="629" y="1309"/>
                      </a:lnTo>
                      <a:lnTo>
                        <a:pt x="631" y="2281"/>
                      </a:lnTo>
                      <a:lnTo>
                        <a:pt x="176" y="2623"/>
                      </a:lnTo>
                      <a:lnTo>
                        <a:pt x="176" y="2623"/>
                      </a:lnTo>
                      <a:lnTo>
                        <a:pt x="169" y="2612"/>
                      </a:lnTo>
                      <a:lnTo>
                        <a:pt x="161" y="2602"/>
                      </a:lnTo>
                      <a:lnTo>
                        <a:pt x="152" y="2593"/>
                      </a:lnTo>
                      <a:lnTo>
                        <a:pt x="142" y="2585"/>
                      </a:lnTo>
                      <a:lnTo>
                        <a:pt x="132" y="2580"/>
                      </a:lnTo>
                      <a:lnTo>
                        <a:pt x="121" y="2575"/>
                      </a:lnTo>
                      <a:lnTo>
                        <a:pt x="109" y="2573"/>
                      </a:lnTo>
                      <a:lnTo>
                        <a:pt x="97" y="2572"/>
                      </a:lnTo>
                      <a:lnTo>
                        <a:pt x="97" y="2572"/>
                      </a:lnTo>
                      <a:lnTo>
                        <a:pt x="87" y="2573"/>
                      </a:lnTo>
                      <a:lnTo>
                        <a:pt x="78" y="2574"/>
                      </a:lnTo>
                      <a:lnTo>
                        <a:pt x="68" y="2578"/>
                      </a:lnTo>
                      <a:lnTo>
                        <a:pt x="59" y="2582"/>
                      </a:lnTo>
                      <a:lnTo>
                        <a:pt x="51" y="2587"/>
                      </a:lnTo>
                      <a:lnTo>
                        <a:pt x="43" y="2593"/>
                      </a:lnTo>
                      <a:lnTo>
                        <a:pt x="35" y="2600"/>
                      </a:lnTo>
                      <a:lnTo>
                        <a:pt x="28" y="2608"/>
                      </a:lnTo>
                      <a:lnTo>
                        <a:pt x="22" y="2617"/>
                      </a:lnTo>
                      <a:lnTo>
                        <a:pt x="16" y="2625"/>
                      </a:lnTo>
                      <a:lnTo>
                        <a:pt x="12" y="2635"/>
                      </a:lnTo>
                      <a:lnTo>
                        <a:pt x="7" y="2647"/>
                      </a:lnTo>
                      <a:lnTo>
                        <a:pt x="4" y="2658"/>
                      </a:lnTo>
                      <a:lnTo>
                        <a:pt x="2" y="2669"/>
                      </a:lnTo>
                      <a:lnTo>
                        <a:pt x="0" y="2682"/>
                      </a:lnTo>
                      <a:lnTo>
                        <a:pt x="0" y="2694"/>
                      </a:lnTo>
                      <a:lnTo>
                        <a:pt x="0" y="2694"/>
                      </a:lnTo>
                      <a:lnTo>
                        <a:pt x="0" y="2706"/>
                      </a:lnTo>
                      <a:lnTo>
                        <a:pt x="2" y="2719"/>
                      </a:lnTo>
                      <a:lnTo>
                        <a:pt x="4" y="2730"/>
                      </a:lnTo>
                      <a:lnTo>
                        <a:pt x="7" y="2741"/>
                      </a:lnTo>
                      <a:lnTo>
                        <a:pt x="12" y="2753"/>
                      </a:lnTo>
                      <a:lnTo>
                        <a:pt x="16" y="2763"/>
                      </a:lnTo>
                      <a:lnTo>
                        <a:pt x="22" y="2771"/>
                      </a:lnTo>
                      <a:lnTo>
                        <a:pt x="28" y="2780"/>
                      </a:lnTo>
                      <a:lnTo>
                        <a:pt x="35" y="2789"/>
                      </a:lnTo>
                      <a:lnTo>
                        <a:pt x="43" y="2795"/>
                      </a:lnTo>
                      <a:lnTo>
                        <a:pt x="51" y="2801"/>
                      </a:lnTo>
                      <a:lnTo>
                        <a:pt x="59" y="2806"/>
                      </a:lnTo>
                      <a:lnTo>
                        <a:pt x="68" y="2810"/>
                      </a:lnTo>
                      <a:lnTo>
                        <a:pt x="78" y="2814"/>
                      </a:lnTo>
                      <a:lnTo>
                        <a:pt x="87" y="2815"/>
                      </a:lnTo>
                      <a:lnTo>
                        <a:pt x="97" y="2816"/>
                      </a:lnTo>
                      <a:lnTo>
                        <a:pt x="97" y="2816"/>
                      </a:lnTo>
                      <a:lnTo>
                        <a:pt x="107" y="2815"/>
                      </a:lnTo>
                      <a:lnTo>
                        <a:pt x="117" y="2814"/>
                      </a:lnTo>
                      <a:lnTo>
                        <a:pt x="127" y="2810"/>
                      </a:lnTo>
                      <a:lnTo>
                        <a:pt x="135" y="2806"/>
                      </a:lnTo>
                      <a:lnTo>
                        <a:pt x="144" y="2801"/>
                      </a:lnTo>
                      <a:lnTo>
                        <a:pt x="152" y="2795"/>
                      </a:lnTo>
                      <a:lnTo>
                        <a:pt x="160" y="2789"/>
                      </a:lnTo>
                      <a:lnTo>
                        <a:pt x="167" y="2780"/>
                      </a:lnTo>
                      <a:lnTo>
                        <a:pt x="173" y="2771"/>
                      </a:lnTo>
                      <a:lnTo>
                        <a:pt x="178" y="2763"/>
                      </a:lnTo>
                      <a:lnTo>
                        <a:pt x="183" y="2753"/>
                      </a:lnTo>
                      <a:lnTo>
                        <a:pt x="188" y="2741"/>
                      </a:lnTo>
                      <a:lnTo>
                        <a:pt x="191" y="2730"/>
                      </a:lnTo>
                      <a:lnTo>
                        <a:pt x="193" y="2719"/>
                      </a:lnTo>
                      <a:lnTo>
                        <a:pt x="195" y="2706"/>
                      </a:lnTo>
                      <a:lnTo>
                        <a:pt x="195" y="2694"/>
                      </a:lnTo>
                      <a:lnTo>
                        <a:pt x="195" y="2694"/>
                      </a:lnTo>
                      <a:lnTo>
                        <a:pt x="195" y="2683"/>
                      </a:lnTo>
                      <a:lnTo>
                        <a:pt x="193" y="2673"/>
                      </a:lnTo>
                      <a:lnTo>
                        <a:pt x="655" y="2326"/>
                      </a:lnTo>
                      <a:lnTo>
                        <a:pt x="1326" y="2806"/>
                      </a:lnTo>
                      <a:lnTo>
                        <a:pt x="1347" y="2791"/>
                      </a:lnTo>
                      <a:lnTo>
                        <a:pt x="1990" y="2326"/>
                      </a:lnTo>
                      <a:lnTo>
                        <a:pt x="2443" y="2667"/>
                      </a:lnTo>
                      <a:lnTo>
                        <a:pt x="2443" y="2667"/>
                      </a:lnTo>
                      <a:lnTo>
                        <a:pt x="2441" y="2677"/>
                      </a:lnTo>
                      <a:lnTo>
                        <a:pt x="2439" y="2687"/>
                      </a:lnTo>
                      <a:lnTo>
                        <a:pt x="2437" y="2696"/>
                      </a:lnTo>
                      <a:lnTo>
                        <a:pt x="2437" y="2708"/>
                      </a:lnTo>
                      <a:lnTo>
                        <a:pt x="2437" y="2708"/>
                      </a:lnTo>
                      <a:lnTo>
                        <a:pt x="2437" y="2720"/>
                      </a:lnTo>
                      <a:lnTo>
                        <a:pt x="2439" y="2733"/>
                      </a:lnTo>
                      <a:lnTo>
                        <a:pt x="2441" y="2744"/>
                      </a:lnTo>
                      <a:lnTo>
                        <a:pt x="2445" y="2755"/>
                      </a:lnTo>
                      <a:lnTo>
                        <a:pt x="2449" y="2766"/>
                      </a:lnTo>
                      <a:lnTo>
                        <a:pt x="2454" y="2776"/>
                      </a:lnTo>
                      <a:lnTo>
                        <a:pt x="2459" y="2785"/>
                      </a:lnTo>
                      <a:lnTo>
                        <a:pt x="2466" y="2794"/>
                      </a:lnTo>
                      <a:lnTo>
                        <a:pt x="2473" y="2801"/>
                      </a:lnTo>
                      <a:lnTo>
                        <a:pt x="2480" y="2809"/>
                      </a:lnTo>
                      <a:lnTo>
                        <a:pt x="2488" y="2815"/>
                      </a:lnTo>
                      <a:lnTo>
                        <a:pt x="2497" y="2820"/>
                      </a:lnTo>
                      <a:lnTo>
                        <a:pt x="2506" y="2824"/>
                      </a:lnTo>
                      <a:lnTo>
                        <a:pt x="2515" y="2828"/>
                      </a:lnTo>
                      <a:lnTo>
                        <a:pt x="2525" y="2829"/>
                      </a:lnTo>
                      <a:lnTo>
                        <a:pt x="2535" y="2830"/>
                      </a:lnTo>
                      <a:lnTo>
                        <a:pt x="2535" y="2830"/>
                      </a:lnTo>
                      <a:lnTo>
                        <a:pt x="2545" y="2829"/>
                      </a:lnTo>
                      <a:lnTo>
                        <a:pt x="2554" y="2828"/>
                      </a:lnTo>
                      <a:lnTo>
                        <a:pt x="2564" y="2824"/>
                      </a:lnTo>
                      <a:lnTo>
                        <a:pt x="2573" y="2820"/>
                      </a:lnTo>
                      <a:lnTo>
                        <a:pt x="2581" y="2815"/>
                      </a:lnTo>
                      <a:lnTo>
                        <a:pt x="2589" y="2809"/>
                      </a:lnTo>
                      <a:lnTo>
                        <a:pt x="2597" y="2801"/>
                      </a:lnTo>
                      <a:lnTo>
                        <a:pt x="2604" y="2794"/>
                      </a:lnTo>
                      <a:lnTo>
                        <a:pt x="2610" y="2785"/>
                      </a:lnTo>
                      <a:lnTo>
                        <a:pt x="2616" y="2776"/>
                      </a:lnTo>
                      <a:lnTo>
                        <a:pt x="2621" y="2766"/>
                      </a:lnTo>
                      <a:lnTo>
                        <a:pt x="2625" y="2755"/>
                      </a:lnTo>
                      <a:lnTo>
                        <a:pt x="2628" y="2744"/>
                      </a:lnTo>
                      <a:lnTo>
                        <a:pt x="2630" y="2733"/>
                      </a:lnTo>
                      <a:lnTo>
                        <a:pt x="2632" y="2720"/>
                      </a:lnTo>
                      <a:lnTo>
                        <a:pt x="2632" y="2708"/>
                      </a:lnTo>
                      <a:lnTo>
                        <a:pt x="2632" y="2708"/>
                      </a:lnTo>
                      <a:lnTo>
                        <a:pt x="2632" y="2695"/>
                      </a:lnTo>
                      <a:lnTo>
                        <a:pt x="2630" y="2683"/>
                      </a:lnTo>
                      <a:lnTo>
                        <a:pt x="2628" y="2672"/>
                      </a:lnTo>
                      <a:lnTo>
                        <a:pt x="2625" y="2660"/>
                      </a:lnTo>
                      <a:lnTo>
                        <a:pt x="2621" y="2649"/>
                      </a:lnTo>
                      <a:lnTo>
                        <a:pt x="2616" y="2639"/>
                      </a:lnTo>
                      <a:lnTo>
                        <a:pt x="2610" y="2630"/>
                      </a:lnTo>
                      <a:lnTo>
                        <a:pt x="2604" y="2622"/>
                      </a:lnTo>
                      <a:lnTo>
                        <a:pt x="2597" y="2614"/>
                      </a:lnTo>
                      <a:lnTo>
                        <a:pt x="2589" y="2607"/>
                      </a:lnTo>
                      <a:lnTo>
                        <a:pt x="2581" y="2600"/>
                      </a:lnTo>
                      <a:lnTo>
                        <a:pt x="2573" y="2595"/>
                      </a:lnTo>
                      <a:lnTo>
                        <a:pt x="2564" y="2592"/>
                      </a:lnTo>
                      <a:lnTo>
                        <a:pt x="2554" y="2588"/>
                      </a:lnTo>
                      <a:lnTo>
                        <a:pt x="2545" y="2587"/>
                      </a:lnTo>
                      <a:lnTo>
                        <a:pt x="2535" y="2585"/>
                      </a:lnTo>
                      <a:close/>
                      <a:moveTo>
                        <a:pt x="1279" y="2649"/>
                      </a:moveTo>
                      <a:lnTo>
                        <a:pt x="718" y="2246"/>
                      </a:lnTo>
                      <a:lnTo>
                        <a:pt x="716" y="1436"/>
                      </a:lnTo>
                      <a:lnTo>
                        <a:pt x="1279" y="1857"/>
                      </a:lnTo>
                      <a:lnTo>
                        <a:pt x="1279" y="2649"/>
                      </a:lnTo>
                      <a:close/>
                      <a:moveTo>
                        <a:pt x="1324" y="1763"/>
                      </a:moveTo>
                      <a:lnTo>
                        <a:pt x="758" y="1341"/>
                      </a:lnTo>
                      <a:lnTo>
                        <a:pt x="1323" y="933"/>
                      </a:lnTo>
                      <a:lnTo>
                        <a:pt x="1888" y="1339"/>
                      </a:lnTo>
                      <a:lnTo>
                        <a:pt x="1324" y="1763"/>
                      </a:lnTo>
                      <a:close/>
                      <a:moveTo>
                        <a:pt x="1367" y="2652"/>
                      </a:moveTo>
                      <a:lnTo>
                        <a:pt x="1367" y="1857"/>
                      </a:lnTo>
                      <a:lnTo>
                        <a:pt x="1930" y="1434"/>
                      </a:lnTo>
                      <a:lnTo>
                        <a:pt x="1932" y="2244"/>
                      </a:lnTo>
                      <a:lnTo>
                        <a:pt x="1367" y="2652"/>
                      </a:lnTo>
                      <a:close/>
                      <a:moveTo>
                        <a:pt x="965" y="2361"/>
                      </a:moveTo>
                      <a:lnTo>
                        <a:pt x="1009" y="2393"/>
                      </a:lnTo>
                      <a:lnTo>
                        <a:pt x="1009" y="2129"/>
                      </a:lnTo>
                      <a:lnTo>
                        <a:pt x="1238" y="2300"/>
                      </a:lnTo>
                      <a:lnTo>
                        <a:pt x="1238" y="2236"/>
                      </a:lnTo>
                      <a:lnTo>
                        <a:pt x="1009" y="2065"/>
                      </a:lnTo>
                      <a:lnTo>
                        <a:pt x="1009" y="1718"/>
                      </a:lnTo>
                      <a:lnTo>
                        <a:pt x="965" y="1686"/>
                      </a:lnTo>
                      <a:lnTo>
                        <a:pt x="965" y="2033"/>
                      </a:lnTo>
                      <a:lnTo>
                        <a:pt x="760" y="1880"/>
                      </a:lnTo>
                      <a:lnTo>
                        <a:pt x="760" y="1943"/>
                      </a:lnTo>
                      <a:lnTo>
                        <a:pt x="965" y="2096"/>
                      </a:lnTo>
                      <a:lnTo>
                        <a:pt x="965" y="2361"/>
                      </a:lnTo>
                      <a:close/>
                      <a:moveTo>
                        <a:pt x="1370" y="1339"/>
                      </a:moveTo>
                      <a:lnTo>
                        <a:pt x="1586" y="1184"/>
                      </a:lnTo>
                      <a:lnTo>
                        <a:pt x="1543" y="1153"/>
                      </a:lnTo>
                      <a:lnTo>
                        <a:pt x="1326" y="1308"/>
                      </a:lnTo>
                      <a:lnTo>
                        <a:pt x="1106" y="1150"/>
                      </a:lnTo>
                      <a:lnTo>
                        <a:pt x="1062" y="1182"/>
                      </a:lnTo>
                      <a:lnTo>
                        <a:pt x="1282" y="1339"/>
                      </a:lnTo>
                      <a:lnTo>
                        <a:pt x="1057" y="1500"/>
                      </a:lnTo>
                      <a:lnTo>
                        <a:pt x="1101" y="1531"/>
                      </a:lnTo>
                      <a:lnTo>
                        <a:pt x="1326" y="1370"/>
                      </a:lnTo>
                      <a:lnTo>
                        <a:pt x="1547" y="1529"/>
                      </a:lnTo>
                      <a:lnTo>
                        <a:pt x="1591" y="1497"/>
                      </a:lnTo>
                      <a:lnTo>
                        <a:pt x="1370" y="1339"/>
                      </a:lnTo>
                      <a:close/>
                      <a:moveTo>
                        <a:pt x="1675" y="1690"/>
                      </a:moveTo>
                      <a:lnTo>
                        <a:pt x="1631" y="1722"/>
                      </a:lnTo>
                      <a:lnTo>
                        <a:pt x="1631" y="2069"/>
                      </a:lnTo>
                      <a:lnTo>
                        <a:pt x="1412" y="2234"/>
                      </a:lnTo>
                      <a:lnTo>
                        <a:pt x="1412" y="2297"/>
                      </a:lnTo>
                      <a:lnTo>
                        <a:pt x="1631" y="2132"/>
                      </a:lnTo>
                      <a:lnTo>
                        <a:pt x="1631" y="2397"/>
                      </a:lnTo>
                      <a:lnTo>
                        <a:pt x="1675" y="2365"/>
                      </a:lnTo>
                      <a:lnTo>
                        <a:pt x="1675" y="2100"/>
                      </a:lnTo>
                      <a:lnTo>
                        <a:pt x="1891" y="1938"/>
                      </a:lnTo>
                      <a:lnTo>
                        <a:pt x="1891" y="1874"/>
                      </a:lnTo>
                      <a:lnTo>
                        <a:pt x="1675" y="2036"/>
                      </a:lnTo>
                      <a:lnTo>
                        <a:pt x="1675" y="1690"/>
                      </a:lnTo>
                      <a:close/>
                    </a:path>
                  </a:pathLst>
                </a:custGeom>
                <a:solidFill>
                  <a:schemeClr val="accent2"/>
                </a:solidFill>
                <a:ln>
                  <a:noFill/>
                </a:ln>
              </p:spPr>
              <p:txBody>
                <a:bodyPr vert="horz" wrap="square" lIns="80147" tIns="40074" rIns="80147" bIns="40074" numCol="1" anchor="t" anchorCtr="0" compatLnSpc="1">
                  <a:prstTxWarp prst="textNoShape">
                    <a:avLst/>
                  </a:prstTxWarp>
                </a:bodyPr>
                <a:lstStyle/>
                <a:p>
                  <a:endParaRPr lang="de-DE" sz="1799"/>
                </a:p>
              </p:txBody>
            </p:sp>
          </p:grpSp>
          <p:grpSp>
            <p:nvGrpSpPr>
              <p:cNvPr id="219" name="9 hexa line">
                <a:extLst>
                  <a:ext uri="{FF2B5EF4-FFF2-40B4-BE49-F238E27FC236}">
                    <a16:creationId xmlns:a16="http://schemas.microsoft.com/office/drawing/2014/main" id="{E775E741-0F4F-44C3-9A0F-2667543E9C04}"/>
                  </a:ext>
                </a:extLst>
              </p:cNvPr>
              <p:cNvGrpSpPr/>
              <p:nvPr/>
            </p:nvGrpSpPr>
            <p:grpSpPr>
              <a:xfrm>
                <a:off x="790835" y="866519"/>
                <a:ext cx="153290" cy="181132"/>
                <a:chOff x="3148815" y="4558219"/>
                <a:chExt cx="621413" cy="734280"/>
              </a:xfrm>
            </p:grpSpPr>
            <p:grpSp>
              <p:nvGrpSpPr>
                <p:cNvPr id="238" name="Group 237">
                  <a:extLst>
                    <a:ext uri="{FF2B5EF4-FFF2-40B4-BE49-F238E27FC236}">
                      <a16:creationId xmlns:a16="http://schemas.microsoft.com/office/drawing/2014/main" id="{367B0293-04A9-4EC1-B7D4-7D3AA491FD6F}"/>
                    </a:ext>
                  </a:extLst>
                </p:cNvPr>
                <p:cNvGrpSpPr/>
                <p:nvPr/>
              </p:nvGrpSpPr>
              <p:grpSpPr>
                <a:xfrm>
                  <a:off x="3148815" y="4558219"/>
                  <a:ext cx="621413" cy="358635"/>
                  <a:chOff x="3148815" y="4558219"/>
                  <a:chExt cx="621413" cy="358635"/>
                </a:xfrm>
              </p:grpSpPr>
              <p:sp>
                <p:nvSpPr>
                  <p:cNvPr id="240" name="Hexagon 266">
                    <a:extLst>
                      <a:ext uri="{FF2B5EF4-FFF2-40B4-BE49-F238E27FC236}">
                        <a16:creationId xmlns:a16="http://schemas.microsoft.com/office/drawing/2014/main" id="{65E2F8C0-66F5-4C39-82A5-70768C684C9B}"/>
                      </a:ext>
                    </a:extLst>
                  </p:cNvPr>
                  <p:cNvSpPr/>
                  <p:nvPr/>
                </p:nvSpPr>
                <p:spPr>
                  <a:xfrm>
                    <a:off x="3171870" y="4566396"/>
                    <a:ext cx="574708" cy="315774"/>
                  </a:xfrm>
                  <a:custGeom>
                    <a:avLst/>
                    <a:gdLst>
                      <a:gd name="connsiteX0" fmla="*/ 0 w 819912"/>
                      <a:gd name="connsiteY0" fmla="*/ 353411 h 706822"/>
                      <a:gd name="connsiteX1" fmla="*/ 176706 w 819912"/>
                      <a:gd name="connsiteY1" fmla="*/ 0 h 706822"/>
                      <a:gd name="connsiteX2" fmla="*/ 643207 w 819912"/>
                      <a:gd name="connsiteY2" fmla="*/ 0 h 706822"/>
                      <a:gd name="connsiteX3" fmla="*/ 819912 w 819912"/>
                      <a:gd name="connsiteY3" fmla="*/ 353411 h 706822"/>
                      <a:gd name="connsiteX4" fmla="*/ 643207 w 819912"/>
                      <a:gd name="connsiteY4" fmla="*/ 706822 h 706822"/>
                      <a:gd name="connsiteX5" fmla="*/ 176706 w 819912"/>
                      <a:gd name="connsiteY5" fmla="*/ 706822 h 706822"/>
                      <a:gd name="connsiteX6" fmla="*/ 0 w 819912"/>
                      <a:gd name="connsiteY6" fmla="*/ 353411 h 706822"/>
                      <a:gd name="connsiteX0" fmla="*/ 176706 w 819912"/>
                      <a:gd name="connsiteY0" fmla="*/ 0 h 706822"/>
                      <a:gd name="connsiteX1" fmla="*/ 643207 w 819912"/>
                      <a:gd name="connsiteY1" fmla="*/ 0 h 706822"/>
                      <a:gd name="connsiteX2" fmla="*/ 819912 w 819912"/>
                      <a:gd name="connsiteY2" fmla="*/ 353411 h 706822"/>
                      <a:gd name="connsiteX3" fmla="*/ 643207 w 819912"/>
                      <a:gd name="connsiteY3" fmla="*/ 706822 h 706822"/>
                      <a:gd name="connsiteX4" fmla="*/ 176706 w 819912"/>
                      <a:gd name="connsiteY4" fmla="*/ 706822 h 706822"/>
                      <a:gd name="connsiteX5" fmla="*/ 0 w 819912"/>
                      <a:gd name="connsiteY5" fmla="*/ 353411 h 706822"/>
                      <a:gd name="connsiteX6" fmla="*/ 268146 w 819912"/>
                      <a:gd name="connsiteY6" fmla="*/ 91440 h 706822"/>
                      <a:gd name="connsiteX0" fmla="*/ 176706 w 819912"/>
                      <a:gd name="connsiteY0" fmla="*/ 0 h 706822"/>
                      <a:gd name="connsiteX1" fmla="*/ 643207 w 819912"/>
                      <a:gd name="connsiteY1" fmla="*/ 0 h 706822"/>
                      <a:gd name="connsiteX2" fmla="*/ 819912 w 819912"/>
                      <a:gd name="connsiteY2" fmla="*/ 353411 h 706822"/>
                      <a:gd name="connsiteX3" fmla="*/ 643207 w 819912"/>
                      <a:gd name="connsiteY3" fmla="*/ 706822 h 706822"/>
                      <a:gd name="connsiteX4" fmla="*/ 176706 w 819912"/>
                      <a:gd name="connsiteY4" fmla="*/ 706822 h 706822"/>
                      <a:gd name="connsiteX5" fmla="*/ 0 w 819912"/>
                      <a:gd name="connsiteY5" fmla="*/ 353411 h 706822"/>
                      <a:gd name="connsiteX0" fmla="*/ 0 w 643206"/>
                      <a:gd name="connsiteY0" fmla="*/ 0 h 706822"/>
                      <a:gd name="connsiteX1" fmla="*/ 466501 w 643206"/>
                      <a:gd name="connsiteY1" fmla="*/ 0 h 706822"/>
                      <a:gd name="connsiteX2" fmla="*/ 643206 w 643206"/>
                      <a:gd name="connsiteY2" fmla="*/ 353411 h 706822"/>
                      <a:gd name="connsiteX3" fmla="*/ 466501 w 643206"/>
                      <a:gd name="connsiteY3" fmla="*/ 706822 h 706822"/>
                      <a:gd name="connsiteX4" fmla="*/ 0 w 643206"/>
                      <a:gd name="connsiteY4" fmla="*/ 706822 h 706822"/>
                      <a:gd name="connsiteX0" fmla="*/ 466501 w 643206"/>
                      <a:gd name="connsiteY0" fmla="*/ 0 h 706822"/>
                      <a:gd name="connsiteX1" fmla="*/ 643206 w 643206"/>
                      <a:gd name="connsiteY1" fmla="*/ 353411 h 706822"/>
                      <a:gd name="connsiteX2" fmla="*/ 466501 w 643206"/>
                      <a:gd name="connsiteY2" fmla="*/ 706822 h 706822"/>
                      <a:gd name="connsiteX3" fmla="*/ 0 w 643206"/>
                      <a:gd name="connsiteY3" fmla="*/ 706822 h 706822"/>
                      <a:gd name="connsiteX0" fmla="*/ 643206 w 643206"/>
                      <a:gd name="connsiteY0" fmla="*/ 0 h 353411"/>
                      <a:gd name="connsiteX1" fmla="*/ 466501 w 643206"/>
                      <a:gd name="connsiteY1" fmla="*/ 353411 h 353411"/>
                      <a:gd name="connsiteX2" fmla="*/ 0 w 643206"/>
                      <a:gd name="connsiteY2" fmla="*/ 353411 h 353411"/>
                    </a:gdLst>
                    <a:ahLst/>
                    <a:cxnLst>
                      <a:cxn ang="0">
                        <a:pos x="connsiteX0" y="connsiteY0"/>
                      </a:cxn>
                      <a:cxn ang="0">
                        <a:pos x="connsiteX1" y="connsiteY1"/>
                      </a:cxn>
                      <a:cxn ang="0">
                        <a:pos x="connsiteX2" y="connsiteY2"/>
                      </a:cxn>
                    </a:cxnLst>
                    <a:rect l="l" t="t" r="r" b="b"/>
                    <a:pathLst>
                      <a:path w="643206" h="353411">
                        <a:moveTo>
                          <a:pt x="643206" y="0"/>
                        </a:moveTo>
                        <a:lnTo>
                          <a:pt x="466501" y="353411"/>
                        </a:lnTo>
                        <a:lnTo>
                          <a:pt x="0" y="353411"/>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1" name="Oval 240">
                    <a:extLst>
                      <a:ext uri="{FF2B5EF4-FFF2-40B4-BE49-F238E27FC236}">
                        <a16:creationId xmlns:a16="http://schemas.microsoft.com/office/drawing/2014/main" id="{2362F200-6453-47BC-B43E-FD1A30D111E0}"/>
                      </a:ext>
                    </a:extLst>
                  </p:cNvPr>
                  <p:cNvSpPr>
                    <a:spLocks noChangeAspect="1"/>
                  </p:cNvSpPr>
                  <p:nvPr/>
                </p:nvSpPr>
                <p:spPr>
                  <a:xfrm>
                    <a:off x="3696286" y="4558219"/>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42" name="Oval 241">
                    <a:extLst>
                      <a:ext uri="{FF2B5EF4-FFF2-40B4-BE49-F238E27FC236}">
                        <a16:creationId xmlns:a16="http://schemas.microsoft.com/office/drawing/2014/main" id="{B1A671E4-EBDB-4DD1-B73F-F153BA4CEF1B}"/>
                      </a:ext>
                    </a:extLst>
                  </p:cNvPr>
                  <p:cNvSpPr>
                    <a:spLocks noChangeAspect="1"/>
                  </p:cNvSpPr>
                  <p:nvPr/>
                </p:nvSpPr>
                <p:spPr>
                  <a:xfrm>
                    <a:off x="3148815" y="4842912"/>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39" name="Straight Connector 238">
                  <a:extLst>
                    <a:ext uri="{FF2B5EF4-FFF2-40B4-BE49-F238E27FC236}">
                      <a16:creationId xmlns:a16="http://schemas.microsoft.com/office/drawing/2014/main" id="{885ACD0A-8D5A-43B2-B394-4289ABD1D968}"/>
                    </a:ext>
                  </a:extLst>
                </p:cNvPr>
                <p:cNvCxnSpPr>
                  <a:cxnSpLocks/>
                  <a:endCxn id="240" idx="1"/>
                </p:cNvCxnSpPr>
                <p:nvPr/>
              </p:nvCxnSpPr>
              <p:spPr>
                <a:xfrm flipH="1" flipV="1">
                  <a:off x="3588691" y="4882170"/>
                  <a:ext cx="181537" cy="410329"/>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20" name="8 hexa line">
                <a:extLst>
                  <a:ext uri="{FF2B5EF4-FFF2-40B4-BE49-F238E27FC236}">
                    <a16:creationId xmlns:a16="http://schemas.microsoft.com/office/drawing/2014/main" id="{F5E99764-6F36-4075-A6F1-1A9A71B977F9}"/>
                  </a:ext>
                </a:extLst>
              </p:cNvPr>
              <p:cNvGrpSpPr/>
              <p:nvPr/>
            </p:nvGrpSpPr>
            <p:grpSpPr>
              <a:xfrm>
                <a:off x="605453" y="794813"/>
                <a:ext cx="152671" cy="165484"/>
                <a:chOff x="2397308" y="4267537"/>
                <a:chExt cx="618903" cy="670847"/>
              </a:xfrm>
            </p:grpSpPr>
            <p:grpSp>
              <p:nvGrpSpPr>
                <p:cNvPr id="233" name="Group 232">
                  <a:extLst>
                    <a:ext uri="{FF2B5EF4-FFF2-40B4-BE49-F238E27FC236}">
                      <a16:creationId xmlns:a16="http://schemas.microsoft.com/office/drawing/2014/main" id="{DAA23C3F-957D-4971-91C0-E662782BEA6C}"/>
                    </a:ext>
                  </a:extLst>
                </p:cNvPr>
                <p:cNvGrpSpPr/>
                <p:nvPr/>
              </p:nvGrpSpPr>
              <p:grpSpPr>
                <a:xfrm>
                  <a:off x="2401741" y="4267537"/>
                  <a:ext cx="614470" cy="365453"/>
                  <a:chOff x="2404122" y="2465186"/>
                  <a:chExt cx="614470" cy="365453"/>
                </a:xfrm>
              </p:grpSpPr>
              <p:sp>
                <p:nvSpPr>
                  <p:cNvPr id="235" name="Hexagon 235">
                    <a:extLst>
                      <a:ext uri="{FF2B5EF4-FFF2-40B4-BE49-F238E27FC236}">
                        <a16:creationId xmlns:a16="http://schemas.microsoft.com/office/drawing/2014/main" id="{662B1001-9FD0-487C-801C-D69B42F8E8B7}"/>
                      </a:ext>
                    </a:extLst>
                  </p:cNvPr>
                  <p:cNvSpPr/>
                  <p:nvPr/>
                </p:nvSpPr>
                <p:spPr>
                  <a:xfrm>
                    <a:off x="2425645" y="2474288"/>
                    <a:ext cx="584092" cy="320932"/>
                  </a:xfrm>
                  <a:custGeom>
                    <a:avLst/>
                    <a:gdLst>
                      <a:gd name="connsiteX0" fmla="*/ 0 w 815360"/>
                      <a:gd name="connsiteY0" fmla="*/ 351449 h 702898"/>
                      <a:gd name="connsiteX1" fmla="*/ 175725 w 815360"/>
                      <a:gd name="connsiteY1" fmla="*/ 0 h 702898"/>
                      <a:gd name="connsiteX2" fmla="*/ 639636 w 815360"/>
                      <a:gd name="connsiteY2" fmla="*/ 0 h 702898"/>
                      <a:gd name="connsiteX3" fmla="*/ 815360 w 815360"/>
                      <a:gd name="connsiteY3" fmla="*/ 351449 h 702898"/>
                      <a:gd name="connsiteX4" fmla="*/ 639636 w 815360"/>
                      <a:gd name="connsiteY4" fmla="*/ 702898 h 702898"/>
                      <a:gd name="connsiteX5" fmla="*/ 175725 w 815360"/>
                      <a:gd name="connsiteY5" fmla="*/ 702898 h 702898"/>
                      <a:gd name="connsiteX6" fmla="*/ 0 w 815360"/>
                      <a:gd name="connsiteY6" fmla="*/ 351449 h 702898"/>
                      <a:gd name="connsiteX0" fmla="*/ 175725 w 815360"/>
                      <a:gd name="connsiteY0" fmla="*/ 0 h 702898"/>
                      <a:gd name="connsiteX1" fmla="*/ 639636 w 815360"/>
                      <a:gd name="connsiteY1" fmla="*/ 0 h 702898"/>
                      <a:gd name="connsiteX2" fmla="*/ 815360 w 815360"/>
                      <a:gd name="connsiteY2" fmla="*/ 351449 h 702898"/>
                      <a:gd name="connsiteX3" fmla="*/ 639636 w 815360"/>
                      <a:gd name="connsiteY3" fmla="*/ 702898 h 702898"/>
                      <a:gd name="connsiteX4" fmla="*/ 175725 w 815360"/>
                      <a:gd name="connsiteY4" fmla="*/ 702898 h 702898"/>
                      <a:gd name="connsiteX5" fmla="*/ 0 w 815360"/>
                      <a:gd name="connsiteY5" fmla="*/ 351449 h 702898"/>
                      <a:gd name="connsiteX6" fmla="*/ 267165 w 815360"/>
                      <a:gd name="connsiteY6" fmla="*/ 91440 h 702898"/>
                      <a:gd name="connsiteX0" fmla="*/ 175725 w 815360"/>
                      <a:gd name="connsiteY0" fmla="*/ 0 h 702898"/>
                      <a:gd name="connsiteX1" fmla="*/ 639636 w 815360"/>
                      <a:gd name="connsiteY1" fmla="*/ 0 h 702898"/>
                      <a:gd name="connsiteX2" fmla="*/ 815360 w 815360"/>
                      <a:gd name="connsiteY2" fmla="*/ 351449 h 702898"/>
                      <a:gd name="connsiteX3" fmla="*/ 639636 w 815360"/>
                      <a:gd name="connsiteY3" fmla="*/ 702898 h 702898"/>
                      <a:gd name="connsiteX4" fmla="*/ 175725 w 815360"/>
                      <a:gd name="connsiteY4" fmla="*/ 702898 h 702898"/>
                      <a:gd name="connsiteX5" fmla="*/ 0 w 815360"/>
                      <a:gd name="connsiteY5" fmla="*/ 351449 h 702898"/>
                      <a:gd name="connsiteX0" fmla="*/ 639636 w 815360"/>
                      <a:gd name="connsiteY0" fmla="*/ 0 h 702898"/>
                      <a:gd name="connsiteX1" fmla="*/ 815360 w 815360"/>
                      <a:gd name="connsiteY1" fmla="*/ 351449 h 702898"/>
                      <a:gd name="connsiteX2" fmla="*/ 639636 w 815360"/>
                      <a:gd name="connsiteY2" fmla="*/ 702898 h 702898"/>
                      <a:gd name="connsiteX3" fmla="*/ 175725 w 815360"/>
                      <a:gd name="connsiteY3" fmla="*/ 702898 h 702898"/>
                      <a:gd name="connsiteX4" fmla="*/ 0 w 815360"/>
                      <a:gd name="connsiteY4" fmla="*/ 351449 h 702898"/>
                      <a:gd name="connsiteX0" fmla="*/ 815360 w 815360"/>
                      <a:gd name="connsiteY0" fmla="*/ 0 h 351449"/>
                      <a:gd name="connsiteX1" fmla="*/ 639636 w 815360"/>
                      <a:gd name="connsiteY1" fmla="*/ 351449 h 351449"/>
                      <a:gd name="connsiteX2" fmla="*/ 175725 w 815360"/>
                      <a:gd name="connsiteY2" fmla="*/ 351449 h 351449"/>
                      <a:gd name="connsiteX3" fmla="*/ 0 w 815360"/>
                      <a:gd name="connsiteY3" fmla="*/ 0 h 351449"/>
                      <a:gd name="connsiteX0" fmla="*/ 639636 w 639636"/>
                      <a:gd name="connsiteY0" fmla="*/ 351449 h 351449"/>
                      <a:gd name="connsiteX1" fmla="*/ 175725 w 639636"/>
                      <a:gd name="connsiteY1" fmla="*/ 351449 h 351449"/>
                      <a:gd name="connsiteX2" fmla="*/ 0 w 639636"/>
                      <a:gd name="connsiteY2" fmla="*/ 0 h 351449"/>
                    </a:gdLst>
                    <a:ahLst/>
                    <a:cxnLst>
                      <a:cxn ang="0">
                        <a:pos x="connsiteX0" y="connsiteY0"/>
                      </a:cxn>
                      <a:cxn ang="0">
                        <a:pos x="connsiteX1" y="connsiteY1"/>
                      </a:cxn>
                      <a:cxn ang="0">
                        <a:pos x="connsiteX2" y="connsiteY2"/>
                      </a:cxn>
                    </a:cxnLst>
                    <a:rect l="l" t="t" r="r" b="b"/>
                    <a:pathLst>
                      <a:path w="639636" h="351449">
                        <a:moveTo>
                          <a:pt x="639636" y="351449"/>
                        </a:moveTo>
                        <a:lnTo>
                          <a:pt x="175725" y="351449"/>
                        </a:lnTo>
                        <a:lnTo>
                          <a:pt x="0" y="0"/>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36" name="Oval 235">
                    <a:extLst>
                      <a:ext uri="{FF2B5EF4-FFF2-40B4-BE49-F238E27FC236}">
                        <a16:creationId xmlns:a16="http://schemas.microsoft.com/office/drawing/2014/main" id="{389EEE3F-A9FA-4B5B-8A41-D0D62AC2A624}"/>
                      </a:ext>
                    </a:extLst>
                  </p:cNvPr>
                  <p:cNvSpPr>
                    <a:spLocks noChangeAspect="1"/>
                  </p:cNvSpPr>
                  <p:nvPr/>
                </p:nvSpPr>
                <p:spPr>
                  <a:xfrm>
                    <a:off x="2404122" y="2465186"/>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37" name="Oval 236">
                    <a:extLst>
                      <a:ext uri="{FF2B5EF4-FFF2-40B4-BE49-F238E27FC236}">
                        <a16:creationId xmlns:a16="http://schemas.microsoft.com/office/drawing/2014/main" id="{19737FF8-0C01-4880-81FC-3C4D26C67627}"/>
                      </a:ext>
                    </a:extLst>
                  </p:cNvPr>
                  <p:cNvSpPr>
                    <a:spLocks noChangeAspect="1"/>
                  </p:cNvSpPr>
                  <p:nvPr/>
                </p:nvSpPr>
                <p:spPr>
                  <a:xfrm>
                    <a:off x="2944650" y="2756697"/>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34" name="Straight Connector 233">
                  <a:extLst>
                    <a:ext uri="{FF2B5EF4-FFF2-40B4-BE49-F238E27FC236}">
                      <a16:creationId xmlns:a16="http://schemas.microsoft.com/office/drawing/2014/main" id="{780A92F5-E701-4E2C-A6BE-1D12657BB863}"/>
                    </a:ext>
                  </a:extLst>
                </p:cNvPr>
                <p:cNvCxnSpPr>
                  <a:cxnSpLocks/>
                  <a:endCxn id="235" idx="1"/>
                </p:cNvCxnSpPr>
                <p:nvPr/>
              </p:nvCxnSpPr>
              <p:spPr>
                <a:xfrm flipV="1">
                  <a:off x="2397308" y="4597571"/>
                  <a:ext cx="186422" cy="340813"/>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21" name="7 hexa line">
                <a:extLst>
                  <a:ext uri="{FF2B5EF4-FFF2-40B4-BE49-F238E27FC236}">
                    <a16:creationId xmlns:a16="http://schemas.microsoft.com/office/drawing/2014/main" id="{0D6B23EA-8C16-4DA7-95EC-BDE7D80203CE}"/>
                  </a:ext>
                </a:extLst>
              </p:cNvPr>
              <p:cNvGrpSpPr/>
              <p:nvPr/>
            </p:nvGrpSpPr>
            <p:grpSpPr>
              <a:xfrm>
                <a:off x="231817" y="467524"/>
                <a:ext cx="297666" cy="194602"/>
                <a:chOff x="882650" y="2940758"/>
                <a:chExt cx="1206688" cy="788885"/>
              </a:xfrm>
            </p:grpSpPr>
            <p:grpSp>
              <p:nvGrpSpPr>
                <p:cNvPr id="228" name="Group 227">
                  <a:extLst>
                    <a:ext uri="{FF2B5EF4-FFF2-40B4-BE49-F238E27FC236}">
                      <a16:creationId xmlns:a16="http://schemas.microsoft.com/office/drawing/2014/main" id="{32A9F61A-4ABA-4CC6-BCE6-19502B7555CA}"/>
                    </a:ext>
                  </a:extLst>
                </p:cNvPr>
                <p:cNvGrpSpPr/>
                <p:nvPr/>
              </p:nvGrpSpPr>
              <p:grpSpPr>
                <a:xfrm>
                  <a:off x="1877169" y="2940758"/>
                  <a:ext cx="212169" cy="788885"/>
                  <a:chOff x="1877169" y="2940758"/>
                  <a:chExt cx="212169" cy="788885"/>
                </a:xfrm>
              </p:grpSpPr>
              <p:sp>
                <p:nvSpPr>
                  <p:cNvPr id="230" name="Hexagon 253">
                    <a:extLst>
                      <a:ext uri="{FF2B5EF4-FFF2-40B4-BE49-F238E27FC236}">
                        <a16:creationId xmlns:a16="http://schemas.microsoft.com/office/drawing/2014/main" id="{324346D4-91BB-494C-A385-D2A6DE8C17BB}"/>
                      </a:ext>
                    </a:extLst>
                  </p:cNvPr>
                  <p:cNvSpPr/>
                  <p:nvPr/>
                </p:nvSpPr>
                <p:spPr>
                  <a:xfrm>
                    <a:off x="1877169" y="2995101"/>
                    <a:ext cx="171323" cy="685290"/>
                  </a:xfrm>
                  <a:custGeom>
                    <a:avLst/>
                    <a:gdLst>
                      <a:gd name="connsiteX0" fmla="*/ 0 w 794934"/>
                      <a:gd name="connsiteY0" fmla="*/ 342645 h 685290"/>
                      <a:gd name="connsiteX1" fmla="*/ 171323 w 794934"/>
                      <a:gd name="connsiteY1" fmla="*/ 0 h 685290"/>
                      <a:gd name="connsiteX2" fmla="*/ 623612 w 794934"/>
                      <a:gd name="connsiteY2" fmla="*/ 0 h 685290"/>
                      <a:gd name="connsiteX3" fmla="*/ 794934 w 794934"/>
                      <a:gd name="connsiteY3" fmla="*/ 342645 h 685290"/>
                      <a:gd name="connsiteX4" fmla="*/ 623612 w 794934"/>
                      <a:gd name="connsiteY4" fmla="*/ 685290 h 685290"/>
                      <a:gd name="connsiteX5" fmla="*/ 171323 w 794934"/>
                      <a:gd name="connsiteY5" fmla="*/ 685290 h 685290"/>
                      <a:gd name="connsiteX6" fmla="*/ 0 w 794934"/>
                      <a:gd name="connsiteY6" fmla="*/ 342645 h 685290"/>
                      <a:gd name="connsiteX0" fmla="*/ 623612 w 794934"/>
                      <a:gd name="connsiteY0" fmla="*/ 0 h 685290"/>
                      <a:gd name="connsiteX1" fmla="*/ 794934 w 794934"/>
                      <a:gd name="connsiteY1" fmla="*/ 342645 h 685290"/>
                      <a:gd name="connsiteX2" fmla="*/ 623612 w 794934"/>
                      <a:gd name="connsiteY2" fmla="*/ 685290 h 685290"/>
                      <a:gd name="connsiteX3" fmla="*/ 171323 w 794934"/>
                      <a:gd name="connsiteY3" fmla="*/ 685290 h 685290"/>
                      <a:gd name="connsiteX4" fmla="*/ 0 w 794934"/>
                      <a:gd name="connsiteY4" fmla="*/ 342645 h 685290"/>
                      <a:gd name="connsiteX5" fmla="*/ 171323 w 794934"/>
                      <a:gd name="connsiteY5" fmla="*/ 0 h 685290"/>
                      <a:gd name="connsiteX6" fmla="*/ 715052 w 794934"/>
                      <a:gd name="connsiteY6" fmla="*/ 91440 h 685290"/>
                      <a:gd name="connsiteX0" fmla="*/ 623612 w 794934"/>
                      <a:gd name="connsiteY0" fmla="*/ 0 h 685290"/>
                      <a:gd name="connsiteX1" fmla="*/ 794934 w 794934"/>
                      <a:gd name="connsiteY1" fmla="*/ 342645 h 685290"/>
                      <a:gd name="connsiteX2" fmla="*/ 623612 w 794934"/>
                      <a:gd name="connsiteY2" fmla="*/ 685290 h 685290"/>
                      <a:gd name="connsiteX3" fmla="*/ 171323 w 794934"/>
                      <a:gd name="connsiteY3" fmla="*/ 685290 h 685290"/>
                      <a:gd name="connsiteX4" fmla="*/ 0 w 794934"/>
                      <a:gd name="connsiteY4" fmla="*/ 342645 h 685290"/>
                      <a:gd name="connsiteX5" fmla="*/ 171323 w 794934"/>
                      <a:gd name="connsiteY5" fmla="*/ 0 h 685290"/>
                      <a:gd name="connsiteX0" fmla="*/ 794934 w 794934"/>
                      <a:gd name="connsiteY0" fmla="*/ 342645 h 685290"/>
                      <a:gd name="connsiteX1" fmla="*/ 623612 w 794934"/>
                      <a:gd name="connsiteY1" fmla="*/ 685290 h 685290"/>
                      <a:gd name="connsiteX2" fmla="*/ 171323 w 794934"/>
                      <a:gd name="connsiteY2" fmla="*/ 685290 h 685290"/>
                      <a:gd name="connsiteX3" fmla="*/ 0 w 794934"/>
                      <a:gd name="connsiteY3" fmla="*/ 342645 h 685290"/>
                      <a:gd name="connsiteX4" fmla="*/ 171323 w 794934"/>
                      <a:gd name="connsiteY4" fmla="*/ 0 h 685290"/>
                      <a:gd name="connsiteX0" fmla="*/ 623612 w 623612"/>
                      <a:gd name="connsiteY0" fmla="*/ 685290 h 685290"/>
                      <a:gd name="connsiteX1" fmla="*/ 171323 w 623612"/>
                      <a:gd name="connsiteY1" fmla="*/ 685290 h 685290"/>
                      <a:gd name="connsiteX2" fmla="*/ 0 w 623612"/>
                      <a:gd name="connsiteY2" fmla="*/ 342645 h 685290"/>
                      <a:gd name="connsiteX3" fmla="*/ 171323 w 623612"/>
                      <a:gd name="connsiteY3" fmla="*/ 0 h 685290"/>
                      <a:gd name="connsiteX0" fmla="*/ 171323 w 171323"/>
                      <a:gd name="connsiteY0" fmla="*/ 685290 h 685290"/>
                      <a:gd name="connsiteX1" fmla="*/ 0 w 171323"/>
                      <a:gd name="connsiteY1" fmla="*/ 342645 h 685290"/>
                      <a:gd name="connsiteX2" fmla="*/ 171323 w 171323"/>
                      <a:gd name="connsiteY2" fmla="*/ 0 h 685290"/>
                    </a:gdLst>
                    <a:ahLst/>
                    <a:cxnLst>
                      <a:cxn ang="0">
                        <a:pos x="connsiteX0" y="connsiteY0"/>
                      </a:cxn>
                      <a:cxn ang="0">
                        <a:pos x="connsiteX1" y="connsiteY1"/>
                      </a:cxn>
                      <a:cxn ang="0">
                        <a:pos x="connsiteX2" y="connsiteY2"/>
                      </a:cxn>
                    </a:cxnLst>
                    <a:rect l="l" t="t" r="r" b="b"/>
                    <a:pathLst>
                      <a:path w="171323" h="685290">
                        <a:moveTo>
                          <a:pt x="171323" y="685290"/>
                        </a:moveTo>
                        <a:lnTo>
                          <a:pt x="0" y="342645"/>
                        </a:lnTo>
                        <a:lnTo>
                          <a:pt x="171323" y="0"/>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31" name="Oval 230">
                    <a:extLst>
                      <a:ext uri="{FF2B5EF4-FFF2-40B4-BE49-F238E27FC236}">
                        <a16:creationId xmlns:a16="http://schemas.microsoft.com/office/drawing/2014/main" id="{FFD2E6E4-43AC-45E2-AFB5-E56C08CC9790}"/>
                      </a:ext>
                    </a:extLst>
                  </p:cNvPr>
                  <p:cNvSpPr>
                    <a:spLocks noChangeAspect="1"/>
                  </p:cNvSpPr>
                  <p:nvPr/>
                </p:nvSpPr>
                <p:spPr>
                  <a:xfrm>
                    <a:off x="2015396" y="2940758"/>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32" name="Oval 231">
                    <a:extLst>
                      <a:ext uri="{FF2B5EF4-FFF2-40B4-BE49-F238E27FC236}">
                        <a16:creationId xmlns:a16="http://schemas.microsoft.com/office/drawing/2014/main" id="{A68CCEEE-AE93-4E9A-A925-1715E7DC602F}"/>
                      </a:ext>
                    </a:extLst>
                  </p:cNvPr>
                  <p:cNvSpPr>
                    <a:spLocks noChangeAspect="1"/>
                  </p:cNvSpPr>
                  <p:nvPr/>
                </p:nvSpPr>
                <p:spPr>
                  <a:xfrm>
                    <a:off x="2015396" y="3655701"/>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29" name="Straight Connector 228">
                  <a:extLst>
                    <a:ext uri="{FF2B5EF4-FFF2-40B4-BE49-F238E27FC236}">
                      <a16:creationId xmlns:a16="http://schemas.microsoft.com/office/drawing/2014/main" id="{03E21092-FD8A-4E73-9EFB-1EA20D9198A3}"/>
                    </a:ext>
                  </a:extLst>
                </p:cNvPr>
                <p:cNvCxnSpPr>
                  <a:cxnSpLocks/>
                  <a:endCxn id="230" idx="1"/>
                </p:cNvCxnSpPr>
                <p:nvPr/>
              </p:nvCxnSpPr>
              <p:spPr>
                <a:xfrm flipV="1">
                  <a:off x="882650" y="3337746"/>
                  <a:ext cx="994519" cy="0"/>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22" name="2 hexa line">
                <a:extLst>
                  <a:ext uri="{FF2B5EF4-FFF2-40B4-BE49-F238E27FC236}">
                    <a16:creationId xmlns:a16="http://schemas.microsoft.com/office/drawing/2014/main" id="{2FB9A5F3-3FF9-4F71-AA01-15664F67195E}"/>
                  </a:ext>
                </a:extLst>
              </p:cNvPr>
              <p:cNvGrpSpPr/>
              <p:nvPr/>
            </p:nvGrpSpPr>
            <p:grpSpPr>
              <a:xfrm>
                <a:off x="607134" y="350210"/>
                <a:ext cx="151577" cy="141539"/>
                <a:chOff x="2404122" y="2465186"/>
                <a:chExt cx="614470" cy="573777"/>
              </a:xfrm>
            </p:grpSpPr>
            <p:grpSp>
              <p:nvGrpSpPr>
                <p:cNvPr id="223" name="Group 222">
                  <a:extLst>
                    <a:ext uri="{FF2B5EF4-FFF2-40B4-BE49-F238E27FC236}">
                      <a16:creationId xmlns:a16="http://schemas.microsoft.com/office/drawing/2014/main" id="{6100AAA3-23D2-4933-98DC-C3E5AA156223}"/>
                    </a:ext>
                  </a:extLst>
                </p:cNvPr>
                <p:cNvGrpSpPr/>
                <p:nvPr/>
              </p:nvGrpSpPr>
              <p:grpSpPr>
                <a:xfrm>
                  <a:off x="2404122" y="2465186"/>
                  <a:ext cx="614470" cy="365453"/>
                  <a:chOff x="2404122" y="2465186"/>
                  <a:chExt cx="614470" cy="365453"/>
                </a:xfrm>
              </p:grpSpPr>
              <p:sp>
                <p:nvSpPr>
                  <p:cNvPr id="225" name="Hexagon 235">
                    <a:extLst>
                      <a:ext uri="{FF2B5EF4-FFF2-40B4-BE49-F238E27FC236}">
                        <a16:creationId xmlns:a16="http://schemas.microsoft.com/office/drawing/2014/main" id="{7F53E071-157B-4192-9431-BF7D8C2529BD}"/>
                      </a:ext>
                    </a:extLst>
                  </p:cNvPr>
                  <p:cNvSpPr/>
                  <p:nvPr/>
                </p:nvSpPr>
                <p:spPr>
                  <a:xfrm>
                    <a:off x="2425645" y="2474288"/>
                    <a:ext cx="584092" cy="320932"/>
                  </a:xfrm>
                  <a:custGeom>
                    <a:avLst/>
                    <a:gdLst>
                      <a:gd name="connsiteX0" fmla="*/ 0 w 815360"/>
                      <a:gd name="connsiteY0" fmla="*/ 351449 h 702898"/>
                      <a:gd name="connsiteX1" fmla="*/ 175725 w 815360"/>
                      <a:gd name="connsiteY1" fmla="*/ 0 h 702898"/>
                      <a:gd name="connsiteX2" fmla="*/ 639636 w 815360"/>
                      <a:gd name="connsiteY2" fmla="*/ 0 h 702898"/>
                      <a:gd name="connsiteX3" fmla="*/ 815360 w 815360"/>
                      <a:gd name="connsiteY3" fmla="*/ 351449 h 702898"/>
                      <a:gd name="connsiteX4" fmla="*/ 639636 w 815360"/>
                      <a:gd name="connsiteY4" fmla="*/ 702898 h 702898"/>
                      <a:gd name="connsiteX5" fmla="*/ 175725 w 815360"/>
                      <a:gd name="connsiteY5" fmla="*/ 702898 h 702898"/>
                      <a:gd name="connsiteX6" fmla="*/ 0 w 815360"/>
                      <a:gd name="connsiteY6" fmla="*/ 351449 h 702898"/>
                      <a:gd name="connsiteX0" fmla="*/ 175725 w 815360"/>
                      <a:gd name="connsiteY0" fmla="*/ 0 h 702898"/>
                      <a:gd name="connsiteX1" fmla="*/ 639636 w 815360"/>
                      <a:gd name="connsiteY1" fmla="*/ 0 h 702898"/>
                      <a:gd name="connsiteX2" fmla="*/ 815360 w 815360"/>
                      <a:gd name="connsiteY2" fmla="*/ 351449 h 702898"/>
                      <a:gd name="connsiteX3" fmla="*/ 639636 w 815360"/>
                      <a:gd name="connsiteY3" fmla="*/ 702898 h 702898"/>
                      <a:gd name="connsiteX4" fmla="*/ 175725 w 815360"/>
                      <a:gd name="connsiteY4" fmla="*/ 702898 h 702898"/>
                      <a:gd name="connsiteX5" fmla="*/ 0 w 815360"/>
                      <a:gd name="connsiteY5" fmla="*/ 351449 h 702898"/>
                      <a:gd name="connsiteX6" fmla="*/ 267165 w 815360"/>
                      <a:gd name="connsiteY6" fmla="*/ 91440 h 702898"/>
                      <a:gd name="connsiteX0" fmla="*/ 175725 w 815360"/>
                      <a:gd name="connsiteY0" fmla="*/ 0 h 702898"/>
                      <a:gd name="connsiteX1" fmla="*/ 639636 w 815360"/>
                      <a:gd name="connsiteY1" fmla="*/ 0 h 702898"/>
                      <a:gd name="connsiteX2" fmla="*/ 815360 w 815360"/>
                      <a:gd name="connsiteY2" fmla="*/ 351449 h 702898"/>
                      <a:gd name="connsiteX3" fmla="*/ 639636 w 815360"/>
                      <a:gd name="connsiteY3" fmla="*/ 702898 h 702898"/>
                      <a:gd name="connsiteX4" fmla="*/ 175725 w 815360"/>
                      <a:gd name="connsiteY4" fmla="*/ 702898 h 702898"/>
                      <a:gd name="connsiteX5" fmla="*/ 0 w 815360"/>
                      <a:gd name="connsiteY5" fmla="*/ 351449 h 702898"/>
                      <a:gd name="connsiteX0" fmla="*/ 639636 w 815360"/>
                      <a:gd name="connsiteY0" fmla="*/ 0 h 702898"/>
                      <a:gd name="connsiteX1" fmla="*/ 815360 w 815360"/>
                      <a:gd name="connsiteY1" fmla="*/ 351449 h 702898"/>
                      <a:gd name="connsiteX2" fmla="*/ 639636 w 815360"/>
                      <a:gd name="connsiteY2" fmla="*/ 702898 h 702898"/>
                      <a:gd name="connsiteX3" fmla="*/ 175725 w 815360"/>
                      <a:gd name="connsiteY3" fmla="*/ 702898 h 702898"/>
                      <a:gd name="connsiteX4" fmla="*/ 0 w 815360"/>
                      <a:gd name="connsiteY4" fmla="*/ 351449 h 702898"/>
                      <a:gd name="connsiteX0" fmla="*/ 815360 w 815360"/>
                      <a:gd name="connsiteY0" fmla="*/ 0 h 351449"/>
                      <a:gd name="connsiteX1" fmla="*/ 639636 w 815360"/>
                      <a:gd name="connsiteY1" fmla="*/ 351449 h 351449"/>
                      <a:gd name="connsiteX2" fmla="*/ 175725 w 815360"/>
                      <a:gd name="connsiteY2" fmla="*/ 351449 h 351449"/>
                      <a:gd name="connsiteX3" fmla="*/ 0 w 815360"/>
                      <a:gd name="connsiteY3" fmla="*/ 0 h 351449"/>
                      <a:gd name="connsiteX0" fmla="*/ 639636 w 639636"/>
                      <a:gd name="connsiteY0" fmla="*/ 351449 h 351449"/>
                      <a:gd name="connsiteX1" fmla="*/ 175725 w 639636"/>
                      <a:gd name="connsiteY1" fmla="*/ 351449 h 351449"/>
                      <a:gd name="connsiteX2" fmla="*/ 0 w 639636"/>
                      <a:gd name="connsiteY2" fmla="*/ 0 h 351449"/>
                    </a:gdLst>
                    <a:ahLst/>
                    <a:cxnLst>
                      <a:cxn ang="0">
                        <a:pos x="connsiteX0" y="connsiteY0"/>
                      </a:cxn>
                      <a:cxn ang="0">
                        <a:pos x="connsiteX1" y="connsiteY1"/>
                      </a:cxn>
                      <a:cxn ang="0">
                        <a:pos x="connsiteX2" y="connsiteY2"/>
                      </a:cxn>
                    </a:cxnLst>
                    <a:rect l="l" t="t" r="r" b="b"/>
                    <a:pathLst>
                      <a:path w="639636" h="351449">
                        <a:moveTo>
                          <a:pt x="639636" y="351449"/>
                        </a:moveTo>
                        <a:lnTo>
                          <a:pt x="175725" y="351449"/>
                        </a:lnTo>
                        <a:lnTo>
                          <a:pt x="0" y="0"/>
                        </a:lnTo>
                      </a:path>
                    </a:pathLst>
                  </a:custGeom>
                  <a:noFill/>
                  <a:ln w="6350">
                    <a:solidFill>
                      <a:srgbClr val="64646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26" name="Oval 225">
                    <a:extLst>
                      <a:ext uri="{FF2B5EF4-FFF2-40B4-BE49-F238E27FC236}">
                        <a16:creationId xmlns:a16="http://schemas.microsoft.com/office/drawing/2014/main" id="{5C5B941D-4B20-4B9D-9FC2-85FB443BDADD}"/>
                      </a:ext>
                    </a:extLst>
                  </p:cNvPr>
                  <p:cNvSpPr>
                    <a:spLocks noChangeAspect="1"/>
                  </p:cNvSpPr>
                  <p:nvPr/>
                </p:nvSpPr>
                <p:spPr>
                  <a:xfrm>
                    <a:off x="2404122" y="2465186"/>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27" name="Oval 226">
                    <a:extLst>
                      <a:ext uri="{FF2B5EF4-FFF2-40B4-BE49-F238E27FC236}">
                        <a16:creationId xmlns:a16="http://schemas.microsoft.com/office/drawing/2014/main" id="{E3FF19CA-2833-4186-A457-D054A5BAE9A1}"/>
                      </a:ext>
                    </a:extLst>
                  </p:cNvPr>
                  <p:cNvSpPr>
                    <a:spLocks noChangeAspect="1"/>
                  </p:cNvSpPr>
                  <p:nvPr/>
                </p:nvSpPr>
                <p:spPr>
                  <a:xfrm>
                    <a:off x="2944650" y="2756697"/>
                    <a:ext cx="73942" cy="73942"/>
                  </a:xfrm>
                  <a:prstGeom prst="ellipse">
                    <a:avLst/>
                  </a:prstGeom>
                  <a:solidFill>
                    <a:srgbClr val="404040"/>
                  </a:solidFill>
                  <a:ln w="6350">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cxnSp>
              <p:nvCxnSpPr>
                <p:cNvPr id="224" name="Straight Connector 223">
                  <a:extLst>
                    <a:ext uri="{FF2B5EF4-FFF2-40B4-BE49-F238E27FC236}">
                      <a16:creationId xmlns:a16="http://schemas.microsoft.com/office/drawing/2014/main" id="{5162CB37-9F4A-4B4E-A506-083242739891}"/>
                    </a:ext>
                  </a:extLst>
                </p:cNvPr>
                <p:cNvCxnSpPr>
                  <a:cxnSpLocks/>
                  <a:stCxn id="267" idx="5"/>
                  <a:endCxn id="225" idx="1"/>
                </p:cNvCxnSpPr>
                <p:nvPr/>
              </p:nvCxnSpPr>
              <p:spPr>
                <a:xfrm flipV="1">
                  <a:off x="2471834" y="2795220"/>
                  <a:ext cx="114277" cy="243743"/>
                </a:xfrm>
                <a:prstGeom prst="line">
                  <a:avLst/>
                </a:prstGeom>
                <a:ln w="6350">
                  <a:solidFill>
                    <a:srgbClr val="646464"/>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sp>
        <p:nvSpPr>
          <p:cNvPr id="288" name="Freeform: Shape 287">
            <a:extLst>
              <a:ext uri="{FF2B5EF4-FFF2-40B4-BE49-F238E27FC236}">
                <a16:creationId xmlns:a16="http://schemas.microsoft.com/office/drawing/2014/main" id="{6D80B4D0-6803-4906-AEBC-5D8D60E86666}"/>
              </a:ext>
            </a:extLst>
          </p:cNvPr>
          <p:cNvSpPr>
            <a:spLocks noChangeAspect="1"/>
          </p:cNvSpPr>
          <p:nvPr userDrawn="1"/>
        </p:nvSpPr>
        <p:spPr bwMode="blackGray">
          <a:xfrm>
            <a:off x="39616" y="-195595"/>
            <a:ext cx="1554435" cy="1556790"/>
          </a:xfrm>
          <a:custGeom>
            <a:avLst/>
            <a:gdLst>
              <a:gd name="connsiteX0" fmla="*/ 4821805 w 4821805"/>
              <a:gd name="connsiteY0" fmla="*/ 2508145 h 4826594"/>
              <a:gd name="connsiteX1" fmla="*/ 4814134 w 4821805"/>
              <a:gd name="connsiteY1" fmla="*/ 2660043 h 4826594"/>
              <a:gd name="connsiteX2" fmla="*/ 2413297 w 4821805"/>
              <a:gd name="connsiteY2" fmla="*/ 4826594 h 4826594"/>
              <a:gd name="connsiteX3" fmla="*/ 2166552 w 4821805"/>
              <a:gd name="connsiteY3" fmla="*/ 4814135 h 4826594"/>
              <a:gd name="connsiteX4" fmla="*/ 1994055 w 4821805"/>
              <a:gd name="connsiteY4" fmla="*/ 4787808 h 4826594"/>
              <a:gd name="connsiteX5" fmla="*/ 2365544 w 4821805"/>
              <a:gd name="connsiteY5" fmla="*/ 4488323 h 4826594"/>
              <a:gd name="connsiteX6" fmla="*/ 2413297 w 4821805"/>
              <a:gd name="connsiteY6" fmla="*/ 4490734 h 4826594"/>
              <a:gd name="connsiteX7" fmla="*/ 4448528 w 4821805"/>
              <a:gd name="connsiteY7" fmla="*/ 2831973 h 4826594"/>
              <a:gd name="connsiteX8" fmla="*/ 4452514 w 4821805"/>
              <a:gd name="connsiteY8" fmla="*/ 2805858 h 4826594"/>
              <a:gd name="connsiteX9" fmla="*/ 2413297 w 4821805"/>
              <a:gd name="connsiteY9" fmla="*/ 0 h 4826594"/>
              <a:gd name="connsiteX10" fmla="*/ 2899661 w 4821805"/>
              <a:gd name="connsiteY10" fmla="*/ 49030 h 4826594"/>
              <a:gd name="connsiteX11" fmla="*/ 3111015 w 4821805"/>
              <a:gd name="connsiteY11" fmla="*/ 103375 h 4826594"/>
              <a:gd name="connsiteX12" fmla="*/ 2780101 w 4821805"/>
              <a:gd name="connsiteY12" fmla="*/ 370150 h 4826594"/>
              <a:gd name="connsiteX13" fmla="*/ 2625703 w 4821805"/>
              <a:gd name="connsiteY13" fmla="*/ 346586 h 4826594"/>
              <a:gd name="connsiteX14" fmla="*/ 2413297 w 4821805"/>
              <a:gd name="connsiteY14" fmla="*/ 335860 h 4826594"/>
              <a:gd name="connsiteX15" fmla="*/ 346586 w 4821805"/>
              <a:gd name="connsiteY15" fmla="*/ 2200891 h 4826594"/>
              <a:gd name="connsiteX16" fmla="*/ 339685 w 4821805"/>
              <a:gd name="connsiteY16" fmla="*/ 2337554 h 4826594"/>
              <a:gd name="connsiteX17" fmla="*/ 9612 w 4821805"/>
              <a:gd name="connsiteY17" fmla="*/ 2603651 h 4826594"/>
              <a:gd name="connsiteX18" fmla="*/ 0 w 4821805"/>
              <a:gd name="connsiteY18" fmla="*/ 2413297 h 4826594"/>
              <a:gd name="connsiteX19" fmla="*/ 2413297 w 4821805"/>
              <a:gd name="connsiteY19" fmla="*/ 0 h 482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21805" h="4826594">
                <a:moveTo>
                  <a:pt x="4821805" y="2508145"/>
                </a:moveTo>
                <a:lnTo>
                  <a:pt x="4814134" y="2660043"/>
                </a:lnTo>
                <a:cubicBezTo>
                  <a:pt x="4690549" y="3876962"/>
                  <a:pt x="3662822" y="4826594"/>
                  <a:pt x="2413297" y="4826594"/>
                </a:cubicBezTo>
                <a:cubicBezTo>
                  <a:pt x="2329995" y="4826594"/>
                  <a:pt x="2247679" y="4822374"/>
                  <a:pt x="2166552" y="4814135"/>
                </a:cubicBezTo>
                <a:lnTo>
                  <a:pt x="1994055" y="4787808"/>
                </a:lnTo>
                <a:lnTo>
                  <a:pt x="2365544" y="4488323"/>
                </a:lnTo>
                <a:lnTo>
                  <a:pt x="2413297" y="4490734"/>
                </a:lnTo>
                <a:cubicBezTo>
                  <a:pt x="3417217" y="4490734"/>
                  <a:pt x="4254815" y="3778626"/>
                  <a:pt x="4448528" y="2831973"/>
                </a:cubicBezTo>
                <a:lnTo>
                  <a:pt x="4452514" y="2805858"/>
                </a:lnTo>
                <a:close/>
                <a:moveTo>
                  <a:pt x="2413297" y="0"/>
                </a:moveTo>
                <a:cubicBezTo>
                  <a:pt x="2579900" y="0"/>
                  <a:pt x="2742561" y="16882"/>
                  <a:pt x="2899661" y="49030"/>
                </a:cubicBezTo>
                <a:lnTo>
                  <a:pt x="3111015" y="103375"/>
                </a:lnTo>
                <a:lnTo>
                  <a:pt x="2780101" y="370150"/>
                </a:lnTo>
                <a:lnTo>
                  <a:pt x="2625703" y="346586"/>
                </a:lnTo>
                <a:cubicBezTo>
                  <a:pt x="2555866" y="339493"/>
                  <a:pt x="2485006" y="335860"/>
                  <a:pt x="2413297" y="335860"/>
                </a:cubicBezTo>
                <a:cubicBezTo>
                  <a:pt x="1337669" y="335860"/>
                  <a:pt x="452971" y="1153331"/>
                  <a:pt x="346586" y="2200891"/>
                </a:cubicBezTo>
                <a:lnTo>
                  <a:pt x="339685" y="2337554"/>
                </a:lnTo>
                <a:lnTo>
                  <a:pt x="9612" y="2603651"/>
                </a:lnTo>
                <a:lnTo>
                  <a:pt x="0" y="2413297"/>
                </a:lnTo>
                <a:cubicBezTo>
                  <a:pt x="0" y="1080470"/>
                  <a:pt x="1080470" y="0"/>
                  <a:pt x="2413297"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199">
              <a:solidFill>
                <a:schemeClr val="tx1"/>
              </a:solidFill>
            </a:endParaRPr>
          </a:p>
        </p:txBody>
      </p:sp>
      <p:sp>
        <p:nvSpPr>
          <p:cNvPr id="289" name="Oval 288">
            <a:extLst>
              <a:ext uri="{FF2B5EF4-FFF2-40B4-BE49-F238E27FC236}">
                <a16:creationId xmlns:a16="http://schemas.microsoft.com/office/drawing/2014/main" id="{8E9A2110-4247-4BB1-B5FB-2818A62E1FE3}"/>
              </a:ext>
            </a:extLst>
          </p:cNvPr>
          <p:cNvSpPr>
            <a:spLocks noChangeAspect="1"/>
          </p:cNvSpPr>
          <p:nvPr userDrawn="1"/>
        </p:nvSpPr>
        <p:spPr bwMode="blackGray">
          <a:xfrm>
            <a:off x="92587" y="-141823"/>
            <a:ext cx="1448492" cy="1449246"/>
          </a:xfrm>
          <a:prstGeom prst="ellipse">
            <a:avLst/>
          </a:prstGeom>
          <a:noFill/>
          <a:ln w="317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grpSp>
        <p:nvGrpSpPr>
          <p:cNvPr id="290" name="Group 289">
            <a:extLst>
              <a:ext uri="{FF2B5EF4-FFF2-40B4-BE49-F238E27FC236}">
                <a16:creationId xmlns:a16="http://schemas.microsoft.com/office/drawing/2014/main" id="{6FDDEF7F-B33F-4531-8164-EC6896A8C9B6}"/>
              </a:ext>
            </a:extLst>
          </p:cNvPr>
          <p:cNvGrpSpPr/>
          <p:nvPr userDrawn="1"/>
        </p:nvGrpSpPr>
        <p:grpSpPr bwMode="blackGray">
          <a:xfrm flipH="1">
            <a:off x="170403" y="-65217"/>
            <a:ext cx="1292859" cy="1296033"/>
            <a:chOff x="1116109" y="1301087"/>
            <a:chExt cx="3948198" cy="3955830"/>
          </a:xfrm>
        </p:grpSpPr>
        <p:grpSp>
          <p:nvGrpSpPr>
            <p:cNvPr id="291" name="Group 290">
              <a:extLst>
                <a:ext uri="{FF2B5EF4-FFF2-40B4-BE49-F238E27FC236}">
                  <a16:creationId xmlns:a16="http://schemas.microsoft.com/office/drawing/2014/main" id="{50DB70F8-BDB0-4BDD-B3D4-104E9B0EB18A}"/>
                </a:ext>
              </a:extLst>
            </p:cNvPr>
            <p:cNvGrpSpPr/>
            <p:nvPr/>
          </p:nvGrpSpPr>
          <p:grpSpPr bwMode="blackGray">
            <a:xfrm>
              <a:off x="1116109" y="1301087"/>
              <a:ext cx="3941848" cy="3891752"/>
              <a:chOff x="1116109" y="1301087"/>
              <a:chExt cx="3941848" cy="3891752"/>
            </a:xfrm>
          </p:grpSpPr>
          <p:grpSp>
            <p:nvGrpSpPr>
              <p:cNvPr id="303" name="Group 302">
                <a:extLst>
                  <a:ext uri="{FF2B5EF4-FFF2-40B4-BE49-F238E27FC236}">
                    <a16:creationId xmlns:a16="http://schemas.microsoft.com/office/drawing/2014/main" id="{84D3CDC7-1E04-4F0E-880E-33C9FED0F87B}"/>
                  </a:ext>
                </a:extLst>
              </p:cNvPr>
              <p:cNvGrpSpPr/>
              <p:nvPr/>
            </p:nvGrpSpPr>
            <p:grpSpPr bwMode="blackGray">
              <a:xfrm>
                <a:off x="1116109" y="1301087"/>
                <a:ext cx="3884698" cy="3891752"/>
                <a:chOff x="1116109" y="1301087"/>
                <a:chExt cx="3884698" cy="3891752"/>
              </a:xfrm>
            </p:grpSpPr>
            <p:grpSp>
              <p:nvGrpSpPr>
                <p:cNvPr id="309" name="Group 308">
                  <a:extLst>
                    <a:ext uri="{FF2B5EF4-FFF2-40B4-BE49-F238E27FC236}">
                      <a16:creationId xmlns:a16="http://schemas.microsoft.com/office/drawing/2014/main" id="{E6D507E0-68AA-48B3-8DFF-F49C55199B87}"/>
                    </a:ext>
                  </a:extLst>
                </p:cNvPr>
                <p:cNvGrpSpPr/>
                <p:nvPr/>
              </p:nvGrpSpPr>
              <p:grpSpPr bwMode="blackGray">
                <a:xfrm>
                  <a:off x="1175203" y="1301087"/>
                  <a:ext cx="3825604" cy="3891752"/>
                  <a:chOff x="1084175" y="1208484"/>
                  <a:chExt cx="4007660" cy="4076957"/>
                </a:xfrm>
              </p:grpSpPr>
              <p:sp>
                <p:nvSpPr>
                  <p:cNvPr id="311" name="Oval 303">
                    <a:extLst>
                      <a:ext uri="{FF2B5EF4-FFF2-40B4-BE49-F238E27FC236}">
                        <a16:creationId xmlns:a16="http://schemas.microsoft.com/office/drawing/2014/main" id="{8419EC67-E3D3-4C0E-AEEF-BB4D6E07B838}"/>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12" name="Oval 311">
                    <a:extLst>
                      <a:ext uri="{FF2B5EF4-FFF2-40B4-BE49-F238E27FC236}">
                        <a16:creationId xmlns:a16="http://schemas.microsoft.com/office/drawing/2014/main" id="{6EC642E7-68E3-4A36-8749-3D73152CDF17}"/>
                      </a:ext>
                    </a:extLst>
                  </p:cNvPr>
                  <p:cNvSpPr/>
                  <p:nvPr/>
                </p:nvSpPr>
                <p:spPr bwMode="blackGray">
                  <a:xfrm>
                    <a:off x="2962012" y="1208484"/>
                    <a:ext cx="143138" cy="143138"/>
                  </a:xfrm>
                  <a:prstGeom prst="ellipse">
                    <a:avLst/>
                  </a:prstGeom>
                  <a:solidFill>
                    <a:srgbClr val="333333"/>
                  </a:solid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10" name="Oval 309">
                  <a:extLst>
                    <a:ext uri="{FF2B5EF4-FFF2-40B4-BE49-F238E27FC236}">
                      <a16:creationId xmlns:a16="http://schemas.microsoft.com/office/drawing/2014/main" id="{F87CB38C-91F9-4EA0-BA2E-56E84F6ED6E1}"/>
                    </a:ext>
                  </a:extLst>
                </p:cNvPr>
                <p:cNvSpPr/>
                <p:nvPr/>
              </p:nvSpPr>
              <p:spPr bwMode="blackGray">
                <a:xfrm>
                  <a:off x="1116109" y="3155269"/>
                  <a:ext cx="136636" cy="136636"/>
                </a:xfrm>
                <a:prstGeom prst="ellipse">
                  <a:avLst/>
                </a:prstGeom>
                <a:solidFill>
                  <a:srgbClr val="333333"/>
                </a:solid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nvGrpSpPr>
              <p:cNvPr id="304" name="Group 303">
                <a:extLst>
                  <a:ext uri="{FF2B5EF4-FFF2-40B4-BE49-F238E27FC236}">
                    <a16:creationId xmlns:a16="http://schemas.microsoft.com/office/drawing/2014/main" id="{A8DF1E19-A533-4CD6-BE0D-AFD0FD435273}"/>
                  </a:ext>
                </a:extLst>
              </p:cNvPr>
              <p:cNvGrpSpPr/>
              <p:nvPr/>
            </p:nvGrpSpPr>
            <p:grpSpPr bwMode="blackGray">
              <a:xfrm flipH="1">
                <a:off x="1173259" y="1301087"/>
                <a:ext cx="3884698" cy="3891752"/>
                <a:chOff x="1116109" y="1301087"/>
                <a:chExt cx="3884698" cy="3891752"/>
              </a:xfrm>
              <a:noFill/>
            </p:grpSpPr>
            <p:grpSp>
              <p:nvGrpSpPr>
                <p:cNvPr id="305" name="Group 304">
                  <a:extLst>
                    <a:ext uri="{FF2B5EF4-FFF2-40B4-BE49-F238E27FC236}">
                      <a16:creationId xmlns:a16="http://schemas.microsoft.com/office/drawing/2014/main" id="{67E43869-F443-4C18-9F3C-43D38BC2FE4E}"/>
                    </a:ext>
                  </a:extLst>
                </p:cNvPr>
                <p:cNvGrpSpPr/>
                <p:nvPr/>
              </p:nvGrpSpPr>
              <p:grpSpPr bwMode="blackGray">
                <a:xfrm>
                  <a:off x="1175203" y="1301087"/>
                  <a:ext cx="3825604" cy="3891752"/>
                  <a:chOff x="1084175" y="1208484"/>
                  <a:chExt cx="4007660" cy="4076957"/>
                </a:xfrm>
                <a:grpFill/>
              </p:grpSpPr>
              <p:sp>
                <p:nvSpPr>
                  <p:cNvPr id="307" name="Oval 303">
                    <a:extLst>
                      <a:ext uri="{FF2B5EF4-FFF2-40B4-BE49-F238E27FC236}">
                        <a16:creationId xmlns:a16="http://schemas.microsoft.com/office/drawing/2014/main" id="{4C69CB68-1C0C-42D7-9D0E-D3854EB77D2D}"/>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08" name="Oval 307">
                    <a:extLst>
                      <a:ext uri="{FF2B5EF4-FFF2-40B4-BE49-F238E27FC236}">
                        <a16:creationId xmlns:a16="http://schemas.microsoft.com/office/drawing/2014/main" id="{1DC014DC-618F-4B0E-BE77-0BF099180F75}"/>
                      </a:ext>
                    </a:extLst>
                  </p:cNvPr>
                  <p:cNvSpPr/>
                  <p:nvPr/>
                </p:nvSpPr>
                <p:spPr bwMode="blackGray">
                  <a:xfrm>
                    <a:off x="2962012" y="1208484"/>
                    <a:ext cx="143138" cy="143138"/>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06" name="Oval 305">
                  <a:extLst>
                    <a:ext uri="{FF2B5EF4-FFF2-40B4-BE49-F238E27FC236}">
                      <a16:creationId xmlns:a16="http://schemas.microsoft.com/office/drawing/2014/main" id="{0D2A23BA-94E0-4318-94C7-E93A2572E6EE}"/>
                    </a:ext>
                  </a:extLst>
                </p:cNvPr>
                <p:cNvSpPr/>
                <p:nvPr/>
              </p:nvSpPr>
              <p:spPr bwMode="blackGray">
                <a:xfrm>
                  <a:off x="1116109" y="3155269"/>
                  <a:ext cx="136636" cy="136636"/>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grpSp>
          <p:nvGrpSpPr>
            <p:cNvPr id="292" name="Group 291">
              <a:extLst>
                <a:ext uri="{FF2B5EF4-FFF2-40B4-BE49-F238E27FC236}">
                  <a16:creationId xmlns:a16="http://schemas.microsoft.com/office/drawing/2014/main" id="{BFAEB5FA-9DD7-4548-ABED-AB23EA5F5023}"/>
                </a:ext>
              </a:extLst>
            </p:cNvPr>
            <p:cNvGrpSpPr/>
            <p:nvPr/>
          </p:nvGrpSpPr>
          <p:grpSpPr bwMode="blackGray">
            <a:xfrm flipV="1">
              <a:off x="1122459" y="1365165"/>
              <a:ext cx="3941848" cy="3891752"/>
              <a:chOff x="1116109" y="1301087"/>
              <a:chExt cx="3941848" cy="3891752"/>
            </a:xfrm>
            <a:noFill/>
          </p:grpSpPr>
          <p:grpSp>
            <p:nvGrpSpPr>
              <p:cNvPr id="293" name="Group 292">
                <a:extLst>
                  <a:ext uri="{FF2B5EF4-FFF2-40B4-BE49-F238E27FC236}">
                    <a16:creationId xmlns:a16="http://schemas.microsoft.com/office/drawing/2014/main" id="{13AEB998-4D03-4762-B1CF-F9D80427EE5F}"/>
                  </a:ext>
                </a:extLst>
              </p:cNvPr>
              <p:cNvGrpSpPr/>
              <p:nvPr/>
            </p:nvGrpSpPr>
            <p:grpSpPr bwMode="blackGray">
              <a:xfrm>
                <a:off x="1116109" y="1301087"/>
                <a:ext cx="3884698" cy="3891752"/>
                <a:chOff x="1116109" y="1301087"/>
                <a:chExt cx="3884698" cy="3891752"/>
              </a:xfrm>
              <a:grpFill/>
            </p:grpSpPr>
            <p:grpSp>
              <p:nvGrpSpPr>
                <p:cNvPr id="299" name="Group 298">
                  <a:extLst>
                    <a:ext uri="{FF2B5EF4-FFF2-40B4-BE49-F238E27FC236}">
                      <a16:creationId xmlns:a16="http://schemas.microsoft.com/office/drawing/2014/main" id="{F528A046-DF5E-41D7-9D00-608C93961E52}"/>
                    </a:ext>
                  </a:extLst>
                </p:cNvPr>
                <p:cNvGrpSpPr/>
                <p:nvPr/>
              </p:nvGrpSpPr>
              <p:grpSpPr bwMode="blackGray">
                <a:xfrm>
                  <a:off x="1175203" y="1301087"/>
                  <a:ext cx="3825604" cy="3891752"/>
                  <a:chOff x="1084175" y="1208484"/>
                  <a:chExt cx="4007660" cy="4076957"/>
                </a:xfrm>
                <a:grpFill/>
              </p:grpSpPr>
              <p:sp>
                <p:nvSpPr>
                  <p:cNvPr id="301" name="Oval 303">
                    <a:extLst>
                      <a:ext uri="{FF2B5EF4-FFF2-40B4-BE49-F238E27FC236}">
                        <a16:creationId xmlns:a16="http://schemas.microsoft.com/office/drawing/2014/main" id="{CEBC63A5-D7F4-4746-BBC9-6F4D54F6F339}"/>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02" name="Oval 301">
                    <a:extLst>
                      <a:ext uri="{FF2B5EF4-FFF2-40B4-BE49-F238E27FC236}">
                        <a16:creationId xmlns:a16="http://schemas.microsoft.com/office/drawing/2014/main" id="{D1269330-9016-4A9A-B5A2-3C18D1007A44}"/>
                      </a:ext>
                    </a:extLst>
                  </p:cNvPr>
                  <p:cNvSpPr/>
                  <p:nvPr/>
                </p:nvSpPr>
                <p:spPr bwMode="blackGray">
                  <a:xfrm>
                    <a:off x="2962012" y="1208484"/>
                    <a:ext cx="143138" cy="143138"/>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00" name="Oval 299">
                  <a:extLst>
                    <a:ext uri="{FF2B5EF4-FFF2-40B4-BE49-F238E27FC236}">
                      <a16:creationId xmlns:a16="http://schemas.microsoft.com/office/drawing/2014/main" id="{F6FFF2FE-9DAC-4559-BC13-EBD8503F1359}"/>
                    </a:ext>
                  </a:extLst>
                </p:cNvPr>
                <p:cNvSpPr/>
                <p:nvPr/>
              </p:nvSpPr>
              <p:spPr bwMode="blackGray">
                <a:xfrm>
                  <a:off x="1116109" y="3155269"/>
                  <a:ext cx="136636" cy="136636"/>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nvGrpSpPr>
              <p:cNvPr id="294" name="Group 293">
                <a:extLst>
                  <a:ext uri="{FF2B5EF4-FFF2-40B4-BE49-F238E27FC236}">
                    <a16:creationId xmlns:a16="http://schemas.microsoft.com/office/drawing/2014/main" id="{69C7784B-ED4C-4A8C-A892-EADEB0BF13E5}"/>
                  </a:ext>
                </a:extLst>
              </p:cNvPr>
              <p:cNvGrpSpPr/>
              <p:nvPr/>
            </p:nvGrpSpPr>
            <p:grpSpPr bwMode="blackGray">
              <a:xfrm flipH="1">
                <a:off x="1173259" y="1301087"/>
                <a:ext cx="3884698" cy="3891752"/>
                <a:chOff x="1116109" y="1301087"/>
                <a:chExt cx="3884698" cy="3891752"/>
              </a:xfrm>
              <a:grpFill/>
            </p:grpSpPr>
            <p:grpSp>
              <p:nvGrpSpPr>
                <p:cNvPr id="295" name="Group 294">
                  <a:extLst>
                    <a:ext uri="{FF2B5EF4-FFF2-40B4-BE49-F238E27FC236}">
                      <a16:creationId xmlns:a16="http://schemas.microsoft.com/office/drawing/2014/main" id="{5AF0BE3D-5318-4106-8A63-FDCED291A75C}"/>
                    </a:ext>
                  </a:extLst>
                </p:cNvPr>
                <p:cNvGrpSpPr/>
                <p:nvPr/>
              </p:nvGrpSpPr>
              <p:grpSpPr bwMode="blackGray">
                <a:xfrm>
                  <a:off x="1175203" y="1301087"/>
                  <a:ext cx="3825604" cy="3891752"/>
                  <a:chOff x="1084175" y="1208484"/>
                  <a:chExt cx="4007660" cy="4076957"/>
                </a:xfrm>
                <a:grpFill/>
              </p:grpSpPr>
              <p:sp>
                <p:nvSpPr>
                  <p:cNvPr id="297" name="Oval 303">
                    <a:extLst>
                      <a:ext uri="{FF2B5EF4-FFF2-40B4-BE49-F238E27FC236}">
                        <a16:creationId xmlns:a16="http://schemas.microsoft.com/office/drawing/2014/main" id="{CA4C405C-97F7-4893-984F-F1053EF2CA12}"/>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298" name="Oval 297">
                    <a:extLst>
                      <a:ext uri="{FF2B5EF4-FFF2-40B4-BE49-F238E27FC236}">
                        <a16:creationId xmlns:a16="http://schemas.microsoft.com/office/drawing/2014/main" id="{50FC09C1-C18F-4037-853E-B2CDDE0824CE}"/>
                      </a:ext>
                    </a:extLst>
                  </p:cNvPr>
                  <p:cNvSpPr/>
                  <p:nvPr/>
                </p:nvSpPr>
                <p:spPr bwMode="blackGray">
                  <a:xfrm>
                    <a:off x="2962012" y="1208484"/>
                    <a:ext cx="143138" cy="143138"/>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296" name="Oval 295">
                  <a:extLst>
                    <a:ext uri="{FF2B5EF4-FFF2-40B4-BE49-F238E27FC236}">
                      <a16:creationId xmlns:a16="http://schemas.microsoft.com/office/drawing/2014/main" id="{4F5D24D1-53CF-4743-9B04-F15C38D8C29C}"/>
                    </a:ext>
                  </a:extLst>
                </p:cNvPr>
                <p:cNvSpPr/>
                <p:nvPr/>
              </p:nvSpPr>
              <p:spPr bwMode="blackGray">
                <a:xfrm>
                  <a:off x="1116109" y="3155269"/>
                  <a:ext cx="136636" cy="136636"/>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grpSp>
      <p:grpSp>
        <p:nvGrpSpPr>
          <p:cNvPr id="313" name="Group 312">
            <a:extLst>
              <a:ext uri="{FF2B5EF4-FFF2-40B4-BE49-F238E27FC236}">
                <a16:creationId xmlns:a16="http://schemas.microsoft.com/office/drawing/2014/main" id="{47FE894A-CFB7-4173-B6E4-1159FA400B41}"/>
              </a:ext>
            </a:extLst>
          </p:cNvPr>
          <p:cNvGrpSpPr/>
          <p:nvPr userDrawn="1"/>
        </p:nvGrpSpPr>
        <p:grpSpPr bwMode="blackGray">
          <a:xfrm>
            <a:off x="257980" y="22575"/>
            <a:ext cx="1117706" cy="1120450"/>
            <a:chOff x="1116109" y="1301087"/>
            <a:chExt cx="3948198" cy="3955830"/>
          </a:xfrm>
        </p:grpSpPr>
        <p:grpSp>
          <p:nvGrpSpPr>
            <p:cNvPr id="314" name="Group 313">
              <a:extLst>
                <a:ext uri="{FF2B5EF4-FFF2-40B4-BE49-F238E27FC236}">
                  <a16:creationId xmlns:a16="http://schemas.microsoft.com/office/drawing/2014/main" id="{2671D7E7-8B69-4F4D-AF2F-04E52C0D0512}"/>
                </a:ext>
              </a:extLst>
            </p:cNvPr>
            <p:cNvGrpSpPr/>
            <p:nvPr/>
          </p:nvGrpSpPr>
          <p:grpSpPr bwMode="blackGray">
            <a:xfrm>
              <a:off x="1116109" y="1301087"/>
              <a:ext cx="3941848" cy="3891752"/>
              <a:chOff x="1116109" y="1301087"/>
              <a:chExt cx="3941848" cy="3891752"/>
            </a:xfrm>
          </p:grpSpPr>
          <p:grpSp>
            <p:nvGrpSpPr>
              <p:cNvPr id="326" name="Group 325">
                <a:extLst>
                  <a:ext uri="{FF2B5EF4-FFF2-40B4-BE49-F238E27FC236}">
                    <a16:creationId xmlns:a16="http://schemas.microsoft.com/office/drawing/2014/main" id="{0A64EC9C-26B9-4F1D-AFF0-9AA77CEFBF29}"/>
                  </a:ext>
                </a:extLst>
              </p:cNvPr>
              <p:cNvGrpSpPr/>
              <p:nvPr/>
            </p:nvGrpSpPr>
            <p:grpSpPr bwMode="blackGray">
              <a:xfrm>
                <a:off x="1116109" y="1301087"/>
                <a:ext cx="3884698" cy="3891752"/>
                <a:chOff x="1116109" y="1301087"/>
                <a:chExt cx="3884698" cy="3891752"/>
              </a:xfrm>
            </p:grpSpPr>
            <p:grpSp>
              <p:nvGrpSpPr>
                <p:cNvPr id="332" name="Group 331">
                  <a:extLst>
                    <a:ext uri="{FF2B5EF4-FFF2-40B4-BE49-F238E27FC236}">
                      <a16:creationId xmlns:a16="http://schemas.microsoft.com/office/drawing/2014/main" id="{76F72C91-E937-4EA2-B8F6-6CC82EF2BBA2}"/>
                    </a:ext>
                  </a:extLst>
                </p:cNvPr>
                <p:cNvGrpSpPr/>
                <p:nvPr/>
              </p:nvGrpSpPr>
              <p:grpSpPr bwMode="blackGray">
                <a:xfrm>
                  <a:off x="1175203" y="1301087"/>
                  <a:ext cx="3825604" cy="3891752"/>
                  <a:chOff x="1084175" y="1208484"/>
                  <a:chExt cx="4007660" cy="4076957"/>
                </a:xfrm>
              </p:grpSpPr>
              <p:sp>
                <p:nvSpPr>
                  <p:cNvPr id="334" name="Oval 303">
                    <a:extLst>
                      <a:ext uri="{FF2B5EF4-FFF2-40B4-BE49-F238E27FC236}">
                        <a16:creationId xmlns:a16="http://schemas.microsoft.com/office/drawing/2014/main" id="{AC34DF6E-CE10-45BD-8A0B-00A1ACF6154D}"/>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no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35" name="Oval 334">
                    <a:extLst>
                      <a:ext uri="{FF2B5EF4-FFF2-40B4-BE49-F238E27FC236}">
                        <a16:creationId xmlns:a16="http://schemas.microsoft.com/office/drawing/2014/main" id="{AC4E598C-B4D1-4D29-932C-7CF44AA4B314}"/>
                      </a:ext>
                    </a:extLst>
                  </p:cNvPr>
                  <p:cNvSpPr/>
                  <p:nvPr/>
                </p:nvSpPr>
                <p:spPr bwMode="blackGray">
                  <a:xfrm>
                    <a:off x="2962012" y="1208484"/>
                    <a:ext cx="143138" cy="143138"/>
                  </a:xfrm>
                  <a:prstGeom prst="ellipse">
                    <a:avLst/>
                  </a:prstGeom>
                  <a:solidFill>
                    <a:srgbClr val="404040"/>
                  </a:solid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33" name="Oval 332">
                  <a:extLst>
                    <a:ext uri="{FF2B5EF4-FFF2-40B4-BE49-F238E27FC236}">
                      <a16:creationId xmlns:a16="http://schemas.microsoft.com/office/drawing/2014/main" id="{35804054-2376-40FA-902B-91E87B6EB301}"/>
                    </a:ext>
                  </a:extLst>
                </p:cNvPr>
                <p:cNvSpPr/>
                <p:nvPr/>
              </p:nvSpPr>
              <p:spPr bwMode="blackGray">
                <a:xfrm>
                  <a:off x="1116109" y="3155269"/>
                  <a:ext cx="136636" cy="136636"/>
                </a:xfrm>
                <a:prstGeom prst="ellipse">
                  <a:avLst/>
                </a:prstGeom>
                <a:solidFill>
                  <a:srgbClr val="404040"/>
                </a:solid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nvGrpSpPr>
              <p:cNvPr id="327" name="Group 326">
                <a:extLst>
                  <a:ext uri="{FF2B5EF4-FFF2-40B4-BE49-F238E27FC236}">
                    <a16:creationId xmlns:a16="http://schemas.microsoft.com/office/drawing/2014/main" id="{082C1E3E-CBD9-46AC-890C-3DF2D1005C36}"/>
                  </a:ext>
                </a:extLst>
              </p:cNvPr>
              <p:cNvGrpSpPr/>
              <p:nvPr/>
            </p:nvGrpSpPr>
            <p:grpSpPr bwMode="blackGray">
              <a:xfrm flipH="1">
                <a:off x="1173259" y="1301087"/>
                <a:ext cx="3884698" cy="3891752"/>
                <a:chOff x="1116109" y="1301087"/>
                <a:chExt cx="3884698" cy="3891752"/>
              </a:xfrm>
              <a:noFill/>
            </p:grpSpPr>
            <p:grpSp>
              <p:nvGrpSpPr>
                <p:cNvPr id="328" name="Group 327">
                  <a:extLst>
                    <a:ext uri="{FF2B5EF4-FFF2-40B4-BE49-F238E27FC236}">
                      <a16:creationId xmlns:a16="http://schemas.microsoft.com/office/drawing/2014/main" id="{CCEA4141-F74D-4C22-8BCC-396D1B3BC86B}"/>
                    </a:ext>
                  </a:extLst>
                </p:cNvPr>
                <p:cNvGrpSpPr/>
                <p:nvPr/>
              </p:nvGrpSpPr>
              <p:grpSpPr bwMode="blackGray">
                <a:xfrm>
                  <a:off x="1175203" y="1301087"/>
                  <a:ext cx="3825604" cy="3891752"/>
                  <a:chOff x="1084175" y="1208484"/>
                  <a:chExt cx="4007660" cy="4076957"/>
                </a:xfrm>
                <a:grpFill/>
              </p:grpSpPr>
              <p:sp>
                <p:nvSpPr>
                  <p:cNvPr id="330" name="Oval 303">
                    <a:extLst>
                      <a:ext uri="{FF2B5EF4-FFF2-40B4-BE49-F238E27FC236}">
                        <a16:creationId xmlns:a16="http://schemas.microsoft.com/office/drawing/2014/main" id="{9E192451-D55E-4A5C-A024-AAAC6D1689D6}"/>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31" name="Oval 330">
                    <a:extLst>
                      <a:ext uri="{FF2B5EF4-FFF2-40B4-BE49-F238E27FC236}">
                        <a16:creationId xmlns:a16="http://schemas.microsoft.com/office/drawing/2014/main" id="{0F9AC690-7E52-42B3-8EC9-329BDE5420D1}"/>
                      </a:ext>
                    </a:extLst>
                  </p:cNvPr>
                  <p:cNvSpPr/>
                  <p:nvPr/>
                </p:nvSpPr>
                <p:spPr bwMode="blackGray">
                  <a:xfrm>
                    <a:off x="2962012" y="1208484"/>
                    <a:ext cx="143138" cy="143138"/>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29" name="Oval 328">
                  <a:extLst>
                    <a:ext uri="{FF2B5EF4-FFF2-40B4-BE49-F238E27FC236}">
                      <a16:creationId xmlns:a16="http://schemas.microsoft.com/office/drawing/2014/main" id="{5B1C310E-1EB8-4991-A7EB-507BC85168FD}"/>
                    </a:ext>
                  </a:extLst>
                </p:cNvPr>
                <p:cNvSpPr/>
                <p:nvPr/>
              </p:nvSpPr>
              <p:spPr bwMode="blackGray">
                <a:xfrm>
                  <a:off x="1116109" y="3155269"/>
                  <a:ext cx="136636" cy="136636"/>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grpSp>
          <p:nvGrpSpPr>
            <p:cNvPr id="315" name="Group 314">
              <a:extLst>
                <a:ext uri="{FF2B5EF4-FFF2-40B4-BE49-F238E27FC236}">
                  <a16:creationId xmlns:a16="http://schemas.microsoft.com/office/drawing/2014/main" id="{0963BC88-3EA0-47A6-B4E4-0F1FF3DC0EF3}"/>
                </a:ext>
              </a:extLst>
            </p:cNvPr>
            <p:cNvGrpSpPr/>
            <p:nvPr/>
          </p:nvGrpSpPr>
          <p:grpSpPr bwMode="blackGray">
            <a:xfrm flipV="1">
              <a:off x="1122459" y="1365165"/>
              <a:ext cx="3941848" cy="3891752"/>
              <a:chOff x="1116109" y="1301087"/>
              <a:chExt cx="3941848" cy="3891752"/>
            </a:xfrm>
            <a:noFill/>
          </p:grpSpPr>
          <p:grpSp>
            <p:nvGrpSpPr>
              <p:cNvPr id="316" name="Group 315">
                <a:extLst>
                  <a:ext uri="{FF2B5EF4-FFF2-40B4-BE49-F238E27FC236}">
                    <a16:creationId xmlns:a16="http://schemas.microsoft.com/office/drawing/2014/main" id="{311557BC-C6EC-482E-8665-9C1AAC5BC6B8}"/>
                  </a:ext>
                </a:extLst>
              </p:cNvPr>
              <p:cNvGrpSpPr/>
              <p:nvPr/>
            </p:nvGrpSpPr>
            <p:grpSpPr bwMode="blackGray">
              <a:xfrm>
                <a:off x="1116109" y="1301087"/>
                <a:ext cx="3884698" cy="3891752"/>
                <a:chOff x="1116109" y="1301087"/>
                <a:chExt cx="3884698" cy="3891752"/>
              </a:xfrm>
              <a:grpFill/>
            </p:grpSpPr>
            <p:grpSp>
              <p:nvGrpSpPr>
                <p:cNvPr id="322" name="Group 321">
                  <a:extLst>
                    <a:ext uri="{FF2B5EF4-FFF2-40B4-BE49-F238E27FC236}">
                      <a16:creationId xmlns:a16="http://schemas.microsoft.com/office/drawing/2014/main" id="{37B59935-DE61-43D8-A823-68BBCF7FD298}"/>
                    </a:ext>
                  </a:extLst>
                </p:cNvPr>
                <p:cNvGrpSpPr/>
                <p:nvPr/>
              </p:nvGrpSpPr>
              <p:grpSpPr bwMode="blackGray">
                <a:xfrm>
                  <a:off x="1175203" y="1301087"/>
                  <a:ext cx="3825604" cy="3891752"/>
                  <a:chOff x="1084175" y="1208484"/>
                  <a:chExt cx="4007660" cy="4076957"/>
                </a:xfrm>
                <a:grpFill/>
              </p:grpSpPr>
              <p:sp>
                <p:nvSpPr>
                  <p:cNvPr id="324" name="Oval 303">
                    <a:extLst>
                      <a:ext uri="{FF2B5EF4-FFF2-40B4-BE49-F238E27FC236}">
                        <a16:creationId xmlns:a16="http://schemas.microsoft.com/office/drawing/2014/main" id="{D654A0B2-594D-47C7-A8B3-6BB3045A7B52}"/>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25" name="Oval 324">
                    <a:extLst>
                      <a:ext uri="{FF2B5EF4-FFF2-40B4-BE49-F238E27FC236}">
                        <a16:creationId xmlns:a16="http://schemas.microsoft.com/office/drawing/2014/main" id="{C4CDF0AE-F8CA-48A0-86C2-3A15125B0C22}"/>
                      </a:ext>
                    </a:extLst>
                  </p:cNvPr>
                  <p:cNvSpPr/>
                  <p:nvPr/>
                </p:nvSpPr>
                <p:spPr bwMode="blackGray">
                  <a:xfrm>
                    <a:off x="2962012" y="1208484"/>
                    <a:ext cx="143138" cy="143138"/>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23" name="Oval 322">
                  <a:extLst>
                    <a:ext uri="{FF2B5EF4-FFF2-40B4-BE49-F238E27FC236}">
                      <a16:creationId xmlns:a16="http://schemas.microsoft.com/office/drawing/2014/main" id="{388D3D0A-BDE4-4CA8-9CC3-B90FF6782FAB}"/>
                    </a:ext>
                  </a:extLst>
                </p:cNvPr>
                <p:cNvSpPr/>
                <p:nvPr/>
              </p:nvSpPr>
              <p:spPr bwMode="blackGray">
                <a:xfrm>
                  <a:off x="1116109" y="3155269"/>
                  <a:ext cx="136636" cy="136636"/>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nvGrpSpPr>
              <p:cNvPr id="317" name="Group 316">
                <a:extLst>
                  <a:ext uri="{FF2B5EF4-FFF2-40B4-BE49-F238E27FC236}">
                    <a16:creationId xmlns:a16="http://schemas.microsoft.com/office/drawing/2014/main" id="{D2E8EE25-1A15-4095-A3C2-C2037892616D}"/>
                  </a:ext>
                </a:extLst>
              </p:cNvPr>
              <p:cNvGrpSpPr/>
              <p:nvPr/>
            </p:nvGrpSpPr>
            <p:grpSpPr bwMode="blackGray">
              <a:xfrm flipH="1">
                <a:off x="1173259" y="1301087"/>
                <a:ext cx="3884698" cy="3891752"/>
                <a:chOff x="1116109" y="1301087"/>
                <a:chExt cx="3884698" cy="3891752"/>
              </a:xfrm>
              <a:grpFill/>
            </p:grpSpPr>
            <p:grpSp>
              <p:nvGrpSpPr>
                <p:cNvPr id="318" name="Group 317">
                  <a:extLst>
                    <a:ext uri="{FF2B5EF4-FFF2-40B4-BE49-F238E27FC236}">
                      <a16:creationId xmlns:a16="http://schemas.microsoft.com/office/drawing/2014/main" id="{1B577344-D9A0-44D8-AEB8-476F1F2D8444}"/>
                    </a:ext>
                  </a:extLst>
                </p:cNvPr>
                <p:cNvGrpSpPr/>
                <p:nvPr/>
              </p:nvGrpSpPr>
              <p:grpSpPr bwMode="blackGray">
                <a:xfrm>
                  <a:off x="1175203" y="1301087"/>
                  <a:ext cx="3825604" cy="3891752"/>
                  <a:chOff x="1084175" y="1208484"/>
                  <a:chExt cx="4007660" cy="4076957"/>
                </a:xfrm>
                <a:grpFill/>
              </p:grpSpPr>
              <p:sp>
                <p:nvSpPr>
                  <p:cNvPr id="320" name="Oval 303">
                    <a:extLst>
                      <a:ext uri="{FF2B5EF4-FFF2-40B4-BE49-F238E27FC236}">
                        <a16:creationId xmlns:a16="http://schemas.microsoft.com/office/drawing/2014/main" id="{29B51F46-B191-453A-B27A-27A92621CDC5}"/>
                      </a:ext>
                    </a:extLst>
                  </p:cNvPr>
                  <p:cNvSpPr/>
                  <p:nvPr/>
                </p:nvSpPr>
                <p:spPr bwMode="blackGray">
                  <a:xfrm>
                    <a:off x="1084175" y="1277781"/>
                    <a:ext cx="4007660" cy="4007660"/>
                  </a:xfrm>
                  <a:custGeom>
                    <a:avLst/>
                    <a:gdLst>
                      <a:gd name="connsiteX0" fmla="*/ 0 w 4007660"/>
                      <a:gd name="connsiteY0" fmla="*/ 2003830 h 4007660"/>
                      <a:gd name="connsiteX1" fmla="*/ 2003830 w 4007660"/>
                      <a:gd name="connsiteY1" fmla="*/ 0 h 4007660"/>
                      <a:gd name="connsiteX2" fmla="*/ 4007660 w 4007660"/>
                      <a:gd name="connsiteY2" fmla="*/ 2003830 h 4007660"/>
                      <a:gd name="connsiteX3" fmla="*/ 2003830 w 4007660"/>
                      <a:gd name="connsiteY3" fmla="*/ 4007660 h 4007660"/>
                      <a:gd name="connsiteX4" fmla="*/ 0 w 4007660"/>
                      <a:gd name="connsiteY4" fmla="*/ 200383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 name="connsiteX4" fmla="*/ 2095270 w 4007660"/>
                      <a:gd name="connsiteY4" fmla="*/ 91440 h 4007660"/>
                      <a:gd name="connsiteX0" fmla="*/ 2003830 w 4007660"/>
                      <a:gd name="connsiteY0" fmla="*/ 0 h 4007660"/>
                      <a:gd name="connsiteX1" fmla="*/ 4007660 w 4007660"/>
                      <a:gd name="connsiteY1" fmla="*/ 2003830 h 4007660"/>
                      <a:gd name="connsiteX2" fmla="*/ 2003830 w 4007660"/>
                      <a:gd name="connsiteY2" fmla="*/ 4007660 h 4007660"/>
                      <a:gd name="connsiteX3" fmla="*/ 0 w 4007660"/>
                      <a:gd name="connsiteY3" fmla="*/ 2003830 h 4007660"/>
                    </a:gdLst>
                    <a:ahLst/>
                    <a:cxnLst>
                      <a:cxn ang="0">
                        <a:pos x="connsiteX0" y="connsiteY0"/>
                      </a:cxn>
                      <a:cxn ang="0">
                        <a:pos x="connsiteX1" y="connsiteY1"/>
                      </a:cxn>
                      <a:cxn ang="0">
                        <a:pos x="connsiteX2" y="connsiteY2"/>
                      </a:cxn>
                      <a:cxn ang="0">
                        <a:pos x="connsiteX3" y="connsiteY3"/>
                      </a:cxn>
                    </a:cxnLst>
                    <a:rect l="l" t="t" r="r" b="b"/>
                    <a:pathLst>
                      <a:path w="4007660" h="4007660">
                        <a:moveTo>
                          <a:pt x="2003830" y="0"/>
                        </a:moveTo>
                        <a:cubicBezTo>
                          <a:pt x="3110515" y="0"/>
                          <a:pt x="4007660" y="897145"/>
                          <a:pt x="4007660" y="2003830"/>
                        </a:cubicBezTo>
                        <a:cubicBezTo>
                          <a:pt x="4007660" y="3110515"/>
                          <a:pt x="3110515" y="4007660"/>
                          <a:pt x="2003830" y="4007660"/>
                        </a:cubicBezTo>
                        <a:cubicBezTo>
                          <a:pt x="897145" y="4007660"/>
                          <a:pt x="0" y="3110515"/>
                          <a:pt x="0" y="2003830"/>
                        </a:cubicBezTo>
                      </a:path>
                    </a:pathLst>
                  </a:cu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321" name="Oval 320">
                    <a:extLst>
                      <a:ext uri="{FF2B5EF4-FFF2-40B4-BE49-F238E27FC236}">
                        <a16:creationId xmlns:a16="http://schemas.microsoft.com/office/drawing/2014/main" id="{EBE1519A-4F74-4F56-8EB4-6EE0B7265E2D}"/>
                      </a:ext>
                    </a:extLst>
                  </p:cNvPr>
                  <p:cNvSpPr/>
                  <p:nvPr/>
                </p:nvSpPr>
                <p:spPr bwMode="blackGray">
                  <a:xfrm>
                    <a:off x="2962012" y="1208484"/>
                    <a:ext cx="143138" cy="143138"/>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sp>
              <p:nvSpPr>
                <p:cNvPr id="319" name="Oval 318">
                  <a:extLst>
                    <a:ext uri="{FF2B5EF4-FFF2-40B4-BE49-F238E27FC236}">
                      <a16:creationId xmlns:a16="http://schemas.microsoft.com/office/drawing/2014/main" id="{FD82BA9B-FFF4-48E7-9F4C-663F114EC83F}"/>
                    </a:ext>
                  </a:extLst>
                </p:cNvPr>
                <p:cNvSpPr/>
                <p:nvPr/>
              </p:nvSpPr>
              <p:spPr bwMode="blackGray">
                <a:xfrm>
                  <a:off x="1116109" y="3155269"/>
                  <a:ext cx="136636" cy="136636"/>
                </a:xfrm>
                <a:prstGeom prst="ellipse">
                  <a:avLst/>
                </a:prstGeom>
                <a:grp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199">
                    <a:solidFill>
                      <a:schemeClr val="tx1"/>
                    </a:solidFill>
                  </a:endParaRPr>
                </a:p>
              </p:txBody>
            </p:sp>
          </p:grpSp>
        </p:grpSp>
      </p:grpSp>
      <p:grpSp>
        <p:nvGrpSpPr>
          <p:cNvPr id="336" name="Group 335">
            <a:extLst>
              <a:ext uri="{FF2B5EF4-FFF2-40B4-BE49-F238E27FC236}">
                <a16:creationId xmlns:a16="http://schemas.microsoft.com/office/drawing/2014/main" id="{D2AB37B6-BEB1-4D64-BC9F-DBEE9A34833C}"/>
              </a:ext>
            </a:extLst>
          </p:cNvPr>
          <p:cNvGrpSpPr/>
          <p:nvPr userDrawn="1"/>
        </p:nvGrpSpPr>
        <p:grpSpPr>
          <a:xfrm>
            <a:off x="169153" y="-65217"/>
            <a:ext cx="1295359" cy="1296034"/>
            <a:chOff x="6259425" y="884550"/>
            <a:chExt cx="4794125" cy="4794125"/>
          </a:xfrm>
        </p:grpSpPr>
        <p:sp>
          <p:nvSpPr>
            <p:cNvPr id="337" name="Freeform: Shape 336">
              <a:extLst>
                <a:ext uri="{FF2B5EF4-FFF2-40B4-BE49-F238E27FC236}">
                  <a16:creationId xmlns:a16="http://schemas.microsoft.com/office/drawing/2014/main" id="{51EC1515-4E90-4B45-9C6D-107074209BE9}"/>
                </a:ext>
              </a:extLst>
            </p:cNvPr>
            <p:cNvSpPr/>
            <p:nvPr/>
          </p:nvSpPr>
          <p:spPr bwMode="blackGray">
            <a:xfrm>
              <a:off x="8931181" y="884550"/>
              <a:ext cx="2122369" cy="2104513"/>
            </a:xfrm>
            <a:custGeom>
              <a:avLst/>
              <a:gdLst>
                <a:gd name="connsiteX0" fmla="*/ 0 w 2122369"/>
                <a:gd name="connsiteY0" fmla="*/ 0 h 2104513"/>
                <a:gd name="connsiteX1" fmla="*/ 214885 w 2122369"/>
                <a:gd name="connsiteY1" fmla="*/ 32795 h 2104513"/>
                <a:gd name="connsiteX2" fmla="*/ 2092789 w 2122369"/>
                <a:gd name="connsiteY2" fmla="*/ 1910699 h 2104513"/>
                <a:gd name="connsiteX3" fmla="*/ 2122369 w 2122369"/>
                <a:gd name="connsiteY3" fmla="*/ 2104513 h 2104513"/>
                <a:gd name="connsiteX4" fmla="*/ 1783002 w 2122369"/>
                <a:gd name="connsiteY4" fmla="*/ 2104513 h 2104513"/>
                <a:gd name="connsiteX5" fmla="*/ 1763753 w 2122369"/>
                <a:gd name="connsiteY5" fmla="*/ 1978386 h 2104513"/>
                <a:gd name="connsiteX6" fmla="*/ 147198 w 2122369"/>
                <a:gd name="connsiteY6" fmla="*/ 361831 h 2104513"/>
                <a:gd name="connsiteX7" fmla="*/ 0 w 2122369"/>
                <a:gd name="connsiteY7" fmla="*/ 339366 h 2104513"/>
                <a:gd name="connsiteX8" fmla="*/ 0 w 2122369"/>
                <a:gd name="connsiteY8" fmla="*/ 0 h 210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2369" h="2104513">
                  <a:moveTo>
                    <a:pt x="0" y="0"/>
                  </a:moveTo>
                  <a:lnTo>
                    <a:pt x="214885" y="32795"/>
                  </a:lnTo>
                  <a:cubicBezTo>
                    <a:pt x="1157484" y="225678"/>
                    <a:pt x="1899906" y="968100"/>
                    <a:pt x="2092789" y="1910699"/>
                  </a:cubicBezTo>
                  <a:lnTo>
                    <a:pt x="2122369" y="2104513"/>
                  </a:lnTo>
                  <a:lnTo>
                    <a:pt x="1783002" y="2104513"/>
                  </a:lnTo>
                  <a:lnTo>
                    <a:pt x="1763753" y="1978386"/>
                  </a:lnTo>
                  <a:cubicBezTo>
                    <a:pt x="1597713" y="1166969"/>
                    <a:pt x="958615" y="527871"/>
                    <a:pt x="147198" y="361831"/>
                  </a:cubicBezTo>
                  <a:lnTo>
                    <a:pt x="0" y="339366"/>
                  </a:lnTo>
                  <a:lnTo>
                    <a:pt x="0" y="0"/>
                  </a:lnTo>
                  <a:close/>
                </a:path>
              </a:pathLst>
            </a:cu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199">
                <a:solidFill>
                  <a:schemeClr val="tx1"/>
                </a:solidFill>
              </a:endParaRPr>
            </a:p>
          </p:txBody>
        </p:sp>
        <p:sp>
          <p:nvSpPr>
            <p:cNvPr id="338" name="Freeform: Shape 337">
              <a:extLst>
                <a:ext uri="{FF2B5EF4-FFF2-40B4-BE49-F238E27FC236}">
                  <a16:creationId xmlns:a16="http://schemas.microsoft.com/office/drawing/2014/main" id="{F85F1958-C765-409F-808C-F367896D9F75}"/>
                </a:ext>
              </a:extLst>
            </p:cNvPr>
            <p:cNvSpPr/>
            <p:nvPr/>
          </p:nvSpPr>
          <p:spPr bwMode="blackGray">
            <a:xfrm>
              <a:off x="6259425" y="3532018"/>
              <a:ext cx="2128801" cy="2146657"/>
            </a:xfrm>
            <a:custGeom>
              <a:avLst/>
              <a:gdLst>
                <a:gd name="connsiteX0" fmla="*/ 0 w 2128801"/>
                <a:gd name="connsiteY0" fmla="*/ 0 h 2146657"/>
                <a:gd name="connsiteX1" fmla="*/ 339367 w 2128801"/>
                <a:gd name="connsiteY1" fmla="*/ 0 h 2146657"/>
                <a:gd name="connsiteX2" fmla="*/ 365047 w 2128801"/>
                <a:gd name="connsiteY2" fmla="*/ 168270 h 2146657"/>
                <a:gd name="connsiteX3" fmla="*/ 1981602 w 2128801"/>
                <a:gd name="connsiteY3" fmla="*/ 1784825 h 2146657"/>
                <a:gd name="connsiteX4" fmla="*/ 2128801 w 2128801"/>
                <a:gd name="connsiteY4" fmla="*/ 1807290 h 2146657"/>
                <a:gd name="connsiteX5" fmla="*/ 2128801 w 2128801"/>
                <a:gd name="connsiteY5" fmla="*/ 2146657 h 2146657"/>
                <a:gd name="connsiteX6" fmla="*/ 1913915 w 2128801"/>
                <a:gd name="connsiteY6" fmla="*/ 2113861 h 2146657"/>
                <a:gd name="connsiteX7" fmla="*/ 36011 w 2128801"/>
                <a:gd name="connsiteY7" fmla="*/ 235957 h 2146657"/>
                <a:gd name="connsiteX8" fmla="*/ 0 w 2128801"/>
                <a:gd name="connsiteY8" fmla="*/ 0 h 214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8801" h="2146657">
                  <a:moveTo>
                    <a:pt x="0" y="0"/>
                  </a:moveTo>
                  <a:lnTo>
                    <a:pt x="339367" y="0"/>
                  </a:lnTo>
                  <a:lnTo>
                    <a:pt x="365047" y="168270"/>
                  </a:lnTo>
                  <a:cubicBezTo>
                    <a:pt x="531087" y="979687"/>
                    <a:pt x="1170185" y="1618785"/>
                    <a:pt x="1981602" y="1784825"/>
                  </a:cubicBezTo>
                  <a:lnTo>
                    <a:pt x="2128801" y="1807290"/>
                  </a:lnTo>
                  <a:lnTo>
                    <a:pt x="2128801" y="2146657"/>
                  </a:lnTo>
                  <a:lnTo>
                    <a:pt x="1913915" y="2113861"/>
                  </a:lnTo>
                  <a:cubicBezTo>
                    <a:pt x="971316" y="1920978"/>
                    <a:pt x="228895" y="1178557"/>
                    <a:pt x="36011" y="235957"/>
                  </a:cubicBezTo>
                  <a:lnTo>
                    <a:pt x="0" y="0"/>
                  </a:lnTo>
                  <a:close/>
                </a:path>
              </a:pathLst>
            </a:cu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199">
                <a:solidFill>
                  <a:schemeClr val="tx1"/>
                </a:solidFill>
              </a:endParaRPr>
            </a:p>
          </p:txBody>
        </p:sp>
      </p:grpSp>
      <p:sp>
        <p:nvSpPr>
          <p:cNvPr id="164" name="Rectangle 163">
            <a:extLst>
              <a:ext uri="{FF2B5EF4-FFF2-40B4-BE49-F238E27FC236}">
                <a16:creationId xmlns:a16="http://schemas.microsoft.com/office/drawing/2014/main" id="{E5204F2B-96FE-4EE3-851B-5DDD00A4630D}"/>
              </a:ext>
            </a:extLst>
          </p:cNvPr>
          <p:cNvSpPr/>
          <p:nvPr userDrawn="1"/>
        </p:nvSpPr>
        <p:spPr>
          <a:xfrm>
            <a:off x="11664815" y="491614"/>
            <a:ext cx="507531" cy="2035277"/>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endParaRPr>
          </a:p>
        </p:txBody>
      </p:sp>
      <p:sp>
        <p:nvSpPr>
          <p:cNvPr id="4" name="Rectangle 3">
            <a:extLst>
              <a:ext uri="{FF2B5EF4-FFF2-40B4-BE49-F238E27FC236}">
                <a16:creationId xmlns:a16="http://schemas.microsoft.com/office/drawing/2014/main" id="{8A0F490B-1996-4BC4-94AF-0D7A1723B51C}"/>
              </a:ext>
            </a:extLst>
          </p:cNvPr>
          <p:cNvSpPr/>
          <p:nvPr userDrawn="1"/>
        </p:nvSpPr>
        <p:spPr>
          <a:xfrm>
            <a:off x="510181" y="6328623"/>
            <a:ext cx="1554435" cy="522897"/>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endParaRPr>
          </a:p>
        </p:txBody>
      </p:sp>
    </p:spTree>
    <p:extLst>
      <p:ext uri="{BB962C8B-B14F-4D97-AF65-F5344CB8AC3E}">
        <p14:creationId xmlns:p14="http://schemas.microsoft.com/office/powerpoint/2010/main" val="4890477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 Finance Service Offering">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Finance </a:t>
                  </a:r>
                </a:p>
                <a:p>
                  <a:pPr algn="ctr">
                    <a:lnSpc>
                      <a:spcPct val="100000"/>
                    </a:lnSpc>
                  </a:pPr>
                  <a:r>
                    <a:rPr lang="en-IN" sz="2399"/>
                    <a:t>Service </a:t>
                  </a:r>
                </a:p>
                <a:p>
                  <a:pPr algn="ctr">
                    <a:lnSpc>
                      <a:spcPct val="100000"/>
                    </a:lnSpc>
                  </a:pPr>
                  <a:r>
                    <a:rPr lang="en-IN" sz="2399"/>
                    <a:t>Offerings</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grpSp>
        <p:nvGrpSpPr>
          <p:cNvPr id="26" name="Group 79">
            <a:extLst>
              <a:ext uri="{FF2B5EF4-FFF2-40B4-BE49-F238E27FC236}">
                <a16:creationId xmlns:a16="http://schemas.microsoft.com/office/drawing/2014/main" id="{3ECC5538-E596-4282-A3E8-BAB8B050B847}"/>
              </a:ext>
            </a:extLst>
          </p:cNvPr>
          <p:cNvGrpSpPr>
            <a:grpSpLocks noChangeAspect="1"/>
          </p:cNvGrpSpPr>
          <p:nvPr userDrawn="1"/>
        </p:nvGrpSpPr>
        <p:grpSpPr bwMode="gray">
          <a:xfrm>
            <a:off x="9203346" y="1560559"/>
            <a:ext cx="1066165" cy="1066720"/>
            <a:chOff x="-1580" y="-242"/>
            <a:chExt cx="1606" cy="1606"/>
          </a:xfrm>
          <a:solidFill>
            <a:schemeClr val="bg2"/>
          </a:solidFill>
        </p:grpSpPr>
        <p:sp>
          <p:nvSpPr>
            <p:cNvPr id="27" name="Rectangle 80">
              <a:extLst>
                <a:ext uri="{FF2B5EF4-FFF2-40B4-BE49-F238E27FC236}">
                  <a16:creationId xmlns:a16="http://schemas.microsoft.com/office/drawing/2014/main" id="{6DE5150B-4FC8-4257-BDB5-987E5F5E2051}"/>
                </a:ext>
              </a:extLst>
            </p:cNvPr>
            <p:cNvSpPr>
              <a:spLocks noChangeArrowheads="1"/>
            </p:cNvSpPr>
            <p:nvPr/>
          </p:nvSpPr>
          <p:spPr bwMode="gray">
            <a:xfrm>
              <a:off x="-1045"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8" name="Rectangle 81">
              <a:extLst>
                <a:ext uri="{FF2B5EF4-FFF2-40B4-BE49-F238E27FC236}">
                  <a16:creationId xmlns:a16="http://schemas.microsoft.com/office/drawing/2014/main" id="{D6C09DC9-39B9-4BEB-A00B-B9A4A1600FB9}"/>
                </a:ext>
              </a:extLst>
            </p:cNvPr>
            <p:cNvSpPr>
              <a:spLocks noChangeArrowheads="1"/>
            </p:cNvSpPr>
            <p:nvPr/>
          </p:nvSpPr>
          <p:spPr bwMode="gray">
            <a:xfrm>
              <a:off x="-576"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9" name="Freeform 82">
              <a:extLst>
                <a:ext uri="{FF2B5EF4-FFF2-40B4-BE49-F238E27FC236}">
                  <a16:creationId xmlns:a16="http://schemas.microsoft.com/office/drawing/2014/main" id="{607D771B-F5E5-4B11-80D0-C7B0516AEC33}"/>
                </a:ext>
              </a:extLst>
            </p:cNvPr>
            <p:cNvSpPr>
              <a:spLocks noEditPoints="1"/>
            </p:cNvSpPr>
            <p:nvPr/>
          </p:nvSpPr>
          <p:spPr bwMode="gray">
            <a:xfrm>
              <a:off x="-1580" y="27"/>
              <a:ext cx="1606" cy="535"/>
            </a:xfrm>
            <a:custGeom>
              <a:avLst/>
              <a:gdLst>
                <a:gd name="T0" fmla="*/ 1536 w 1638"/>
                <a:gd name="T1" fmla="*/ 0 h 546"/>
                <a:gd name="T2" fmla="*/ 102 w 1638"/>
                <a:gd name="T3" fmla="*/ 0 h 546"/>
                <a:gd name="T4" fmla="*/ 0 w 1638"/>
                <a:gd name="T5" fmla="*/ 102 h 546"/>
                <a:gd name="T6" fmla="*/ 0 w 1638"/>
                <a:gd name="T7" fmla="*/ 444 h 546"/>
                <a:gd name="T8" fmla="*/ 102 w 1638"/>
                <a:gd name="T9" fmla="*/ 546 h 546"/>
                <a:gd name="T10" fmla="*/ 649 w 1638"/>
                <a:gd name="T11" fmla="*/ 546 h 546"/>
                <a:gd name="T12" fmla="*/ 649 w 1638"/>
                <a:gd name="T13" fmla="*/ 478 h 546"/>
                <a:gd name="T14" fmla="*/ 102 w 1638"/>
                <a:gd name="T15" fmla="*/ 478 h 546"/>
                <a:gd name="T16" fmla="*/ 68 w 1638"/>
                <a:gd name="T17" fmla="*/ 444 h 546"/>
                <a:gd name="T18" fmla="*/ 68 w 1638"/>
                <a:gd name="T19" fmla="*/ 102 h 546"/>
                <a:gd name="T20" fmla="*/ 102 w 1638"/>
                <a:gd name="T21" fmla="*/ 68 h 546"/>
                <a:gd name="T22" fmla="*/ 1536 w 1638"/>
                <a:gd name="T23" fmla="*/ 68 h 546"/>
                <a:gd name="T24" fmla="*/ 1570 w 1638"/>
                <a:gd name="T25" fmla="*/ 102 h 546"/>
                <a:gd name="T26" fmla="*/ 1570 w 1638"/>
                <a:gd name="T27" fmla="*/ 444 h 546"/>
                <a:gd name="T28" fmla="*/ 1536 w 1638"/>
                <a:gd name="T29" fmla="*/ 478 h 546"/>
                <a:gd name="T30" fmla="*/ 1399 w 1638"/>
                <a:gd name="T31" fmla="*/ 478 h 546"/>
                <a:gd name="T32" fmla="*/ 1399 w 1638"/>
                <a:gd name="T33" fmla="*/ 546 h 546"/>
                <a:gd name="T34" fmla="*/ 1536 w 1638"/>
                <a:gd name="T35" fmla="*/ 546 h 546"/>
                <a:gd name="T36" fmla="*/ 1638 w 1638"/>
                <a:gd name="T37" fmla="*/ 444 h 546"/>
                <a:gd name="T38" fmla="*/ 1638 w 1638"/>
                <a:gd name="T39" fmla="*/ 102 h 546"/>
                <a:gd name="T40" fmla="*/ 1536 w 1638"/>
                <a:gd name="T41" fmla="*/ 0 h 546"/>
                <a:gd name="T42" fmla="*/ 1536 w 1638"/>
                <a:gd name="T43" fmla="*/ 0 h 546"/>
                <a:gd name="T44" fmla="*/ 1536 w 1638"/>
                <a:gd name="T4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38" h="546">
                  <a:moveTo>
                    <a:pt x="1536" y="0"/>
                  </a:moveTo>
                  <a:cubicBezTo>
                    <a:pt x="102" y="0"/>
                    <a:pt x="102" y="0"/>
                    <a:pt x="102" y="0"/>
                  </a:cubicBezTo>
                  <a:cubicBezTo>
                    <a:pt x="46" y="0"/>
                    <a:pt x="0" y="46"/>
                    <a:pt x="0" y="102"/>
                  </a:cubicBezTo>
                  <a:cubicBezTo>
                    <a:pt x="0" y="444"/>
                    <a:pt x="0" y="444"/>
                    <a:pt x="0" y="444"/>
                  </a:cubicBezTo>
                  <a:cubicBezTo>
                    <a:pt x="0" y="500"/>
                    <a:pt x="46" y="546"/>
                    <a:pt x="102" y="546"/>
                  </a:cubicBezTo>
                  <a:cubicBezTo>
                    <a:pt x="649" y="546"/>
                    <a:pt x="649" y="546"/>
                    <a:pt x="649" y="546"/>
                  </a:cubicBezTo>
                  <a:cubicBezTo>
                    <a:pt x="649" y="478"/>
                    <a:pt x="649" y="478"/>
                    <a:pt x="649" y="478"/>
                  </a:cubicBezTo>
                  <a:cubicBezTo>
                    <a:pt x="102" y="478"/>
                    <a:pt x="102" y="478"/>
                    <a:pt x="102" y="478"/>
                  </a:cubicBezTo>
                  <a:cubicBezTo>
                    <a:pt x="84" y="478"/>
                    <a:pt x="68" y="463"/>
                    <a:pt x="68" y="444"/>
                  </a:cubicBezTo>
                  <a:cubicBezTo>
                    <a:pt x="68" y="102"/>
                    <a:pt x="68" y="102"/>
                    <a:pt x="68" y="102"/>
                  </a:cubicBezTo>
                  <a:cubicBezTo>
                    <a:pt x="68" y="84"/>
                    <a:pt x="84" y="68"/>
                    <a:pt x="102" y="68"/>
                  </a:cubicBezTo>
                  <a:cubicBezTo>
                    <a:pt x="1536" y="68"/>
                    <a:pt x="1536" y="68"/>
                    <a:pt x="1536" y="68"/>
                  </a:cubicBezTo>
                  <a:cubicBezTo>
                    <a:pt x="1555" y="68"/>
                    <a:pt x="1570" y="84"/>
                    <a:pt x="1570" y="102"/>
                  </a:cubicBezTo>
                  <a:cubicBezTo>
                    <a:pt x="1570" y="444"/>
                    <a:pt x="1570" y="444"/>
                    <a:pt x="1570" y="444"/>
                  </a:cubicBezTo>
                  <a:cubicBezTo>
                    <a:pt x="1570" y="463"/>
                    <a:pt x="1555" y="478"/>
                    <a:pt x="1536" y="478"/>
                  </a:cubicBezTo>
                  <a:cubicBezTo>
                    <a:pt x="1399" y="478"/>
                    <a:pt x="1399" y="478"/>
                    <a:pt x="1399" y="478"/>
                  </a:cubicBezTo>
                  <a:cubicBezTo>
                    <a:pt x="1399" y="546"/>
                    <a:pt x="1399" y="546"/>
                    <a:pt x="1399" y="546"/>
                  </a:cubicBezTo>
                  <a:cubicBezTo>
                    <a:pt x="1536" y="546"/>
                    <a:pt x="1536" y="546"/>
                    <a:pt x="1536" y="546"/>
                  </a:cubicBezTo>
                  <a:cubicBezTo>
                    <a:pt x="1593" y="546"/>
                    <a:pt x="1638" y="500"/>
                    <a:pt x="1638" y="444"/>
                  </a:cubicBezTo>
                  <a:cubicBezTo>
                    <a:pt x="1638" y="102"/>
                    <a:pt x="1638" y="102"/>
                    <a:pt x="1638" y="102"/>
                  </a:cubicBezTo>
                  <a:cubicBezTo>
                    <a:pt x="1638" y="46"/>
                    <a:pt x="1593" y="0"/>
                    <a:pt x="1536" y="0"/>
                  </a:cubicBezTo>
                  <a:close/>
                  <a:moveTo>
                    <a:pt x="1536" y="0"/>
                  </a:moveTo>
                  <a:cubicBezTo>
                    <a:pt x="1536" y="0"/>
                    <a:pt x="1536" y="0"/>
                    <a:pt x="15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30" name="Freeform 83">
              <a:extLst>
                <a:ext uri="{FF2B5EF4-FFF2-40B4-BE49-F238E27FC236}">
                  <a16:creationId xmlns:a16="http://schemas.microsoft.com/office/drawing/2014/main" id="{AC3ED68E-9985-4089-AAA2-F100A1E7B20F}"/>
                </a:ext>
              </a:extLst>
            </p:cNvPr>
            <p:cNvSpPr>
              <a:spLocks noEditPoints="1"/>
            </p:cNvSpPr>
            <p:nvPr/>
          </p:nvSpPr>
          <p:spPr bwMode="gray">
            <a:xfrm>
              <a:off x="-1513" y="628"/>
              <a:ext cx="201" cy="736"/>
            </a:xfrm>
            <a:custGeom>
              <a:avLst/>
              <a:gdLst>
                <a:gd name="T0" fmla="*/ 103 w 205"/>
                <a:gd name="T1" fmla="*/ 683 h 751"/>
                <a:gd name="T2" fmla="*/ 103 w 205"/>
                <a:gd name="T3" fmla="*/ 683 h 751"/>
                <a:gd name="T4" fmla="*/ 69 w 205"/>
                <a:gd name="T5" fmla="*/ 649 h 751"/>
                <a:gd name="T6" fmla="*/ 69 w 205"/>
                <a:gd name="T7" fmla="*/ 0 h 751"/>
                <a:gd name="T8" fmla="*/ 0 w 205"/>
                <a:gd name="T9" fmla="*/ 0 h 751"/>
                <a:gd name="T10" fmla="*/ 0 w 205"/>
                <a:gd name="T11" fmla="*/ 649 h 751"/>
                <a:gd name="T12" fmla="*/ 103 w 205"/>
                <a:gd name="T13" fmla="*/ 751 h 751"/>
                <a:gd name="T14" fmla="*/ 205 w 205"/>
                <a:gd name="T15" fmla="*/ 751 h 751"/>
                <a:gd name="T16" fmla="*/ 205 w 205"/>
                <a:gd name="T17" fmla="*/ 683 h 751"/>
                <a:gd name="T18" fmla="*/ 103 w 205"/>
                <a:gd name="T19" fmla="*/ 683 h 751"/>
                <a:gd name="T20" fmla="*/ 103 w 205"/>
                <a:gd name="T21" fmla="*/ 683 h 751"/>
                <a:gd name="T22" fmla="*/ 103 w 205"/>
                <a:gd name="T23" fmla="*/ 68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751">
                  <a:moveTo>
                    <a:pt x="103" y="683"/>
                  </a:moveTo>
                  <a:cubicBezTo>
                    <a:pt x="103" y="683"/>
                    <a:pt x="103" y="683"/>
                    <a:pt x="103" y="683"/>
                  </a:cubicBezTo>
                  <a:cubicBezTo>
                    <a:pt x="84" y="683"/>
                    <a:pt x="69" y="668"/>
                    <a:pt x="69" y="649"/>
                  </a:cubicBezTo>
                  <a:cubicBezTo>
                    <a:pt x="69" y="0"/>
                    <a:pt x="69" y="0"/>
                    <a:pt x="69" y="0"/>
                  </a:cubicBezTo>
                  <a:cubicBezTo>
                    <a:pt x="0" y="0"/>
                    <a:pt x="0" y="0"/>
                    <a:pt x="0" y="0"/>
                  </a:cubicBezTo>
                  <a:cubicBezTo>
                    <a:pt x="0" y="649"/>
                    <a:pt x="0" y="649"/>
                    <a:pt x="0" y="649"/>
                  </a:cubicBezTo>
                  <a:cubicBezTo>
                    <a:pt x="0" y="706"/>
                    <a:pt x="46" y="751"/>
                    <a:pt x="103" y="751"/>
                  </a:cubicBezTo>
                  <a:cubicBezTo>
                    <a:pt x="205" y="751"/>
                    <a:pt x="205" y="751"/>
                    <a:pt x="205" y="751"/>
                  </a:cubicBezTo>
                  <a:cubicBezTo>
                    <a:pt x="205" y="683"/>
                    <a:pt x="205" y="683"/>
                    <a:pt x="205" y="683"/>
                  </a:cubicBezTo>
                  <a:lnTo>
                    <a:pt x="103" y="683"/>
                  </a:lnTo>
                  <a:close/>
                  <a:moveTo>
                    <a:pt x="103" y="683"/>
                  </a:moveTo>
                  <a:cubicBezTo>
                    <a:pt x="103" y="683"/>
                    <a:pt x="103" y="683"/>
                    <a:pt x="103" y="6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31" name="Freeform 84">
              <a:extLst>
                <a:ext uri="{FF2B5EF4-FFF2-40B4-BE49-F238E27FC236}">
                  <a16:creationId xmlns:a16="http://schemas.microsoft.com/office/drawing/2014/main" id="{8E94B4D7-8BEC-49DB-B4C3-4AF34E9003D2}"/>
                </a:ext>
              </a:extLst>
            </p:cNvPr>
            <p:cNvSpPr>
              <a:spLocks noEditPoints="1"/>
            </p:cNvSpPr>
            <p:nvPr/>
          </p:nvSpPr>
          <p:spPr bwMode="gray">
            <a:xfrm>
              <a:off x="-978" y="395"/>
              <a:ext cx="402" cy="268"/>
            </a:xfrm>
            <a:custGeom>
              <a:avLst/>
              <a:gdLst>
                <a:gd name="T0" fmla="*/ 376 w 410"/>
                <a:gd name="T1" fmla="*/ 0 h 273"/>
                <a:gd name="T2" fmla="*/ 35 w 410"/>
                <a:gd name="T3" fmla="*/ 0 h 273"/>
                <a:gd name="T4" fmla="*/ 0 w 410"/>
                <a:gd name="T5" fmla="*/ 34 h 273"/>
                <a:gd name="T6" fmla="*/ 0 w 410"/>
                <a:gd name="T7" fmla="*/ 238 h 273"/>
                <a:gd name="T8" fmla="*/ 35 w 410"/>
                <a:gd name="T9" fmla="*/ 273 h 273"/>
                <a:gd name="T10" fmla="*/ 273 w 410"/>
                <a:gd name="T11" fmla="*/ 273 h 273"/>
                <a:gd name="T12" fmla="*/ 273 w 410"/>
                <a:gd name="T13" fmla="*/ 204 h 273"/>
                <a:gd name="T14" fmla="*/ 69 w 410"/>
                <a:gd name="T15" fmla="*/ 204 h 273"/>
                <a:gd name="T16" fmla="*/ 69 w 410"/>
                <a:gd name="T17" fmla="*/ 68 h 273"/>
                <a:gd name="T18" fmla="*/ 342 w 410"/>
                <a:gd name="T19" fmla="*/ 68 h 273"/>
                <a:gd name="T20" fmla="*/ 342 w 410"/>
                <a:gd name="T21" fmla="*/ 136 h 273"/>
                <a:gd name="T22" fmla="*/ 410 w 410"/>
                <a:gd name="T23" fmla="*/ 136 h 273"/>
                <a:gd name="T24" fmla="*/ 410 w 410"/>
                <a:gd name="T25" fmla="*/ 34 h 273"/>
                <a:gd name="T26" fmla="*/ 376 w 410"/>
                <a:gd name="T27" fmla="*/ 0 h 273"/>
                <a:gd name="T28" fmla="*/ 376 w 410"/>
                <a:gd name="T29" fmla="*/ 0 h 273"/>
                <a:gd name="T30" fmla="*/ 376 w 410"/>
                <a:gd name="T3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0" h="273">
                  <a:moveTo>
                    <a:pt x="376" y="0"/>
                  </a:moveTo>
                  <a:cubicBezTo>
                    <a:pt x="35" y="0"/>
                    <a:pt x="35" y="0"/>
                    <a:pt x="35" y="0"/>
                  </a:cubicBezTo>
                  <a:cubicBezTo>
                    <a:pt x="16" y="0"/>
                    <a:pt x="0" y="15"/>
                    <a:pt x="0" y="34"/>
                  </a:cubicBezTo>
                  <a:cubicBezTo>
                    <a:pt x="0" y="238"/>
                    <a:pt x="0" y="238"/>
                    <a:pt x="0" y="238"/>
                  </a:cubicBezTo>
                  <a:cubicBezTo>
                    <a:pt x="0" y="257"/>
                    <a:pt x="16" y="273"/>
                    <a:pt x="35" y="273"/>
                  </a:cubicBezTo>
                  <a:cubicBezTo>
                    <a:pt x="273" y="273"/>
                    <a:pt x="273" y="273"/>
                    <a:pt x="273" y="273"/>
                  </a:cubicBezTo>
                  <a:cubicBezTo>
                    <a:pt x="273" y="204"/>
                    <a:pt x="273" y="204"/>
                    <a:pt x="273" y="204"/>
                  </a:cubicBezTo>
                  <a:cubicBezTo>
                    <a:pt x="69" y="204"/>
                    <a:pt x="69" y="204"/>
                    <a:pt x="69" y="204"/>
                  </a:cubicBezTo>
                  <a:cubicBezTo>
                    <a:pt x="69" y="68"/>
                    <a:pt x="69" y="68"/>
                    <a:pt x="69" y="68"/>
                  </a:cubicBezTo>
                  <a:cubicBezTo>
                    <a:pt x="342" y="68"/>
                    <a:pt x="342" y="68"/>
                    <a:pt x="342" y="68"/>
                  </a:cubicBezTo>
                  <a:cubicBezTo>
                    <a:pt x="342" y="136"/>
                    <a:pt x="342" y="136"/>
                    <a:pt x="342" y="136"/>
                  </a:cubicBezTo>
                  <a:cubicBezTo>
                    <a:pt x="410" y="136"/>
                    <a:pt x="410" y="136"/>
                    <a:pt x="410" y="136"/>
                  </a:cubicBezTo>
                  <a:cubicBezTo>
                    <a:pt x="410" y="34"/>
                    <a:pt x="410" y="34"/>
                    <a:pt x="410" y="34"/>
                  </a:cubicBezTo>
                  <a:cubicBezTo>
                    <a:pt x="410" y="15"/>
                    <a:pt x="395" y="0"/>
                    <a:pt x="376" y="0"/>
                  </a:cubicBezTo>
                  <a:close/>
                  <a:moveTo>
                    <a:pt x="376" y="0"/>
                  </a:moveTo>
                  <a:cubicBezTo>
                    <a:pt x="376" y="0"/>
                    <a:pt x="376" y="0"/>
                    <a:pt x="3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32" name="Freeform 85">
              <a:extLst>
                <a:ext uri="{FF2B5EF4-FFF2-40B4-BE49-F238E27FC236}">
                  <a16:creationId xmlns:a16="http://schemas.microsoft.com/office/drawing/2014/main" id="{87A2DEC0-D498-4C01-AB41-F48AF37FA9C3}"/>
                </a:ext>
              </a:extLst>
            </p:cNvPr>
            <p:cNvSpPr>
              <a:spLocks noEditPoints="1"/>
            </p:cNvSpPr>
            <p:nvPr/>
          </p:nvSpPr>
          <p:spPr bwMode="gray">
            <a:xfrm>
              <a:off x="-1179" y="-242"/>
              <a:ext cx="804" cy="169"/>
            </a:xfrm>
            <a:custGeom>
              <a:avLst/>
              <a:gdLst>
                <a:gd name="T0" fmla="*/ 752 w 820"/>
                <a:gd name="T1" fmla="*/ 1 h 172"/>
                <a:gd name="T2" fmla="*/ 69 w 820"/>
                <a:gd name="T3" fmla="*/ 1 h 172"/>
                <a:gd name="T4" fmla="*/ 66 w 820"/>
                <a:gd name="T5" fmla="*/ 1 h 172"/>
                <a:gd name="T6" fmla="*/ 1 w 820"/>
                <a:gd name="T7" fmla="*/ 69 h 172"/>
                <a:gd name="T8" fmla="*/ 1 w 820"/>
                <a:gd name="T9" fmla="*/ 138 h 172"/>
                <a:gd name="T10" fmla="*/ 35 w 820"/>
                <a:gd name="T11" fmla="*/ 172 h 172"/>
                <a:gd name="T12" fmla="*/ 786 w 820"/>
                <a:gd name="T13" fmla="*/ 172 h 172"/>
                <a:gd name="T14" fmla="*/ 820 w 820"/>
                <a:gd name="T15" fmla="*/ 138 h 172"/>
                <a:gd name="T16" fmla="*/ 820 w 820"/>
                <a:gd name="T17" fmla="*/ 69 h 172"/>
                <a:gd name="T18" fmla="*/ 820 w 820"/>
                <a:gd name="T19" fmla="*/ 66 h 172"/>
                <a:gd name="T20" fmla="*/ 752 w 820"/>
                <a:gd name="T21" fmla="*/ 1 h 172"/>
                <a:gd name="T22" fmla="*/ 752 w 820"/>
                <a:gd name="T23" fmla="*/ 103 h 172"/>
                <a:gd name="T24" fmla="*/ 69 w 820"/>
                <a:gd name="T25" fmla="*/ 103 h 172"/>
                <a:gd name="T26" fmla="*/ 69 w 820"/>
                <a:gd name="T27" fmla="*/ 69 h 172"/>
                <a:gd name="T28" fmla="*/ 751 w 820"/>
                <a:gd name="T29" fmla="*/ 67 h 172"/>
                <a:gd name="T30" fmla="*/ 752 w 820"/>
                <a:gd name="T31" fmla="*/ 69 h 172"/>
                <a:gd name="T32" fmla="*/ 752 w 820"/>
                <a:gd name="T33" fmla="*/ 103 h 172"/>
                <a:gd name="T34" fmla="*/ 752 w 820"/>
                <a:gd name="T35" fmla="*/ 103 h 172"/>
                <a:gd name="T36" fmla="*/ 752 w 820"/>
                <a:gd name="T37" fmla="*/ 10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0" h="172">
                  <a:moveTo>
                    <a:pt x="752" y="1"/>
                  </a:moveTo>
                  <a:cubicBezTo>
                    <a:pt x="69" y="1"/>
                    <a:pt x="69" y="1"/>
                    <a:pt x="69" y="1"/>
                  </a:cubicBezTo>
                  <a:cubicBezTo>
                    <a:pt x="68" y="1"/>
                    <a:pt x="67" y="1"/>
                    <a:pt x="66" y="1"/>
                  </a:cubicBezTo>
                  <a:cubicBezTo>
                    <a:pt x="29" y="2"/>
                    <a:pt x="0" y="32"/>
                    <a:pt x="1" y="69"/>
                  </a:cubicBezTo>
                  <a:cubicBezTo>
                    <a:pt x="1" y="138"/>
                    <a:pt x="1" y="138"/>
                    <a:pt x="1" y="138"/>
                  </a:cubicBezTo>
                  <a:cubicBezTo>
                    <a:pt x="1" y="156"/>
                    <a:pt x="16" y="172"/>
                    <a:pt x="35" y="172"/>
                  </a:cubicBezTo>
                  <a:cubicBezTo>
                    <a:pt x="786" y="172"/>
                    <a:pt x="786" y="172"/>
                    <a:pt x="786" y="172"/>
                  </a:cubicBezTo>
                  <a:cubicBezTo>
                    <a:pt x="805" y="172"/>
                    <a:pt x="820" y="156"/>
                    <a:pt x="820" y="138"/>
                  </a:cubicBezTo>
                  <a:cubicBezTo>
                    <a:pt x="820" y="69"/>
                    <a:pt x="820" y="69"/>
                    <a:pt x="820" y="69"/>
                  </a:cubicBezTo>
                  <a:cubicBezTo>
                    <a:pt x="820" y="68"/>
                    <a:pt x="820" y="67"/>
                    <a:pt x="820" y="66"/>
                  </a:cubicBezTo>
                  <a:cubicBezTo>
                    <a:pt x="819" y="30"/>
                    <a:pt x="788" y="0"/>
                    <a:pt x="752" y="1"/>
                  </a:cubicBezTo>
                  <a:close/>
                  <a:moveTo>
                    <a:pt x="752" y="103"/>
                  </a:moveTo>
                  <a:cubicBezTo>
                    <a:pt x="69" y="103"/>
                    <a:pt x="69" y="103"/>
                    <a:pt x="69" y="103"/>
                  </a:cubicBezTo>
                  <a:cubicBezTo>
                    <a:pt x="69" y="69"/>
                    <a:pt x="69" y="69"/>
                    <a:pt x="69" y="69"/>
                  </a:cubicBezTo>
                  <a:cubicBezTo>
                    <a:pt x="751" y="67"/>
                    <a:pt x="751" y="67"/>
                    <a:pt x="751" y="67"/>
                  </a:cubicBezTo>
                  <a:cubicBezTo>
                    <a:pt x="751" y="68"/>
                    <a:pt x="752" y="69"/>
                    <a:pt x="752" y="69"/>
                  </a:cubicBezTo>
                  <a:lnTo>
                    <a:pt x="752" y="103"/>
                  </a:lnTo>
                  <a:close/>
                  <a:moveTo>
                    <a:pt x="752" y="103"/>
                  </a:moveTo>
                  <a:cubicBezTo>
                    <a:pt x="752" y="103"/>
                    <a:pt x="752" y="103"/>
                    <a:pt x="752" y="1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33" name="Freeform 86">
              <a:extLst>
                <a:ext uri="{FF2B5EF4-FFF2-40B4-BE49-F238E27FC236}">
                  <a16:creationId xmlns:a16="http://schemas.microsoft.com/office/drawing/2014/main" id="{14A957BA-127F-48D1-99EF-0A9266E96B31}"/>
                </a:ext>
              </a:extLst>
            </p:cNvPr>
            <p:cNvSpPr>
              <a:spLocks noEditPoints="1"/>
            </p:cNvSpPr>
            <p:nvPr/>
          </p:nvSpPr>
          <p:spPr bwMode="gray">
            <a:xfrm>
              <a:off x="-777" y="562"/>
              <a:ext cx="803" cy="802"/>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8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2 h 819"/>
                <a:gd name="T48" fmla="*/ 751 w 819"/>
                <a:gd name="T49" fmla="*/ 444 h 819"/>
                <a:gd name="T50" fmla="*/ 641 w 819"/>
                <a:gd name="T51" fmla="*/ 470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3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3 h 819"/>
                <a:gd name="T92" fmla="*/ 615 w 819"/>
                <a:gd name="T93" fmla="*/ 289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8"/>
                  </a:cubicBezTo>
                  <a:cubicBezTo>
                    <a:pt x="748" y="217"/>
                    <a:pt x="748" y="217"/>
                    <a:pt x="748" y="217"/>
                  </a:cubicBezTo>
                  <a:cubicBezTo>
                    <a:pt x="761" y="203"/>
                    <a:pt x="761" y="182"/>
                    <a:pt x="748" y="168"/>
                  </a:cubicBezTo>
                  <a:cubicBezTo>
                    <a:pt x="651" y="72"/>
                    <a:pt x="651" y="72"/>
                    <a:pt x="651" y="72"/>
                  </a:cubicBezTo>
                  <a:cubicBezTo>
                    <a:pt x="638" y="59"/>
                    <a:pt x="616" y="59"/>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9"/>
                    <a:pt x="182" y="59"/>
                    <a:pt x="168" y="72"/>
                  </a:cubicBezTo>
                  <a:cubicBezTo>
                    <a:pt x="72" y="168"/>
                    <a:pt x="72" y="168"/>
                    <a:pt x="72" y="168"/>
                  </a:cubicBezTo>
                  <a:cubicBezTo>
                    <a:pt x="59" y="182"/>
                    <a:pt x="59" y="203"/>
                    <a:pt x="72" y="217"/>
                  </a:cubicBezTo>
                  <a:cubicBezTo>
                    <a:pt x="133" y="278"/>
                    <a:pt x="133" y="278"/>
                    <a:pt x="133" y="278"/>
                  </a:cubicBezTo>
                  <a:cubicBezTo>
                    <a:pt x="128" y="287"/>
                    <a:pt x="124" y="297"/>
                    <a:pt x="120" y="307"/>
                  </a:cubicBezTo>
                  <a:cubicBezTo>
                    <a:pt x="34" y="307"/>
                    <a:pt x="34" y="307"/>
                    <a:pt x="34" y="307"/>
                  </a:cubicBezTo>
                  <a:cubicBezTo>
                    <a:pt x="15" y="307"/>
                    <a:pt x="0" y="323"/>
                    <a:pt x="0" y="342"/>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6"/>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6"/>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2"/>
                    <a:pt x="819" y="342"/>
                    <a:pt x="819" y="342"/>
                  </a:cubicBezTo>
                  <a:cubicBezTo>
                    <a:pt x="819" y="323"/>
                    <a:pt x="804" y="307"/>
                    <a:pt x="785" y="307"/>
                  </a:cubicBezTo>
                  <a:close/>
                  <a:moveTo>
                    <a:pt x="751" y="444"/>
                  </a:moveTo>
                  <a:cubicBezTo>
                    <a:pt x="674" y="444"/>
                    <a:pt x="674" y="444"/>
                    <a:pt x="674" y="444"/>
                  </a:cubicBezTo>
                  <a:cubicBezTo>
                    <a:pt x="658" y="444"/>
                    <a:pt x="645" y="454"/>
                    <a:pt x="641" y="470"/>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8"/>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6"/>
                  </a:cubicBezTo>
                  <a:cubicBezTo>
                    <a:pt x="275" y="608"/>
                    <a:pt x="258" y="610"/>
                    <a:pt x="247" y="621"/>
                  </a:cubicBezTo>
                  <a:cubicBezTo>
                    <a:pt x="193" y="675"/>
                    <a:pt x="193" y="675"/>
                    <a:pt x="193" y="675"/>
                  </a:cubicBezTo>
                  <a:cubicBezTo>
                    <a:pt x="144" y="627"/>
                    <a:pt x="144" y="627"/>
                    <a:pt x="144" y="627"/>
                  </a:cubicBezTo>
                  <a:cubicBezTo>
                    <a:pt x="199" y="573"/>
                    <a:pt x="199" y="573"/>
                    <a:pt x="199" y="573"/>
                  </a:cubicBezTo>
                  <a:cubicBezTo>
                    <a:pt x="210" y="562"/>
                    <a:pt x="212" y="544"/>
                    <a:pt x="204" y="531"/>
                  </a:cubicBezTo>
                  <a:cubicBezTo>
                    <a:pt x="193" y="512"/>
                    <a:pt x="184" y="491"/>
                    <a:pt x="179" y="470"/>
                  </a:cubicBezTo>
                  <a:cubicBezTo>
                    <a:pt x="175" y="455"/>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9"/>
                    <a:pt x="193" y="308"/>
                    <a:pt x="204" y="289"/>
                  </a:cubicBezTo>
                  <a:cubicBezTo>
                    <a:pt x="212" y="275"/>
                    <a:pt x="210" y="258"/>
                    <a:pt x="199" y="247"/>
                  </a:cubicBezTo>
                  <a:cubicBezTo>
                    <a:pt x="144" y="193"/>
                    <a:pt x="144" y="193"/>
                    <a:pt x="144" y="193"/>
                  </a:cubicBezTo>
                  <a:cubicBezTo>
                    <a:pt x="193" y="144"/>
                    <a:pt x="193" y="144"/>
                    <a:pt x="193"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6"/>
                    <a:pt x="444" y="146"/>
                    <a:pt x="444" y="146"/>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3"/>
                    <a:pt x="675" y="193"/>
                    <a:pt x="675" y="193"/>
                  </a:cubicBezTo>
                  <a:cubicBezTo>
                    <a:pt x="621" y="247"/>
                    <a:pt x="621" y="247"/>
                    <a:pt x="621" y="247"/>
                  </a:cubicBezTo>
                  <a:cubicBezTo>
                    <a:pt x="610" y="258"/>
                    <a:pt x="608" y="275"/>
                    <a:pt x="615" y="289"/>
                  </a:cubicBezTo>
                  <a:cubicBezTo>
                    <a:pt x="627" y="308"/>
                    <a:pt x="635" y="329"/>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2" name="Freeform 87">
              <a:extLst>
                <a:ext uri="{FF2B5EF4-FFF2-40B4-BE49-F238E27FC236}">
                  <a16:creationId xmlns:a16="http://schemas.microsoft.com/office/drawing/2014/main" id="{75AEE72E-C9DB-42A6-A303-5DB49C151DCA}"/>
                </a:ext>
              </a:extLst>
            </p:cNvPr>
            <p:cNvSpPr>
              <a:spLocks noEditPoints="1"/>
            </p:cNvSpPr>
            <p:nvPr/>
          </p:nvSpPr>
          <p:spPr bwMode="gray">
            <a:xfrm>
              <a:off x="-509" y="829"/>
              <a:ext cx="267" cy="268"/>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9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5"/>
                    <a:pt x="69" y="137"/>
                  </a:cubicBezTo>
                  <a:cubicBezTo>
                    <a:pt x="69" y="99"/>
                    <a:pt x="99" y="69"/>
                    <a:pt x="137" y="69"/>
                  </a:cubicBezTo>
                  <a:cubicBezTo>
                    <a:pt x="175" y="69"/>
                    <a:pt x="205" y="99"/>
                    <a:pt x="205" y="137"/>
                  </a:cubicBezTo>
                  <a:cubicBezTo>
                    <a:pt x="205" y="175"/>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3" name="Rectangle 88">
              <a:extLst>
                <a:ext uri="{FF2B5EF4-FFF2-40B4-BE49-F238E27FC236}">
                  <a16:creationId xmlns:a16="http://schemas.microsoft.com/office/drawing/2014/main" id="{D1E4FB3A-7F94-4190-B40A-EA8CF19C1756}"/>
                </a:ext>
              </a:extLst>
            </p:cNvPr>
            <p:cNvSpPr>
              <a:spLocks noChangeArrowheads="1"/>
            </p:cNvSpPr>
            <p:nvPr/>
          </p:nvSpPr>
          <p:spPr bwMode="gray">
            <a:xfrm>
              <a:off x="-978" y="1297"/>
              <a:ext cx="268"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4" name="Rectangle 89">
              <a:extLst>
                <a:ext uri="{FF2B5EF4-FFF2-40B4-BE49-F238E27FC236}">
                  <a16:creationId xmlns:a16="http://schemas.microsoft.com/office/drawing/2014/main" id="{B89C12F2-3219-4A63-BC5F-9E41BF26005A}"/>
                </a:ext>
              </a:extLst>
            </p:cNvPr>
            <p:cNvSpPr>
              <a:spLocks noChangeArrowheads="1"/>
            </p:cNvSpPr>
            <p:nvPr/>
          </p:nvSpPr>
          <p:spPr bwMode="gray">
            <a:xfrm>
              <a:off x="-1111" y="1297"/>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5" name="Rectangle 90">
              <a:extLst>
                <a:ext uri="{FF2B5EF4-FFF2-40B4-BE49-F238E27FC236}">
                  <a16:creationId xmlns:a16="http://schemas.microsoft.com/office/drawing/2014/main" id="{07667AA0-DA13-4F2B-92A3-EDE53F276CB3}"/>
                </a:ext>
              </a:extLst>
            </p:cNvPr>
            <p:cNvSpPr>
              <a:spLocks noChangeArrowheads="1"/>
            </p:cNvSpPr>
            <p:nvPr/>
          </p:nvSpPr>
          <p:spPr bwMode="gray">
            <a:xfrm>
              <a:off x="-1246" y="1130"/>
              <a:ext cx="402"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6" name="Rectangle 91">
              <a:extLst>
                <a:ext uri="{FF2B5EF4-FFF2-40B4-BE49-F238E27FC236}">
                  <a16:creationId xmlns:a16="http://schemas.microsoft.com/office/drawing/2014/main" id="{5FF4397A-55C0-409C-B165-F81D13608932}"/>
                </a:ext>
              </a:extLst>
            </p:cNvPr>
            <p:cNvSpPr>
              <a:spLocks noChangeArrowheads="1"/>
            </p:cNvSpPr>
            <p:nvPr/>
          </p:nvSpPr>
          <p:spPr bwMode="gray">
            <a:xfrm>
              <a:off x="-910" y="963"/>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7" name="Rectangle 92">
              <a:extLst>
                <a:ext uri="{FF2B5EF4-FFF2-40B4-BE49-F238E27FC236}">
                  <a16:creationId xmlns:a16="http://schemas.microsoft.com/office/drawing/2014/main" id="{9696AAED-0A6B-4D29-B628-44143B5B5DCF}"/>
                </a:ext>
              </a:extLst>
            </p:cNvPr>
            <p:cNvSpPr>
              <a:spLocks noChangeArrowheads="1"/>
            </p:cNvSpPr>
            <p:nvPr/>
          </p:nvSpPr>
          <p:spPr bwMode="gray">
            <a:xfrm>
              <a:off x="-1045" y="963"/>
              <a:ext cx="67"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8" name="Rectangle 93">
              <a:extLst>
                <a:ext uri="{FF2B5EF4-FFF2-40B4-BE49-F238E27FC236}">
                  <a16:creationId xmlns:a16="http://schemas.microsoft.com/office/drawing/2014/main" id="{977D38C5-8EBA-470B-B70C-B5CE7EA9FCF8}"/>
                </a:ext>
              </a:extLst>
            </p:cNvPr>
            <p:cNvSpPr>
              <a:spLocks noChangeArrowheads="1"/>
            </p:cNvSpPr>
            <p:nvPr/>
          </p:nvSpPr>
          <p:spPr bwMode="gray">
            <a:xfrm>
              <a:off x="-1312" y="963"/>
              <a:ext cx="201"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49" name="Rectangle 94">
              <a:extLst>
                <a:ext uri="{FF2B5EF4-FFF2-40B4-BE49-F238E27FC236}">
                  <a16:creationId xmlns:a16="http://schemas.microsoft.com/office/drawing/2014/main" id="{7FD5F05B-9840-4C1F-A04E-63F9BA99505E}"/>
                </a:ext>
              </a:extLst>
            </p:cNvPr>
            <p:cNvSpPr>
              <a:spLocks noChangeArrowheads="1"/>
            </p:cNvSpPr>
            <p:nvPr/>
          </p:nvSpPr>
          <p:spPr bwMode="gray">
            <a:xfrm>
              <a:off x="-1145" y="796"/>
              <a:ext cx="301"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0744707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Divider - Sales cycle">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Finance </a:t>
                  </a:r>
                </a:p>
                <a:p>
                  <a:pPr algn="ctr">
                    <a:lnSpc>
                      <a:spcPct val="100000"/>
                    </a:lnSpc>
                  </a:pPr>
                  <a:r>
                    <a:rPr lang="en-IN" sz="2399"/>
                    <a:t>Trends</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pic>
        <p:nvPicPr>
          <p:cNvPr id="3" name="Graphic 2" descr="Bar graph with upward trend">
            <a:extLst>
              <a:ext uri="{FF2B5EF4-FFF2-40B4-BE49-F238E27FC236}">
                <a16:creationId xmlns:a16="http://schemas.microsoft.com/office/drawing/2014/main" id="{E13BDAEC-97C1-4E5B-B2AD-A2EA0F30DF2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33482" y="1996025"/>
            <a:ext cx="913924" cy="914400"/>
          </a:xfrm>
          <a:prstGeom prst="rect">
            <a:avLst/>
          </a:prstGeom>
        </p:spPr>
      </p:pic>
    </p:spTree>
    <p:extLst>
      <p:ext uri="{BB962C8B-B14F-4D97-AF65-F5344CB8AC3E}">
        <p14:creationId xmlns:p14="http://schemas.microsoft.com/office/powerpoint/2010/main" val="1559085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Open Template Dark">
    <p:spTree>
      <p:nvGrpSpPr>
        <p:cNvPr id="1" name=""/>
        <p:cNvGrpSpPr/>
        <p:nvPr/>
      </p:nvGrpSpPr>
      <p:grpSpPr>
        <a:xfrm>
          <a:off x="0" y="0"/>
          <a:ext cx="0" cy="0"/>
          <a:chOff x="0" y="0"/>
          <a:chExt cx="0" cy="0"/>
        </a:xfrm>
      </p:grpSpPr>
      <p:sp>
        <p:nvSpPr>
          <p:cNvPr id="264" name="Body Level One…"/>
          <p:cNvSpPr txBox="1">
            <a:spLocks noGrp="1"/>
          </p:cNvSpPr>
          <p:nvPr>
            <p:ph type="body" sz="quarter" idx="1"/>
          </p:nvPr>
        </p:nvSpPr>
        <p:spPr>
          <a:xfrm>
            <a:off x="952500" y="588432"/>
            <a:ext cx="10402618" cy="241302"/>
          </a:xfrm>
          <a:prstGeom prst="rect">
            <a:avLst/>
          </a:prstGeom>
        </p:spPr>
        <p:txBody>
          <a:bodyPr anchor="ctr">
            <a:noAutofit/>
          </a:bodyPr>
          <a:lstStyle>
            <a:lvl1pPr>
              <a:defRPr sz="2398" cap="none" baseline="0">
                <a:solidFill>
                  <a:srgbClr val="FFFFFF"/>
                </a:solidFill>
              </a:defRPr>
            </a:lvl1pPr>
            <a:lvl2pPr>
              <a:defRPr sz="2398" cap="none" baseline="0">
                <a:solidFill>
                  <a:srgbClr val="FFFFFF"/>
                </a:solidFill>
              </a:defRPr>
            </a:lvl2pPr>
            <a:lvl3pPr>
              <a:defRPr sz="2398" cap="none" baseline="0">
                <a:solidFill>
                  <a:srgbClr val="FFFFFF"/>
                </a:solidFill>
              </a:defRPr>
            </a:lvl3pPr>
            <a:lvl4pPr>
              <a:defRPr sz="2398" cap="none" baseline="0">
                <a:solidFill>
                  <a:srgbClr val="FFFFFF"/>
                </a:solidFill>
              </a:defRPr>
            </a:lvl4pPr>
            <a:lvl5pPr>
              <a:defRPr sz="2398" cap="none" baseline="0">
                <a:solidFill>
                  <a:srgbClr val="FFFFFF"/>
                </a:solidFill>
              </a:defRPr>
            </a:lvl5pPr>
          </a:lstStyle>
          <a:p>
            <a:r>
              <a:rPr lang="en-US"/>
              <a:t>Body Level One</a:t>
            </a:r>
          </a:p>
          <a:p>
            <a:pPr lvl="1"/>
            <a:r>
              <a:rPr lang="en-US"/>
              <a:t>Body Level Two</a:t>
            </a:r>
          </a:p>
          <a:p>
            <a:pPr lvl="2"/>
            <a:r>
              <a:rPr lang="en-US"/>
              <a:t>Body Level Three</a:t>
            </a:r>
          </a:p>
          <a:p>
            <a:pPr lvl="3"/>
            <a:r>
              <a:rPr lang="en-US"/>
              <a:t>Body Level Four</a:t>
            </a:r>
          </a:p>
          <a:p>
            <a:pPr lvl="4"/>
            <a:r>
              <a:rPr lang="en-US"/>
              <a:t>Body Level Five</a:t>
            </a:r>
          </a:p>
        </p:txBody>
      </p:sp>
      <p:sp>
        <p:nvSpPr>
          <p:cNvPr id="266"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997354045"/>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Divider - Sales cycle">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New Finance Operating Model</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grpSp>
        <p:nvGrpSpPr>
          <p:cNvPr id="6" name="Group 5">
            <a:extLst>
              <a:ext uri="{FF2B5EF4-FFF2-40B4-BE49-F238E27FC236}">
                <a16:creationId xmlns:a16="http://schemas.microsoft.com/office/drawing/2014/main" id="{668D2D6A-B1B6-49B0-A553-2FDC3E98877B}"/>
              </a:ext>
            </a:extLst>
          </p:cNvPr>
          <p:cNvGrpSpPr/>
          <p:nvPr userDrawn="1"/>
        </p:nvGrpSpPr>
        <p:grpSpPr>
          <a:xfrm>
            <a:off x="9035627" y="1664639"/>
            <a:ext cx="1370886" cy="1211374"/>
            <a:chOff x="9040333" y="1664639"/>
            <a:chExt cx="1371600" cy="1211374"/>
          </a:xfrm>
        </p:grpSpPr>
        <p:pic>
          <p:nvPicPr>
            <p:cNvPr id="3" name="Graphic 2" descr="Single gear">
              <a:extLst>
                <a:ext uri="{FF2B5EF4-FFF2-40B4-BE49-F238E27FC236}">
                  <a16:creationId xmlns:a16="http://schemas.microsoft.com/office/drawing/2014/main" id="{FB5AB8C7-D3CC-4289-827D-EF6CCF2E878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97533" y="1961613"/>
              <a:ext cx="914400" cy="914400"/>
            </a:xfrm>
            <a:prstGeom prst="rect">
              <a:avLst/>
            </a:prstGeom>
          </p:spPr>
        </p:pic>
        <p:pic>
          <p:nvPicPr>
            <p:cNvPr id="5" name="Graphic 4" descr="Gears">
              <a:extLst>
                <a:ext uri="{FF2B5EF4-FFF2-40B4-BE49-F238E27FC236}">
                  <a16:creationId xmlns:a16="http://schemas.microsoft.com/office/drawing/2014/main" id="{4FB05FDA-C0D1-4F71-B987-A8B1DD30EBCA}"/>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40333" y="1664639"/>
              <a:ext cx="914400" cy="914400"/>
            </a:xfrm>
            <a:prstGeom prst="rect">
              <a:avLst/>
            </a:prstGeom>
          </p:spPr>
        </p:pic>
      </p:grpSp>
    </p:spTree>
    <p:extLst>
      <p:ext uri="{BB962C8B-B14F-4D97-AF65-F5344CB8AC3E}">
        <p14:creationId xmlns:p14="http://schemas.microsoft.com/office/powerpoint/2010/main" val="10337649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Divider - Sales cycle">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EY </a:t>
                  </a:r>
                </a:p>
                <a:p>
                  <a:pPr algn="ctr">
                    <a:lnSpc>
                      <a:spcPct val="100000"/>
                    </a:lnSpc>
                  </a:pPr>
                  <a:r>
                    <a:rPr lang="en-IN" sz="2399"/>
                    <a:t>Approach</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grpSp>
        <p:nvGrpSpPr>
          <p:cNvPr id="4" name="Group 3">
            <a:extLst>
              <a:ext uri="{FF2B5EF4-FFF2-40B4-BE49-F238E27FC236}">
                <a16:creationId xmlns:a16="http://schemas.microsoft.com/office/drawing/2014/main" id="{AF54F1F2-49BF-4740-B418-8303F82BFEBD}"/>
              </a:ext>
            </a:extLst>
          </p:cNvPr>
          <p:cNvGrpSpPr/>
          <p:nvPr userDrawn="1"/>
        </p:nvGrpSpPr>
        <p:grpSpPr>
          <a:xfrm>
            <a:off x="9014979" y="1500079"/>
            <a:ext cx="1471883" cy="1472650"/>
            <a:chOff x="8958063" y="1536112"/>
            <a:chExt cx="1472650" cy="1472650"/>
          </a:xfrm>
        </p:grpSpPr>
        <p:pic>
          <p:nvPicPr>
            <p:cNvPr id="28" name="Graphic 27" descr="Lightbulb and gear">
              <a:extLst>
                <a:ext uri="{FF2B5EF4-FFF2-40B4-BE49-F238E27FC236}">
                  <a16:creationId xmlns:a16="http://schemas.microsoft.com/office/drawing/2014/main" id="{9E45FB2D-E030-4205-AC41-2D390611BA2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6312" y="2021764"/>
              <a:ext cx="516155" cy="516155"/>
            </a:xfrm>
            <a:prstGeom prst="rect">
              <a:avLst/>
            </a:prstGeom>
          </p:spPr>
        </p:pic>
        <p:pic>
          <p:nvPicPr>
            <p:cNvPr id="29" name="Graphic 28" descr="Circles with lines">
              <a:extLst>
                <a:ext uri="{FF2B5EF4-FFF2-40B4-BE49-F238E27FC236}">
                  <a16:creationId xmlns:a16="http://schemas.microsoft.com/office/drawing/2014/main" id="{F9F92891-47F6-4BD2-ABF9-34476F3CDC71}"/>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58063" y="1536112"/>
              <a:ext cx="1472650" cy="1472650"/>
            </a:xfrm>
            <a:prstGeom prst="rect">
              <a:avLst/>
            </a:prstGeom>
          </p:spPr>
        </p:pic>
      </p:grpSp>
    </p:spTree>
    <p:extLst>
      <p:ext uri="{BB962C8B-B14F-4D97-AF65-F5344CB8AC3E}">
        <p14:creationId xmlns:p14="http://schemas.microsoft.com/office/powerpoint/2010/main" val="13488821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Divider - Sales cycle">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Finance Transformation Enablers</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grpSp>
        <p:nvGrpSpPr>
          <p:cNvPr id="2" name="Group 1">
            <a:extLst>
              <a:ext uri="{FF2B5EF4-FFF2-40B4-BE49-F238E27FC236}">
                <a16:creationId xmlns:a16="http://schemas.microsoft.com/office/drawing/2014/main" id="{8E27854A-40D4-4D33-B6E2-FAB4398445E8}"/>
              </a:ext>
            </a:extLst>
          </p:cNvPr>
          <p:cNvGrpSpPr/>
          <p:nvPr userDrawn="1"/>
        </p:nvGrpSpPr>
        <p:grpSpPr>
          <a:xfrm>
            <a:off x="9194005" y="1691626"/>
            <a:ext cx="1005316" cy="1005840"/>
            <a:chOff x="9198793" y="1691626"/>
            <a:chExt cx="1005840" cy="1005840"/>
          </a:xfrm>
        </p:grpSpPr>
        <p:pic>
          <p:nvPicPr>
            <p:cNvPr id="3" name="Graphic 2" descr="Magnifying glass">
              <a:extLst>
                <a:ext uri="{FF2B5EF4-FFF2-40B4-BE49-F238E27FC236}">
                  <a16:creationId xmlns:a16="http://schemas.microsoft.com/office/drawing/2014/main" id="{D4655870-F4FB-44E8-873F-97FAC7D6E5A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98793" y="1691626"/>
              <a:ext cx="1005840" cy="1005840"/>
            </a:xfrm>
            <a:prstGeom prst="rect">
              <a:avLst/>
            </a:prstGeom>
          </p:spPr>
        </p:pic>
        <p:pic>
          <p:nvPicPr>
            <p:cNvPr id="5" name="Graphic 4" descr="Target">
              <a:extLst>
                <a:ext uri="{FF2B5EF4-FFF2-40B4-BE49-F238E27FC236}">
                  <a16:creationId xmlns:a16="http://schemas.microsoft.com/office/drawing/2014/main" id="{1C6A7712-F12D-493E-AB54-1CFF9F2BB451}"/>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70605" y="1863071"/>
              <a:ext cx="469232" cy="469232"/>
            </a:xfrm>
            <a:prstGeom prst="rect">
              <a:avLst/>
            </a:prstGeom>
          </p:spPr>
        </p:pic>
      </p:grpSp>
    </p:spTree>
    <p:extLst>
      <p:ext uri="{BB962C8B-B14F-4D97-AF65-F5344CB8AC3E}">
        <p14:creationId xmlns:p14="http://schemas.microsoft.com/office/powerpoint/2010/main" val="39549838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ivider - Sales cycle">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Finance Transformation Benefits</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pic>
        <p:nvPicPr>
          <p:cNvPr id="7" name="Graphic 6" descr="Bullseye">
            <a:extLst>
              <a:ext uri="{FF2B5EF4-FFF2-40B4-BE49-F238E27FC236}">
                <a16:creationId xmlns:a16="http://schemas.microsoft.com/office/drawing/2014/main" id="{878B245D-3A50-424C-B1C5-DA2A83F5C7F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66948" y="1739757"/>
            <a:ext cx="913924" cy="914400"/>
          </a:xfrm>
          <a:prstGeom prst="rect">
            <a:avLst/>
          </a:prstGeom>
        </p:spPr>
      </p:pic>
    </p:spTree>
    <p:extLst>
      <p:ext uri="{BB962C8B-B14F-4D97-AF65-F5344CB8AC3E}">
        <p14:creationId xmlns:p14="http://schemas.microsoft.com/office/powerpoint/2010/main" val="41187289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 Sales cycle">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F068C8B4-2AC7-4D2B-A2E1-37A1F7EFD3C3}"/>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35" name="Rectangle 34">
            <a:extLst>
              <a:ext uri="{FF2B5EF4-FFF2-40B4-BE49-F238E27FC236}">
                <a16:creationId xmlns:a16="http://schemas.microsoft.com/office/drawing/2014/main" id="{4B53F742-2B6A-4DA1-9DA2-6652F7A33C3D}"/>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36" name="Rectangle 35">
            <a:extLst>
              <a:ext uri="{FF2B5EF4-FFF2-40B4-BE49-F238E27FC236}">
                <a16:creationId xmlns:a16="http://schemas.microsoft.com/office/drawing/2014/main" id="{CC83497E-F456-4ABD-B54B-77FE1BF18819}"/>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7" name="Group 36">
            <a:extLst>
              <a:ext uri="{FF2B5EF4-FFF2-40B4-BE49-F238E27FC236}">
                <a16:creationId xmlns:a16="http://schemas.microsoft.com/office/drawing/2014/main" id="{09A24737-56B0-4965-B072-F52AF51EE0DF}"/>
              </a:ext>
            </a:extLst>
          </p:cNvPr>
          <p:cNvGrpSpPr/>
          <p:nvPr userDrawn="1"/>
        </p:nvGrpSpPr>
        <p:grpSpPr>
          <a:xfrm>
            <a:off x="7617803" y="671796"/>
            <a:ext cx="4220254" cy="4222452"/>
            <a:chOff x="7769251" y="671796"/>
            <a:chExt cx="4222452" cy="4222452"/>
          </a:xfrm>
        </p:grpSpPr>
        <p:sp>
          <p:nvSpPr>
            <p:cNvPr id="38" name="Rectangle 37">
              <a:extLst>
                <a:ext uri="{FF2B5EF4-FFF2-40B4-BE49-F238E27FC236}">
                  <a16:creationId xmlns:a16="http://schemas.microsoft.com/office/drawing/2014/main" id="{8DDF6EFE-BF20-4331-85AF-4C9518A3643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39" name="Group 38">
              <a:extLst>
                <a:ext uri="{FF2B5EF4-FFF2-40B4-BE49-F238E27FC236}">
                  <a16:creationId xmlns:a16="http://schemas.microsoft.com/office/drawing/2014/main" id="{2C81FB68-A0B6-41C2-AEF2-9FF358627DF8}"/>
                </a:ext>
              </a:extLst>
            </p:cNvPr>
            <p:cNvGrpSpPr/>
            <p:nvPr userDrawn="1"/>
          </p:nvGrpSpPr>
          <p:grpSpPr>
            <a:xfrm>
              <a:off x="7769251" y="671796"/>
              <a:ext cx="4222452" cy="4222452"/>
              <a:chOff x="7769251" y="1027280"/>
              <a:chExt cx="4222452" cy="4222452"/>
            </a:xfrm>
          </p:grpSpPr>
          <p:sp>
            <p:nvSpPr>
              <p:cNvPr id="40" name="Oval 39">
                <a:extLst>
                  <a:ext uri="{FF2B5EF4-FFF2-40B4-BE49-F238E27FC236}">
                    <a16:creationId xmlns:a16="http://schemas.microsoft.com/office/drawing/2014/main" id="{13BB6BF7-85B4-4924-B455-C59F004E3627}"/>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41" name="Group 40">
                <a:extLst>
                  <a:ext uri="{FF2B5EF4-FFF2-40B4-BE49-F238E27FC236}">
                    <a16:creationId xmlns:a16="http://schemas.microsoft.com/office/drawing/2014/main" id="{1936B178-F7F4-44D1-A555-3633CA0D2E4F}"/>
                  </a:ext>
                </a:extLst>
              </p:cNvPr>
              <p:cNvGrpSpPr/>
              <p:nvPr userDrawn="1"/>
            </p:nvGrpSpPr>
            <p:grpSpPr bwMode="gray">
              <a:xfrm>
                <a:off x="8229471" y="1489094"/>
                <a:ext cx="3298824" cy="3298824"/>
                <a:chOff x="8229471" y="1781121"/>
                <a:chExt cx="3298824" cy="3298824"/>
              </a:xfrm>
            </p:grpSpPr>
            <p:sp>
              <p:nvSpPr>
                <p:cNvPr id="59" name="Oval 58">
                  <a:extLst>
                    <a:ext uri="{FF2B5EF4-FFF2-40B4-BE49-F238E27FC236}">
                      <a16:creationId xmlns:a16="http://schemas.microsoft.com/office/drawing/2014/main" id="{C6C3FDDE-8CAC-44E4-9676-D8F13D5A3431}"/>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60" name="Title 1">
                  <a:extLst>
                    <a:ext uri="{FF2B5EF4-FFF2-40B4-BE49-F238E27FC236}">
                      <a16:creationId xmlns:a16="http://schemas.microsoft.com/office/drawing/2014/main" id="{D73CD423-7D92-4282-BAF4-B443D079CA1B}"/>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Credentials</a:t>
                  </a:r>
                </a:p>
              </p:txBody>
            </p:sp>
          </p:grpSp>
          <p:sp>
            <p:nvSpPr>
              <p:cNvPr id="55" name="Oval 54">
                <a:extLst>
                  <a:ext uri="{FF2B5EF4-FFF2-40B4-BE49-F238E27FC236}">
                    <a16:creationId xmlns:a16="http://schemas.microsoft.com/office/drawing/2014/main" id="{A47924D0-2F2A-49ED-8EF5-C17C1460C002}"/>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8" name="Grey Block Arc">
                <a:extLst>
                  <a:ext uri="{FF2B5EF4-FFF2-40B4-BE49-F238E27FC236}">
                    <a16:creationId xmlns:a16="http://schemas.microsoft.com/office/drawing/2014/main" id="{C602504B-B509-44E8-AB31-EF721000660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grpSp>
        <p:nvGrpSpPr>
          <p:cNvPr id="99" name="Group 59">
            <a:extLst>
              <a:ext uri="{FF2B5EF4-FFF2-40B4-BE49-F238E27FC236}">
                <a16:creationId xmlns:a16="http://schemas.microsoft.com/office/drawing/2014/main" id="{3617BC1D-62D6-4396-A17F-C827628971D5}"/>
              </a:ext>
            </a:extLst>
          </p:cNvPr>
          <p:cNvGrpSpPr>
            <a:grpSpLocks noChangeAspect="1"/>
          </p:cNvGrpSpPr>
          <p:nvPr userDrawn="1"/>
        </p:nvGrpSpPr>
        <p:grpSpPr bwMode="gray">
          <a:xfrm>
            <a:off x="9225106" y="1881205"/>
            <a:ext cx="1005648" cy="1006172"/>
            <a:chOff x="-3944" y="767"/>
            <a:chExt cx="1311" cy="1311"/>
          </a:xfrm>
          <a:solidFill>
            <a:schemeClr val="bg2"/>
          </a:solidFill>
        </p:grpSpPr>
        <p:sp>
          <p:nvSpPr>
            <p:cNvPr id="100" name="Freeform 60">
              <a:extLst>
                <a:ext uri="{FF2B5EF4-FFF2-40B4-BE49-F238E27FC236}">
                  <a16:creationId xmlns:a16="http://schemas.microsoft.com/office/drawing/2014/main" id="{61318ECE-952B-4EED-9F13-436084A05BB2}"/>
                </a:ext>
              </a:extLst>
            </p:cNvPr>
            <p:cNvSpPr>
              <a:spLocks noEditPoints="1"/>
            </p:cNvSpPr>
            <p:nvPr/>
          </p:nvSpPr>
          <p:spPr bwMode="gray">
            <a:xfrm>
              <a:off x="-3288" y="986"/>
              <a:ext cx="655" cy="655"/>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7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1 h 819"/>
                <a:gd name="T48" fmla="*/ 751 w 819"/>
                <a:gd name="T49" fmla="*/ 444 h 819"/>
                <a:gd name="T50" fmla="*/ 641 w 819"/>
                <a:gd name="T51" fmla="*/ 469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2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2 h 819"/>
                <a:gd name="T92" fmla="*/ 615 w 819"/>
                <a:gd name="T93" fmla="*/ 288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7"/>
                  </a:cubicBezTo>
                  <a:cubicBezTo>
                    <a:pt x="748" y="217"/>
                    <a:pt x="748" y="217"/>
                    <a:pt x="748" y="217"/>
                  </a:cubicBezTo>
                  <a:cubicBezTo>
                    <a:pt x="761" y="203"/>
                    <a:pt x="761" y="182"/>
                    <a:pt x="748" y="168"/>
                  </a:cubicBezTo>
                  <a:cubicBezTo>
                    <a:pt x="651" y="72"/>
                    <a:pt x="651" y="72"/>
                    <a:pt x="651" y="72"/>
                  </a:cubicBezTo>
                  <a:cubicBezTo>
                    <a:pt x="638" y="58"/>
                    <a:pt x="616" y="58"/>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8"/>
                    <a:pt x="182" y="58"/>
                    <a:pt x="168" y="72"/>
                  </a:cubicBezTo>
                  <a:cubicBezTo>
                    <a:pt x="72" y="168"/>
                    <a:pt x="72" y="168"/>
                    <a:pt x="72" y="168"/>
                  </a:cubicBezTo>
                  <a:cubicBezTo>
                    <a:pt x="59" y="182"/>
                    <a:pt x="59" y="203"/>
                    <a:pt x="72" y="217"/>
                  </a:cubicBezTo>
                  <a:cubicBezTo>
                    <a:pt x="133" y="277"/>
                    <a:pt x="133" y="277"/>
                    <a:pt x="133" y="277"/>
                  </a:cubicBezTo>
                  <a:cubicBezTo>
                    <a:pt x="128" y="287"/>
                    <a:pt x="124" y="297"/>
                    <a:pt x="120" y="307"/>
                  </a:cubicBezTo>
                  <a:cubicBezTo>
                    <a:pt x="34" y="307"/>
                    <a:pt x="34" y="307"/>
                    <a:pt x="34" y="307"/>
                  </a:cubicBezTo>
                  <a:cubicBezTo>
                    <a:pt x="15" y="307"/>
                    <a:pt x="0" y="323"/>
                    <a:pt x="0" y="341"/>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5"/>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5"/>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1"/>
                    <a:pt x="819" y="341"/>
                    <a:pt x="819" y="341"/>
                  </a:cubicBezTo>
                  <a:cubicBezTo>
                    <a:pt x="819" y="323"/>
                    <a:pt x="804" y="307"/>
                    <a:pt x="785" y="307"/>
                  </a:cubicBezTo>
                  <a:close/>
                  <a:moveTo>
                    <a:pt x="751" y="444"/>
                  </a:moveTo>
                  <a:cubicBezTo>
                    <a:pt x="674" y="444"/>
                    <a:pt x="674" y="444"/>
                    <a:pt x="674" y="444"/>
                  </a:cubicBezTo>
                  <a:cubicBezTo>
                    <a:pt x="658" y="444"/>
                    <a:pt x="645" y="454"/>
                    <a:pt x="641" y="469"/>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7"/>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5"/>
                  </a:cubicBezTo>
                  <a:cubicBezTo>
                    <a:pt x="275" y="607"/>
                    <a:pt x="258" y="610"/>
                    <a:pt x="247" y="621"/>
                  </a:cubicBezTo>
                  <a:cubicBezTo>
                    <a:pt x="193" y="675"/>
                    <a:pt x="193" y="675"/>
                    <a:pt x="193" y="675"/>
                  </a:cubicBezTo>
                  <a:cubicBezTo>
                    <a:pt x="144" y="627"/>
                    <a:pt x="144" y="627"/>
                    <a:pt x="144" y="627"/>
                  </a:cubicBezTo>
                  <a:cubicBezTo>
                    <a:pt x="199" y="572"/>
                    <a:pt x="199" y="572"/>
                    <a:pt x="199" y="572"/>
                  </a:cubicBezTo>
                  <a:cubicBezTo>
                    <a:pt x="210" y="561"/>
                    <a:pt x="212" y="544"/>
                    <a:pt x="204" y="531"/>
                  </a:cubicBezTo>
                  <a:cubicBezTo>
                    <a:pt x="193" y="512"/>
                    <a:pt x="184" y="491"/>
                    <a:pt x="179" y="469"/>
                  </a:cubicBezTo>
                  <a:cubicBezTo>
                    <a:pt x="175" y="454"/>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8"/>
                    <a:pt x="193" y="308"/>
                    <a:pt x="204" y="289"/>
                  </a:cubicBezTo>
                  <a:cubicBezTo>
                    <a:pt x="212" y="275"/>
                    <a:pt x="210" y="258"/>
                    <a:pt x="199" y="247"/>
                  </a:cubicBezTo>
                  <a:cubicBezTo>
                    <a:pt x="144" y="192"/>
                    <a:pt x="144" y="192"/>
                    <a:pt x="144" y="192"/>
                  </a:cubicBezTo>
                  <a:cubicBezTo>
                    <a:pt x="192" y="144"/>
                    <a:pt x="192" y="144"/>
                    <a:pt x="192"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5"/>
                    <a:pt x="444" y="145"/>
                    <a:pt x="444" y="145"/>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2"/>
                    <a:pt x="675" y="192"/>
                    <a:pt x="675" y="192"/>
                  </a:cubicBezTo>
                  <a:cubicBezTo>
                    <a:pt x="621" y="247"/>
                    <a:pt x="621" y="247"/>
                    <a:pt x="621" y="247"/>
                  </a:cubicBezTo>
                  <a:cubicBezTo>
                    <a:pt x="610" y="258"/>
                    <a:pt x="608" y="275"/>
                    <a:pt x="615" y="288"/>
                  </a:cubicBezTo>
                  <a:cubicBezTo>
                    <a:pt x="627" y="308"/>
                    <a:pt x="635" y="328"/>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1" name="Freeform 61">
              <a:extLst>
                <a:ext uri="{FF2B5EF4-FFF2-40B4-BE49-F238E27FC236}">
                  <a16:creationId xmlns:a16="http://schemas.microsoft.com/office/drawing/2014/main" id="{46B63B28-D680-4848-8AF8-1DE43FCA23A1}"/>
                </a:ext>
              </a:extLst>
            </p:cNvPr>
            <p:cNvSpPr>
              <a:spLocks noEditPoints="1"/>
            </p:cNvSpPr>
            <p:nvPr/>
          </p:nvSpPr>
          <p:spPr bwMode="gray">
            <a:xfrm>
              <a:off x="-3070" y="1204"/>
              <a:ext cx="219" cy="219"/>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8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4"/>
                    <a:pt x="69" y="137"/>
                  </a:cubicBezTo>
                  <a:cubicBezTo>
                    <a:pt x="69" y="99"/>
                    <a:pt x="99" y="68"/>
                    <a:pt x="137" y="68"/>
                  </a:cubicBezTo>
                  <a:cubicBezTo>
                    <a:pt x="175" y="68"/>
                    <a:pt x="205" y="99"/>
                    <a:pt x="205" y="137"/>
                  </a:cubicBezTo>
                  <a:cubicBezTo>
                    <a:pt x="205" y="174"/>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2" name="Freeform 62">
              <a:extLst>
                <a:ext uri="{FF2B5EF4-FFF2-40B4-BE49-F238E27FC236}">
                  <a16:creationId xmlns:a16="http://schemas.microsoft.com/office/drawing/2014/main" id="{1EB3BFB4-599B-4332-B204-53D42A5D0CD8}"/>
                </a:ext>
              </a:extLst>
            </p:cNvPr>
            <p:cNvSpPr>
              <a:spLocks noEditPoints="1"/>
            </p:cNvSpPr>
            <p:nvPr/>
          </p:nvSpPr>
          <p:spPr bwMode="gray">
            <a:xfrm>
              <a:off x="-3944" y="767"/>
              <a:ext cx="1311" cy="930"/>
            </a:xfrm>
            <a:custGeom>
              <a:avLst/>
              <a:gdLst>
                <a:gd name="T0" fmla="*/ 1468 w 1638"/>
                <a:gd name="T1" fmla="*/ 0 h 1161"/>
                <a:gd name="T2" fmla="*/ 171 w 1638"/>
                <a:gd name="T3" fmla="*/ 0 h 1161"/>
                <a:gd name="T4" fmla="*/ 0 w 1638"/>
                <a:gd name="T5" fmla="*/ 171 h 1161"/>
                <a:gd name="T6" fmla="*/ 0 w 1638"/>
                <a:gd name="T7" fmla="*/ 1161 h 1161"/>
                <a:gd name="T8" fmla="*/ 68 w 1638"/>
                <a:gd name="T9" fmla="*/ 1161 h 1161"/>
                <a:gd name="T10" fmla="*/ 68 w 1638"/>
                <a:gd name="T11" fmla="*/ 171 h 1161"/>
                <a:gd name="T12" fmla="*/ 171 w 1638"/>
                <a:gd name="T13" fmla="*/ 68 h 1161"/>
                <a:gd name="T14" fmla="*/ 1468 w 1638"/>
                <a:gd name="T15" fmla="*/ 68 h 1161"/>
                <a:gd name="T16" fmla="*/ 1570 w 1638"/>
                <a:gd name="T17" fmla="*/ 171 h 1161"/>
                <a:gd name="T18" fmla="*/ 1570 w 1638"/>
                <a:gd name="T19" fmla="*/ 307 h 1161"/>
                <a:gd name="T20" fmla="*/ 1638 w 1638"/>
                <a:gd name="T21" fmla="*/ 307 h 1161"/>
                <a:gd name="T22" fmla="*/ 1638 w 1638"/>
                <a:gd name="T23" fmla="*/ 171 h 1161"/>
                <a:gd name="T24" fmla="*/ 1468 w 1638"/>
                <a:gd name="T25" fmla="*/ 0 h 1161"/>
                <a:gd name="T26" fmla="*/ 1468 w 1638"/>
                <a:gd name="T27" fmla="*/ 0 h 1161"/>
                <a:gd name="T28" fmla="*/ 1468 w 1638"/>
                <a:gd name="T29"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38" h="1161">
                  <a:moveTo>
                    <a:pt x="1468" y="0"/>
                  </a:moveTo>
                  <a:cubicBezTo>
                    <a:pt x="171" y="0"/>
                    <a:pt x="171" y="0"/>
                    <a:pt x="171" y="0"/>
                  </a:cubicBezTo>
                  <a:cubicBezTo>
                    <a:pt x="76" y="0"/>
                    <a:pt x="0" y="76"/>
                    <a:pt x="0" y="171"/>
                  </a:cubicBezTo>
                  <a:cubicBezTo>
                    <a:pt x="0" y="1161"/>
                    <a:pt x="0" y="1161"/>
                    <a:pt x="0" y="1161"/>
                  </a:cubicBezTo>
                  <a:cubicBezTo>
                    <a:pt x="68" y="1161"/>
                    <a:pt x="68" y="1161"/>
                    <a:pt x="68" y="1161"/>
                  </a:cubicBezTo>
                  <a:cubicBezTo>
                    <a:pt x="68" y="171"/>
                    <a:pt x="68" y="171"/>
                    <a:pt x="68" y="171"/>
                  </a:cubicBezTo>
                  <a:cubicBezTo>
                    <a:pt x="68" y="114"/>
                    <a:pt x="114" y="68"/>
                    <a:pt x="171" y="68"/>
                  </a:cubicBezTo>
                  <a:cubicBezTo>
                    <a:pt x="1468" y="68"/>
                    <a:pt x="1468" y="68"/>
                    <a:pt x="1468" y="68"/>
                  </a:cubicBezTo>
                  <a:cubicBezTo>
                    <a:pt x="1524" y="68"/>
                    <a:pt x="1570" y="114"/>
                    <a:pt x="1570" y="171"/>
                  </a:cubicBezTo>
                  <a:cubicBezTo>
                    <a:pt x="1570" y="307"/>
                    <a:pt x="1570" y="307"/>
                    <a:pt x="1570" y="307"/>
                  </a:cubicBezTo>
                  <a:cubicBezTo>
                    <a:pt x="1638" y="307"/>
                    <a:pt x="1638" y="307"/>
                    <a:pt x="1638" y="307"/>
                  </a:cubicBezTo>
                  <a:cubicBezTo>
                    <a:pt x="1638" y="171"/>
                    <a:pt x="1638" y="171"/>
                    <a:pt x="1638" y="171"/>
                  </a:cubicBezTo>
                  <a:cubicBezTo>
                    <a:pt x="1638" y="76"/>
                    <a:pt x="1562" y="0"/>
                    <a:pt x="1468" y="0"/>
                  </a:cubicBezTo>
                  <a:close/>
                  <a:moveTo>
                    <a:pt x="1468" y="0"/>
                  </a:moveTo>
                  <a:cubicBezTo>
                    <a:pt x="1468" y="0"/>
                    <a:pt x="1468" y="0"/>
                    <a:pt x="14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3" name="Freeform 63">
              <a:extLst>
                <a:ext uri="{FF2B5EF4-FFF2-40B4-BE49-F238E27FC236}">
                  <a16:creationId xmlns:a16="http://schemas.microsoft.com/office/drawing/2014/main" id="{D497A6A7-22CA-4D3A-9EA5-2FC40F97B36F}"/>
                </a:ext>
              </a:extLst>
            </p:cNvPr>
            <p:cNvSpPr>
              <a:spLocks noEditPoints="1"/>
            </p:cNvSpPr>
            <p:nvPr/>
          </p:nvSpPr>
          <p:spPr bwMode="gray">
            <a:xfrm>
              <a:off x="-3315" y="1587"/>
              <a:ext cx="682" cy="491"/>
            </a:xfrm>
            <a:custGeom>
              <a:avLst/>
              <a:gdLst>
                <a:gd name="T0" fmla="*/ 785 w 853"/>
                <a:gd name="T1" fmla="*/ 0 h 614"/>
                <a:gd name="T2" fmla="*/ 785 w 853"/>
                <a:gd name="T3" fmla="*/ 444 h 614"/>
                <a:gd name="T4" fmla="*/ 683 w 853"/>
                <a:gd name="T5" fmla="*/ 546 h 614"/>
                <a:gd name="T6" fmla="*/ 0 w 853"/>
                <a:gd name="T7" fmla="*/ 546 h 614"/>
                <a:gd name="T8" fmla="*/ 0 w 853"/>
                <a:gd name="T9" fmla="*/ 614 h 614"/>
                <a:gd name="T10" fmla="*/ 683 w 853"/>
                <a:gd name="T11" fmla="*/ 614 h 614"/>
                <a:gd name="T12" fmla="*/ 853 w 853"/>
                <a:gd name="T13" fmla="*/ 444 h 614"/>
                <a:gd name="T14" fmla="*/ 853 w 853"/>
                <a:gd name="T15" fmla="*/ 0 h 614"/>
                <a:gd name="T16" fmla="*/ 785 w 853"/>
                <a:gd name="T17" fmla="*/ 0 h 614"/>
                <a:gd name="T18" fmla="*/ 785 w 853"/>
                <a:gd name="T19" fmla="*/ 0 h 614"/>
                <a:gd name="T20" fmla="*/ 785 w 853"/>
                <a:gd name="T2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3" h="614">
                  <a:moveTo>
                    <a:pt x="785" y="0"/>
                  </a:moveTo>
                  <a:cubicBezTo>
                    <a:pt x="785" y="444"/>
                    <a:pt x="785" y="444"/>
                    <a:pt x="785" y="444"/>
                  </a:cubicBezTo>
                  <a:cubicBezTo>
                    <a:pt x="785" y="500"/>
                    <a:pt x="739" y="546"/>
                    <a:pt x="683" y="546"/>
                  </a:cubicBezTo>
                  <a:cubicBezTo>
                    <a:pt x="0" y="546"/>
                    <a:pt x="0" y="546"/>
                    <a:pt x="0" y="546"/>
                  </a:cubicBezTo>
                  <a:cubicBezTo>
                    <a:pt x="0" y="614"/>
                    <a:pt x="0" y="614"/>
                    <a:pt x="0" y="614"/>
                  </a:cubicBezTo>
                  <a:cubicBezTo>
                    <a:pt x="683" y="614"/>
                    <a:pt x="683" y="614"/>
                    <a:pt x="683" y="614"/>
                  </a:cubicBezTo>
                  <a:cubicBezTo>
                    <a:pt x="777" y="614"/>
                    <a:pt x="853" y="538"/>
                    <a:pt x="853" y="444"/>
                  </a:cubicBezTo>
                  <a:cubicBezTo>
                    <a:pt x="853" y="0"/>
                    <a:pt x="853" y="0"/>
                    <a:pt x="853" y="0"/>
                  </a:cubicBezTo>
                  <a:lnTo>
                    <a:pt x="785" y="0"/>
                  </a:lnTo>
                  <a:close/>
                  <a:moveTo>
                    <a:pt x="785" y="0"/>
                  </a:moveTo>
                  <a:cubicBezTo>
                    <a:pt x="785" y="0"/>
                    <a:pt x="785" y="0"/>
                    <a:pt x="7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4" name="Rectangle 64">
              <a:extLst>
                <a:ext uri="{FF2B5EF4-FFF2-40B4-BE49-F238E27FC236}">
                  <a16:creationId xmlns:a16="http://schemas.microsoft.com/office/drawing/2014/main" id="{F3DDD904-458A-4042-AA4D-CEB0DAA94019}"/>
                </a:ext>
              </a:extLst>
            </p:cNvPr>
            <p:cNvSpPr>
              <a:spLocks noChangeArrowheads="1"/>
            </p:cNvSpPr>
            <p:nvPr/>
          </p:nvSpPr>
          <p:spPr bwMode="gray">
            <a:xfrm>
              <a:off x="-3834" y="986"/>
              <a:ext cx="628"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5" name="Rectangle 65">
              <a:extLst>
                <a:ext uri="{FF2B5EF4-FFF2-40B4-BE49-F238E27FC236}">
                  <a16:creationId xmlns:a16="http://schemas.microsoft.com/office/drawing/2014/main" id="{8F7511D5-C8DE-476A-AD77-ABB31BD83553}"/>
                </a:ext>
              </a:extLst>
            </p:cNvPr>
            <p:cNvSpPr>
              <a:spLocks noChangeArrowheads="1"/>
            </p:cNvSpPr>
            <p:nvPr/>
          </p:nvSpPr>
          <p:spPr bwMode="gray">
            <a:xfrm>
              <a:off x="-3807"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6" name="Rectangle 66">
              <a:extLst>
                <a:ext uri="{FF2B5EF4-FFF2-40B4-BE49-F238E27FC236}">
                  <a16:creationId xmlns:a16="http://schemas.microsoft.com/office/drawing/2014/main" id="{BF09FD61-A0EF-4D9E-8FB6-199FEC01EB9F}"/>
                </a:ext>
              </a:extLst>
            </p:cNvPr>
            <p:cNvSpPr>
              <a:spLocks noChangeArrowheads="1"/>
            </p:cNvSpPr>
            <p:nvPr/>
          </p:nvSpPr>
          <p:spPr bwMode="gray">
            <a:xfrm>
              <a:off x="-3698" y="877"/>
              <a:ext cx="54"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7" name="Rectangle 67">
              <a:extLst>
                <a:ext uri="{FF2B5EF4-FFF2-40B4-BE49-F238E27FC236}">
                  <a16:creationId xmlns:a16="http://schemas.microsoft.com/office/drawing/2014/main" id="{00D79798-1462-42AB-9192-45E4A3E6DCF5}"/>
                </a:ext>
              </a:extLst>
            </p:cNvPr>
            <p:cNvSpPr>
              <a:spLocks noChangeArrowheads="1"/>
            </p:cNvSpPr>
            <p:nvPr/>
          </p:nvSpPr>
          <p:spPr bwMode="gray">
            <a:xfrm>
              <a:off x="-2824"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8" name="Freeform 68">
              <a:extLst>
                <a:ext uri="{FF2B5EF4-FFF2-40B4-BE49-F238E27FC236}">
                  <a16:creationId xmlns:a16="http://schemas.microsoft.com/office/drawing/2014/main" id="{3833AED2-5ABE-4ED8-B78D-0AB4C2C9643B}"/>
                </a:ext>
              </a:extLst>
            </p:cNvPr>
            <p:cNvSpPr>
              <a:spLocks noEditPoints="1"/>
            </p:cNvSpPr>
            <p:nvPr/>
          </p:nvSpPr>
          <p:spPr bwMode="gray">
            <a:xfrm>
              <a:off x="-3834" y="1314"/>
              <a:ext cx="327" cy="410"/>
            </a:xfrm>
            <a:custGeom>
              <a:avLst/>
              <a:gdLst>
                <a:gd name="T0" fmla="*/ 408 w 409"/>
                <a:gd name="T1" fmla="*/ 162 h 512"/>
                <a:gd name="T2" fmla="*/ 204 w 409"/>
                <a:gd name="T3" fmla="*/ 0 h 512"/>
                <a:gd name="T4" fmla="*/ 1 w 409"/>
                <a:gd name="T5" fmla="*/ 162 h 512"/>
                <a:gd name="T6" fmla="*/ 0 w 409"/>
                <a:gd name="T7" fmla="*/ 170 h 512"/>
                <a:gd name="T8" fmla="*/ 0 w 409"/>
                <a:gd name="T9" fmla="*/ 238 h 512"/>
                <a:gd name="T10" fmla="*/ 204 w 409"/>
                <a:gd name="T11" fmla="*/ 512 h 512"/>
                <a:gd name="T12" fmla="*/ 409 w 409"/>
                <a:gd name="T13" fmla="*/ 238 h 512"/>
                <a:gd name="T14" fmla="*/ 409 w 409"/>
                <a:gd name="T15" fmla="*/ 170 h 512"/>
                <a:gd name="T16" fmla="*/ 408 w 409"/>
                <a:gd name="T17" fmla="*/ 162 h 512"/>
                <a:gd name="T18" fmla="*/ 341 w 409"/>
                <a:gd name="T19" fmla="*/ 238 h 512"/>
                <a:gd name="T20" fmla="*/ 204 w 409"/>
                <a:gd name="T21" fmla="*/ 443 h 512"/>
                <a:gd name="T22" fmla="*/ 68 w 409"/>
                <a:gd name="T23" fmla="*/ 238 h 512"/>
                <a:gd name="T24" fmla="*/ 68 w 409"/>
                <a:gd name="T25" fmla="*/ 175 h 512"/>
                <a:gd name="T26" fmla="*/ 204 w 409"/>
                <a:gd name="T27" fmla="*/ 68 h 512"/>
                <a:gd name="T28" fmla="*/ 341 w 409"/>
                <a:gd name="T29" fmla="*/ 175 h 512"/>
                <a:gd name="T30" fmla="*/ 341 w 409"/>
                <a:gd name="T31" fmla="*/ 238 h 512"/>
                <a:gd name="T32" fmla="*/ 341 w 409"/>
                <a:gd name="T33" fmla="*/ 238 h 512"/>
                <a:gd name="T34" fmla="*/ 341 w 409"/>
                <a:gd name="T35"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 h="512">
                  <a:moveTo>
                    <a:pt x="408" y="162"/>
                  </a:moveTo>
                  <a:cubicBezTo>
                    <a:pt x="385" y="68"/>
                    <a:pt x="301" y="1"/>
                    <a:pt x="204" y="0"/>
                  </a:cubicBezTo>
                  <a:cubicBezTo>
                    <a:pt x="107" y="1"/>
                    <a:pt x="24" y="68"/>
                    <a:pt x="1" y="162"/>
                  </a:cubicBezTo>
                  <a:cubicBezTo>
                    <a:pt x="0" y="165"/>
                    <a:pt x="0" y="168"/>
                    <a:pt x="0" y="170"/>
                  </a:cubicBezTo>
                  <a:cubicBezTo>
                    <a:pt x="0" y="238"/>
                    <a:pt x="0" y="238"/>
                    <a:pt x="0" y="238"/>
                  </a:cubicBezTo>
                  <a:cubicBezTo>
                    <a:pt x="0" y="391"/>
                    <a:pt x="90" y="512"/>
                    <a:pt x="204" y="512"/>
                  </a:cubicBezTo>
                  <a:cubicBezTo>
                    <a:pt x="319" y="512"/>
                    <a:pt x="409" y="391"/>
                    <a:pt x="409" y="238"/>
                  </a:cubicBezTo>
                  <a:cubicBezTo>
                    <a:pt x="409" y="170"/>
                    <a:pt x="409" y="170"/>
                    <a:pt x="409" y="170"/>
                  </a:cubicBezTo>
                  <a:cubicBezTo>
                    <a:pt x="409" y="168"/>
                    <a:pt x="409" y="165"/>
                    <a:pt x="408" y="162"/>
                  </a:cubicBezTo>
                  <a:close/>
                  <a:moveTo>
                    <a:pt x="341" y="238"/>
                  </a:moveTo>
                  <a:cubicBezTo>
                    <a:pt x="341" y="351"/>
                    <a:pt x="280" y="443"/>
                    <a:pt x="204" y="443"/>
                  </a:cubicBezTo>
                  <a:cubicBezTo>
                    <a:pt x="129" y="443"/>
                    <a:pt x="68" y="351"/>
                    <a:pt x="68" y="238"/>
                  </a:cubicBezTo>
                  <a:cubicBezTo>
                    <a:pt x="68" y="175"/>
                    <a:pt x="68" y="175"/>
                    <a:pt x="68" y="175"/>
                  </a:cubicBezTo>
                  <a:cubicBezTo>
                    <a:pt x="85" y="113"/>
                    <a:pt x="140" y="70"/>
                    <a:pt x="204" y="68"/>
                  </a:cubicBezTo>
                  <a:cubicBezTo>
                    <a:pt x="268" y="70"/>
                    <a:pt x="324" y="113"/>
                    <a:pt x="341" y="175"/>
                  </a:cubicBezTo>
                  <a:lnTo>
                    <a:pt x="341" y="238"/>
                  </a:lnTo>
                  <a:close/>
                  <a:moveTo>
                    <a:pt x="341" y="238"/>
                  </a:moveTo>
                  <a:cubicBezTo>
                    <a:pt x="341" y="238"/>
                    <a:pt x="341" y="238"/>
                    <a:pt x="341" y="2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9" name="Freeform 69">
              <a:extLst>
                <a:ext uri="{FF2B5EF4-FFF2-40B4-BE49-F238E27FC236}">
                  <a16:creationId xmlns:a16="http://schemas.microsoft.com/office/drawing/2014/main" id="{BB2EDD5B-AE3F-4AED-A918-C828B7E90F2E}"/>
                </a:ext>
              </a:extLst>
            </p:cNvPr>
            <p:cNvSpPr>
              <a:spLocks noEditPoints="1"/>
            </p:cNvSpPr>
            <p:nvPr/>
          </p:nvSpPr>
          <p:spPr bwMode="gray">
            <a:xfrm>
              <a:off x="-3644" y="1668"/>
              <a:ext cx="247" cy="410"/>
            </a:xfrm>
            <a:custGeom>
              <a:avLst/>
              <a:gdLst>
                <a:gd name="T0" fmla="*/ 137 w 308"/>
                <a:gd name="T1" fmla="*/ 69 h 512"/>
                <a:gd name="T2" fmla="*/ 129 w 308"/>
                <a:gd name="T3" fmla="*/ 69 h 512"/>
                <a:gd name="T4" fmla="*/ 69 w 308"/>
                <a:gd name="T5" fmla="*/ 0 h 512"/>
                <a:gd name="T6" fmla="*/ 0 w 308"/>
                <a:gd name="T7" fmla="*/ 0 h 512"/>
                <a:gd name="T8" fmla="*/ 0 w 308"/>
                <a:gd name="T9" fmla="*/ 8 h 512"/>
                <a:gd name="T10" fmla="*/ 137 w 308"/>
                <a:gd name="T11" fmla="*/ 137 h 512"/>
                <a:gd name="T12" fmla="*/ 239 w 308"/>
                <a:gd name="T13" fmla="*/ 239 h 512"/>
                <a:gd name="T14" fmla="*/ 239 w 308"/>
                <a:gd name="T15" fmla="*/ 512 h 512"/>
                <a:gd name="T16" fmla="*/ 308 w 308"/>
                <a:gd name="T17" fmla="*/ 512 h 512"/>
                <a:gd name="T18" fmla="*/ 308 w 308"/>
                <a:gd name="T19" fmla="*/ 239 h 512"/>
                <a:gd name="T20" fmla="*/ 137 w 308"/>
                <a:gd name="T21" fmla="*/ 69 h 512"/>
                <a:gd name="T22" fmla="*/ 137 w 308"/>
                <a:gd name="T23" fmla="*/ 69 h 512"/>
                <a:gd name="T24" fmla="*/ 137 w 308"/>
                <a:gd name="T25" fmla="*/ 6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9"/>
                  </a:moveTo>
                  <a:cubicBezTo>
                    <a:pt x="134" y="69"/>
                    <a:pt x="131" y="69"/>
                    <a:pt x="129" y="69"/>
                  </a:cubicBezTo>
                  <a:cubicBezTo>
                    <a:pt x="93" y="66"/>
                    <a:pt x="66" y="36"/>
                    <a:pt x="69" y="0"/>
                  </a:cubicBezTo>
                  <a:cubicBezTo>
                    <a:pt x="0" y="0"/>
                    <a:pt x="0" y="0"/>
                    <a:pt x="0" y="0"/>
                  </a:cubicBezTo>
                  <a:cubicBezTo>
                    <a:pt x="0" y="3"/>
                    <a:pt x="0" y="6"/>
                    <a:pt x="0" y="8"/>
                  </a:cubicBezTo>
                  <a:cubicBezTo>
                    <a:pt x="3" y="81"/>
                    <a:pt x="64" y="139"/>
                    <a:pt x="137" y="137"/>
                  </a:cubicBezTo>
                  <a:cubicBezTo>
                    <a:pt x="194" y="137"/>
                    <a:pt x="239" y="183"/>
                    <a:pt x="239" y="239"/>
                  </a:cubicBezTo>
                  <a:cubicBezTo>
                    <a:pt x="239" y="512"/>
                    <a:pt x="239" y="512"/>
                    <a:pt x="239" y="512"/>
                  </a:cubicBezTo>
                  <a:cubicBezTo>
                    <a:pt x="308" y="512"/>
                    <a:pt x="308" y="512"/>
                    <a:pt x="308" y="512"/>
                  </a:cubicBezTo>
                  <a:cubicBezTo>
                    <a:pt x="308" y="239"/>
                    <a:pt x="308" y="239"/>
                    <a:pt x="308" y="239"/>
                  </a:cubicBezTo>
                  <a:cubicBezTo>
                    <a:pt x="308" y="145"/>
                    <a:pt x="231" y="69"/>
                    <a:pt x="137" y="69"/>
                  </a:cubicBezTo>
                  <a:close/>
                  <a:moveTo>
                    <a:pt x="137" y="69"/>
                  </a:moveTo>
                  <a:cubicBezTo>
                    <a:pt x="137" y="69"/>
                    <a:pt x="137" y="69"/>
                    <a:pt x="137"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0" name="Freeform 70">
              <a:extLst>
                <a:ext uri="{FF2B5EF4-FFF2-40B4-BE49-F238E27FC236}">
                  <a16:creationId xmlns:a16="http://schemas.microsoft.com/office/drawing/2014/main" id="{B50A5B1D-C5B3-486A-86A4-C1DDE426A639}"/>
                </a:ext>
              </a:extLst>
            </p:cNvPr>
            <p:cNvSpPr>
              <a:spLocks noEditPoints="1"/>
            </p:cNvSpPr>
            <p:nvPr/>
          </p:nvSpPr>
          <p:spPr bwMode="gray">
            <a:xfrm>
              <a:off x="-3944" y="1668"/>
              <a:ext cx="248" cy="410"/>
            </a:xfrm>
            <a:custGeom>
              <a:avLst/>
              <a:gdLst>
                <a:gd name="T0" fmla="*/ 307 w 309"/>
                <a:gd name="T1" fmla="*/ 0 h 512"/>
                <a:gd name="T2" fmla="*/ 239 w 309"/>
                <a:gd name="T3" fmla="*/ 0 h 512"/>
                <a:gd name="T4" fmla="*/ 239 w 309"/>
                <a:gd name="T5" fmla="*/ 9 h 512"/>
                <a:gd name="T6" fmla="*/ 171 w 309"/>
                <a:gd name="T7" fmla="*/ 69 h 512"/>
                <a:gd name="T8" fmla="*/ 0 w 309"/>
                <a:gd name="T9" fmla="*/ 239 h 512"/>
                <a:gd name="T10" fmla="*/ 0 w 309"/>
                <a:gd name="T11" fmla="*/ 512 h 512"/>
                <a:gd name="T12" fmla="*/ 68 w 309"/>
                <a:gd name="T13" fmla="*/ 512 h 512"/>
                <a:gd name="T14" fmla="*/ 68 w 309"/>
                <a:gd name="T15" fmla="*/ 239 h 512"/>
                <a:gd name="T16" fmla="*/ 171 w 309"/>
                <a:gd name="T17" fmla="*/ 137 h 512"/>
                <a:gd name="T18" fmla="*/ 178 w 309"/>
                <a:gd name="T19" fmla="*/ 137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6"/>
                    <a:pt x="239" y="9"/>
                  </a:cubicBezTo>
                  <a:cubicBezTo>
                    <a:pt x="237" y="44"/>
                    <a:pt x="206" y="71"/>
                    <a:pt x="171" y="69"/>
                  </a:cubicBezTo>
                  <a:cubicBezTo>
                    <a:pt x="76" y="69"/>
                    <a:pt x="0" y="145"/>
                    <a:pt x="0" y="239"/>
                  </a:cubicBezTo>
                  <a:cubicBezTo>
                    <a:pt x="0" y="512"/>
                    <a:pt x="0" y="512"/>
                    <a:pt x="0" y="512"/>
                  </a:cubicBezTo>
                  <a:cubicBezTo>
                    <a:pt x="68" y="512"/>
                    <a:pt x="68" y="512"/>
                    <a:pt x="68" y="512"/>
                  </a:cubicBezTo>
                  <a:cubicBezTo>
                    <a:pt x="68" y="239"/>
                    <a:pt x="68" y="239"/>
                    <a:pt x="68" y="239"/>
                  </a:cubicBezTo>
                  <a:cubicBezTo>
                    <a:pt x="68" y="183"/>
                    <a:pt x="114" y="137"/>
                    <a:pt x="171" y="137"/>
                  </a:cubicBezTo>
                  <a:cubicBezTo>
                    <a:pt x="173" y="137"/>
                    <a:pt x="176" y="137"/>
                    <a:pt x="178" y="137"/>
                  </a:cubicBezTo>
                  <a:cubicBezTo>
                    <a:pt x="252" y="135"/>
                    <a:pt x="309" y="74"/>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1" name="Rectangle 71">
              <a:extLst>
                <a:ext uri="{FF2B5EF4-FFF2-40B4-BE49-F238E27FC236}">
                  <a16:creationId xmlns:a16="http://schemas.microsoft.com/office/drawing/2014/main" id="{26380B8C-036E-429C-A118-F3EDB7D243DD}"/>
                </a:ext>
              </a:extLst>
            </p:cNvPr>
            <p:cNvSpPr>
              <a:spLocks noChangeArrowheads="1"/>
            </p:cNvSpPr>
            <p:nvPr/>
          </p:nvSpPr>
          <p:spPr bwMode="gray">
            <a:xfrm>
              <a:off x="-3834"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2" name="Rectangle 72">
              <a:extLst>
                <a:ext uri="{FF2B5EF4-FFF2-40B4-BE49-F238E27FC236}">
                  <a16:creationId xmlns:a16="http://schemas.microsoft.com/office/drawing/2014/main" id="{E0E7CA9F-B978-4989-B895-5C71DD18CAFE}"/>
                </a:ext>
              </a:extLst>
            </p:cNvPr>
            <p:cNvSpPr>
              <a:spLocks noChangeArrowheads="1"/>
            </p:cNvSpPr>
            <p:nvPr/>
          </p:nvSpPr>
          <p:spPr bwMode="gray">
            <a:xfrm>
              <a:off x="-3561"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3" name="Freeform 73">
              <a:extLst>
                <a:ext uri="{FF2B5EF4-FFF2-40B4-BE49-F238E27FC236}">
                  <a16:creationId xmlns:a16="http://schemas.microsoft.com/office/drawing/2014/main" id="{3B8E80DA-F7D3-4033-BF49-08239E10672C}"/>
                </a:ext>
              </a:extLst>
            </p:cNvPr>
            <p:cNvSpPr>
              <a:spLocks noEditPoints="1"/>
            </p:cNvSpPr>
            <p:nvPr/>
          </p:nvSpPr>
          <p:spPr bwMode="gray">
            <a:xfrm>
              <a:off x="-3261" y="1778"/>
              <a:ext cx="492" cy="164"/>
            </a:xfrm>
            <a:custGeom>
              <a:avLst/>
              <a:gdLst>
                <a:gd name="T0" fmla="*/ 581 w 615"/>
                <a:gd name="T1" fmla="*/ 0 h 205"/>
                <a:gd name="T2" fmla="*/ 34 w 615"/>
                <a:gd name="T3" fmla="*/ 0 h 205"/>
                <a:gd name="T4" fmla="*/ 0 w 615"/>
                <a:gd name="T5" fmla="*/ 34 h 205"/>
                <a:gd name="T6" fmla="*/ 0 w 615"/>
                <a:gd name="T7" fmla="*/ 171 h 205"/>
                <a:gd name="T8" fmla="*/ 34 w 615"/>
                <a:gd name="T9" fmla="*/ 205 h 205"/>
                <a:gd name="T10" fmla="*/ 581 w 615"/>
                <a:gd name="T11" fmla="*/ 205 h 205"/>
                <a:gd name="T12" fmla="*/ 615 w 615"/>
                <a:gd name="T13" fmla="*/ 171 h 205"/>
                <a:gd name="T14" fmla="*/ 615 w 615"/>
                <a:gd name="T15" fmla="*/ 34 h 205"/>
                <a:gd name="T16" fmla="*/ 581 w 615"/>
                <a:gd name="T17" fmla="*/ 0 h 205"/>
                <a:gd name="T18" fmla="*/ 546 w 615"/>
                <a:gd name="T19" fmla="*/ 136 h 205"/>
                <a:gd name="T20" fmla="*/ 69 w 615"/>
                <a:gd name="T21" fmla="*/ 136 h 205"/>
                <a:gd name="T22" fmla="*/ 69 w 615"/>
                <a:gd name="T23" fmla="*/ 68 h 205"/>
                <a:gd name="T24" fmla="*/ 546 w 615"/>
                <a:gd name="T25" fmla="*/ 68 h 205"/>
                <a:gd name="T26" fmla="*/ 546 w 615"/>
                <a:gd name="T27" fmla="*/ 136 h 205"/>
                <a:gd name="T28" fmla="*/ 546 w 615"/>
                <a:gd name="T29" fmla="*/ 136 h 205"/>
                <a:gd name="T30" fmla="*/ 546 w 615"/>
                <a:gd name="T31" fmla="*/ 13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5" h="205">
                  <a:moveTo>
                    <a:pt x="581" y="0"/>
                  </a:moveTo>
                  <a:cubicBezTo>
                    <a:pt x="34" y="0"/>
                    <a:pt x="34" y="0"/>
                    <a:pt x="34" y="0"/>
                  </a:cubicBezTo>
                  <a:cubicBezTo>
                    <a:pt x="16" y="0"/>
                    <a:pt x="0" y="15"/>
                    <a:pt x="0" y="34"/>
                  </a:cubicBezTo>
                  <a:cubicBezTo>
                    <a:pt x="0" y="171"/>
                    <a:pt x="0" y="171"/>
                    <a:pt x="0" y="171"/>
                  </a:cubicBezTo>
                  <a:cubicBezTo>
                    <a:pt x="0" y="189"/>
                    <a:pt x="16" y="205"/>
                    <a:pt x="34" y="205"/>
                  </a:cubicBezTo>
                  <a:cubicBezTo>
                    <a:pt x="581" y="205"/>
                    <a:pt x="581" y="205"/>
                    <a:pt x="581" y="205"/>
                  </a:cubicBezTo>
                  <a:cubicBezTo>
                    <a:pt x="599" y="205"/>
                    <a:pt x="615" y="189"/>
                    <a:pt x="615" y="171"/>
                  </a:cubicBezTo>
                  <a:cubicBezTo>
                    <a:pt x="615" y="34"/>
                    <a:pt x="615" y="34"/>
                    <a:pt x="615" y="34"/>
                  </a:cubicBezTo>
                  <a:cubicBezTo>
                    <a:pt x="615" y="15"/>
                    <a:pt x="599" y="0"/>
                    <a:pt x="581" y="0"/>
                  </a:cubicBezTo>
                  <a:close/>
                  <a:moveTo>
                    <a:pt x="546" y="136"/>
                  </a:moveTo>
                  <a:cubicBezTo>
                    <a:pt x="69" y="136"/>
                    <a:pt x="69" y="136"/>
                    <a:pt x="69" y="136"/>
                  </a:cubicBezTo>
                  <a:cubicBezTo>
                    <a:pt x="69" y="68"/>
                    <a:pt x="69" y="68"/>
                    <a:pt x="69" y="68"/>
                  </a:cubicBezTo>
                  <a:cubicBezTo>
                    <a:pt x="546" y="68"/>
                    <a:pt x="546" y="68"/>
                    <a:pt x="546" y="68"/>
                  </a:cubicBezTo>
                  <a:lnTo>
                    <a:pt x="546" y="136"/>
                  </a:lnTo>
                  <a:close/>
                  <a:moveTo>
                    <a:pt x="546" y="136"/>
                  </a:moveTo>
                  <a:cubicBezTo>
                    <a:pt x="546" y="136"/>
                    <a:pt x="546" y="136"/>
                    <a:pt x="546"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4" name="Rectangle 74">
              <a:extLst>
                <a:ext uri="{FF2B5EF4-FFF2-40B4-BE49-F238E27FC236}">
                  <a16:creationId xmlns:a16="http://schemas.microsoft.com/office/drawing/2014/main" id="{77D84C0A-EFB2-4B5A-9D4E-77B268A10090}"/>
                </a:ext>
              </a:extLst>
            </p:cNvPr>
            <p:cNvSpPr>
              <a:spLocks noChangeArrowheads="1"/>
            </p:cNvSpPr>
            <p:nvPr/>
          </p:nvSpPr>
          <p:spPr bwMode="gray">
            <a:xfrm>
              <a:off x="-3725" y="1095"/>
              <a:ext cx="410"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5" name="Rectangle 75">
              <a:extLst>
                <a:ext uri="{FF2B5EF4-FFF2-40B4-BE49-F238E27FC236}">
                  <a16:creationId xmlns:a16="http://schemas.microsoft.com/office/drawing/2014/main" id="{74AC9B63-EE43-4B6D-97C8-0BE600A25B85}"/>
                </a:ext>
              </a:extLst>
            </p:cNvPr>
            <p:cNvSpPr>
              <a:spLocks noChangeArrowheads="1"/>
            </p:cNvSpPr>
            <p:nvPr/>
          </p:nvSpPr>
          <p:spPr bwMode="gray">
            <a:xfrm>
              <a:off x="-3507" y="1204"/>
              <a:ext cx="137"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16" name="Rectangle 76">
              <a:extLst>
                <a:ext uri="{FF2B5EF4-FFF2-40B4-BE49-F238E27FC236}">
                  <a16:creationId xmlns:a16="http://schemas.microsoft.com/office/drawing/2014/main" id="{F1F355E8-43AB-493E-A62E-12B71902576C}"/>
                </a:ext>
              </a:extLst>
            </p:cNvPr>
            <p:cNvSpPr>
              <a:spLocks noChangeArrowheads="1"/>
            </p:cNvSpPr>
            <p:nvPr/>
          </p:nvSpPr>
          <p:spPr bwMode="gray">
            <a:xfrm>
              <a:off x="-3616" y="1204"/>
              <a:ext cx="55"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0405493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 Appendix">
    <p:spTree>
      <p:nvGrpSpPr>
        <p:cNvPr id="1" name=""/>
        <p:cNvGrpSpPr/>
        <p:nvPr/>
      </p:nvGrpSpPr>
      <p:grpSpPr>
        <a:xfrm>
          <a:off x="0" y="0"/>
          <a:ext cx="0" cy="0"/>
          <a:chOff x="0" y="0"/>
          <a:chExt cx="0" cy="0"/>
        </a:xfrm>
      </p:grpSpPr>
      <p:sp>
        <p:nvSpPr>
          <p:cNvPr id="25" name="Freeform 5">
            <a:extLst>
              <a:ext uri="{FF2B5EF4-FFF2-40B4-BE49-F238E27FC236}">
                <a16:creationId xmlns:a16="http://schemas.microsoft.com/office/drawing/2014/main" id="{AEEC2303-7B64-4999-AE0A-70C2E180D8A0}"/>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23" name="Rectangle 22">
            <a:extLst>
              <a:ext uri="{FF2B5EF4-FFF2-40B4-BE49-F238E27FC236}">
                <a16:creationId xmlns:a16="http://schemas.microsoft.com/office/drawing/2014/main" id="{51DA505E-FF12-41A7-88A6-D1EBB2A789A2}"/>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24" name="Rectangle 23">
            <a:extLst>
              <a:ext uri="{FF2B5EF4-FFF2-40B4-BE49-F238E27FC236}">
                <a16:creationId xmlns:a16="http://schemas.microsoft.com/office/drawing/2014/main" id="{32C5121B-8B23-4F6C-B4F7-B2CE616CAF25}"/>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27" name="Rectangle 26">
            <a:extLst>
              <a:ext uri="{FF2B5EF4-FFF2-40B4-BE49-F238E27FC236}">
                <a16:creationId xmlns:a16="http://schemas.microsoft.com/office/drawing/2014/main" id="{A03DEC1D-749D-4CB5-A76F-033954B4EF58}"/>
              </a:ext>
            </a:extLst>
          </p:cNvPr>
          <p:cNvSpPr/>
          <p:nvPr userDrawn="1"/>
        </p:nvSpPr>
        <p:spPr>
          <a:xfrm>
            <a:off x="9723910" y="673366"/>
            <a:ext cx="1908982"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42" name="Oval 41">
            <a:extLst>
              <a:ext uri="{FF2B5EF4-FFF2-40B4-BE49-F238E27FC236}">
                <a16:creationId xmlns:a16="http://schemas.microsoft.com/office/drawing/2014/main" id="{BB94B0C4-FF13-4022-907D-EEA78655E5FE}"/>
              </a:ext>
            </a:extLst>
          </p:cNvPr>
          <p:cNvSpPr>
            <a:spLocks noChangeAspect="1"/>
          </p:cNvSpPr>
          <p:nvPr userDrawn="1"/>
        </p:nvSpPr>
        <p:spPr bwMode="gray">
          <a:xfrm>
            <a:off x="7822968" y="877068"/>
            <a:ext cx="3809924"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45" name="Oval 44">
            <a:extLst>
              <a:ext uri="{FF2B5EF4-FFF2-40B4-BE49-F238E27FC236}">
                <a16:creationId xmlns:a16="http://schemas.microsoft.com/office/drawing/2014/main" id="{C7EDD992-BED5-4D42-B513-22725CC90F5C}"/>
              </a:ext>
            </a:extLst>
          </p:cNvPr>
          <p:cNvSpPr>
            <a:spLocks/>
          </p:cNvSpPr>
          <p:nvPr/>
        </p:nvSpPr>
        <p:spPr bwMode="gray">
          <a:xfrm>
            <a:off x="8077784" y="1133610"/>
            <a:ext cx="3297107"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46" name="Title 1">
            <a:extLst>
              <a:ext uri="{FF2B5EF4-FFF2-40B4-BE49-F238E27FC236}">
                <a16:creationId xmlns:a16="http://schemas.microsoft.com/office/drawing/2014/main" id="{33FFF5BC-0095-4FCC-BD08-5DC2DEBD019E}"/>
              </a:ext>
            </a:extLst>
          </p:cNvPr>
          <p:cNvSpPr txBox="1">
            <a:spLocks/>
          </p:cNvSpPr>
          <p:nvPr/>
        </p:nvSpPr>
        <p:spPr bwMode="gray">
          <a:xfrm>
            <a:off x="8455032" y="2608535"/>
            <a:ext cx="2542613" cy="1385286"/>
          </a:xfrm>
          <a:prstGeom prst="rect">
            <a:avLst/>
          </a:prstGeom>
          <a:noFill/>
        </p:spPr>
        <p:txBody>
          <a:bodyPr vert="horz" lIns="71963" tIns="71963" rIns="71963" bIns="71963"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latin typeface="EYInterstate Light" panose="02000506000000020004" pitchFamily="2" charset="0"/>
              </a:rPr>
              <a:t>Appendix</a:t>
            </a:r>
          </a:p>
        </p:txBody>
      </p:sp>
      <p:sp>
        <p:nvSpPr>
          <p:cNvPr id="47" name="Oval 46">
            <a:extLst>
              <a:ext uri="{FF2B5EF4-FFF2-40B4-BE49-F238E27FC236}">
                <a16:creationId xmlns:a16="http://schemas.microsoft.com/office/drawing/2014/main" id="{D325D1E0-05BC-49DD-A55F-F8C15D69E16F}"/>
              </a:ext>
            </a:extLst>
          </p:cNvPr>
          <p:cNvSpPr/>
          <p:nvPr userDrawn="1"/>
        </p:nvSpPr>
        <p:spPr bwMode="gray">
          <a:xfrm>
            <a:off x="7819842" y="875536"/>
            <a:ext cx="3812988"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86" name="Grey Block Arc">
            <a:extLst>
              <a:ext uri="{FF2B5EF4-FFF2-40B4-BE49-F238E27FC236}">
                <a16:creationId xmlns:a16="http://schemas.microsoft.com/office/drawing/2014/main" id="{8972C6E3-56BE-4FB4-BA60-9C40BB088214}"/>
              </a:ext>
            </a:extLst>
          </p:cNvPr>
          <p:cNvSpPr>
            <a:spLocks noChangeAspect="1"/>
          </p:cNvSpPr>
          <p:nvPr userDrawn="1"/>
        </p:nvSpPr>
        <p:spPr bwMode="gray">
          <a:xfrm flipH="1">
            <a:off x="7617803" y="671796"/>
            <a:ext cx="4220254"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53" name="Freeform 62">
            <a:extLst>
              <a:ext uri="{FF2B5EF4-FFF2-40B4-BE49-F238E27FC236}">
                <a16:creationId xmlns:a16="http://schemas.microsoft.com/office/drawing/2014/main" id="{45AA04FB-7C6A-4577-A5F8-E2A74DEA4FF6}"/>
              </a:ext>
            </a:extLst>
          </p:cNvPr>
          <p:cNvSpPr>
            <a:spLocks noChangeAspect="1" noEditPoints="1"/>
          </p:cNvSpPr>
          <p:nvPr userDrawn="1"/>
        </p:nvSpPr>
        <p:spPr bwMode="gray">
          <a:xfrm>
            <a:off x="9168619" y="1830521"/>
            <a:ext cx="1115438" cy="1066720"/>
          </a:xfrm>
          <a:custGeom>
            <a:avLst/>
            <a:gdLst>
              <a:gd name="T0" fmla="*/ 2147483647 w 4982"/>
              <a:gd name="T1" fmla="*/ 2147483647 h 4763"/>
              <a:gd name="T2" fmla="*/ 2147483647 w 4982"/>
              <a:gd name="T3" fmla="*/ 2147483647 h 4763"/>
              <a:gd name="T4" fmla="*/ 2147483647 w 4982"/>
              <a:gd name="T5" fmla="*/ 2147483647 h 4763"/>
              <a:gd name="T6" fmla="*/ 2147483647 w 4982"/>
              <a:gd name="T7" fmla="*/ 2147483647 h 4763"/>
              <a:gd name="T8" fmla="*/ 2147483647 w 4982"/>
              <a:gd name="T9" fmla="*/ 2147483647 h 4763"/>
              <a:gd name="T10" fmla="*/ 2147483647 w 4982"/>
              <a:gd name="T11" fmla="*/ 2147483647 h 4763"/>
              <a:gd name="T12" fmla="*/ 2147483647 w 4982"/>
              <a:gd name="T13" fmla="*/ 2147483647 h 4763"/>
              <a:gd name="T14" fmla="*/ 2147483647 w 4982"/>
              <a:gd name="T15" fmla="*/ 2147483647 h 4763"/>
              <a:gd name="T16" fmla="*/ 2147483647 w 4982"/>
              <a:gd name="T17" fmla="*/ 2147483647 h 4763"/>
              <a:gd name="T18" fmla="*/ 2147483647 w 4982"/>
              <a:gd name="T19" fmla="*/ 2147483647 h 4763"/>
              <a:gd name="T20" fmla="*/ 2147483647 w 4982"/>
              <a:gd name="T21" fmla="*/ 2147483647 h 4763"/>
              <a:gd name="T22" fmla="*/ 2147483647 w 4982"/>
              <a:gd name="T23" fmla="*/ 2147483647 h 4763"/>
              <a:gd name="T24" fmla="*/ 2147483647 w 4982"/>
              <a:gd name="T25" fmla="*/ 2147483647 h 4763"/>
              <a:gd name="T26" fmla="*/ 2147483647 w 4982"/>
              <a:gd name="T27" fmla="*/ 2147483647 h 4763"/>
              <a:gd name="T28" fmla="*/ 2147483647 w 4982"/>
              <a:gd name="T29" fmla="*/ 2147483647 h 4763"/>
              <a:gd name="T30" fmla="*/ 2147483647 w 4982"/>
              <a:gd name="T31" fmla="*/ 2147483647 h 4763"/>
              <a:gd name="T32" fmla="*/ 2147483647 w 4982"/>
              <a:gd name="T33" fmla="*/ 2147483647 h 4763"/>
              <a:gd name="T34" fmla="*/ 0 w 4982"/>
              <a:gd name="T35" fmla="*/ 2147483647 h 4763"/>
              <a:gd name="T36" fmla="*/ 2147483647 w 4982"/>
              <a:gd name="T37" fmla="*/ 2147483647 h 4763"/>
              <a:gd name="T38" fmla="*/ 2147483647 w 4982"/>
              <a:gd name="T39" fmla="*/ 2147483647 h 4763"/>
              <a:gd name="T40" fmla="*/ 2147483647 w 4982"/>
              <a:gd name="T41" fmla="*/ 2147483647 h 4763"/>
              <a:gd name="T42" fmla="*/ 2147483647 w 4982"/>
              <a:gd name="T43" fmla="*/ 0 h 4763"/>
              <a:gd name="T44" fmla="*/ 2147483647 w 4982"/>
              <a:gd name="T45" fmla="*/ 2147483647 h 4763"/>
              <a:gd name="T46" fmla="*/ 2147483647 w 4982"/>
              <a:gd name="T47" fmla="*/ 2147483647 h 4763"/>
              <a:gd name="T48" fmla="*/ 2147483647 w 4982"/>
              <a:gd name="T49" fmla="*/ 2147483647 h 4763"/>
              <a:gd name="T50" fmla="*/ 2147483647 w 4982"/>
              <a:gd name="T51" fmla="*/ 2147483647 h 4763"/>
              <a:gd name="T52" fmla="*/ 2147483647 w 4982"/>
              <a:gd name="T53" fmla="*/ 2147483647 h 4763"/>
              <a:gd name="T54" fmla="*/ 2147483647 w 4982"/>
              <a:gd name="T55" fmla="*/ 2147483647 h 4763"/>
              <a:gd name="T56" fmla="*/ 2147483647 w 4982"/>
              <a:gd name="T57" fmla="*/ 2147483647 h 4763"/>
              <a:gd name="T58" fmla="*/ 2147483647 w 4982"/>
              <a:gd name="T59" fmla="*/ 2147483647 h 4763"/>
              <a:gd name="T60" fmla="*/ 2147483647 w 4982"/>
              <a:gd name="T61" fmla="*/ 2147483647 h 4763"/>
              <a:gd name="T62" fmla="*/ 2147483647 w 4982"/>
              <a:gd name="T63" fmla="*/ 2147483647 h 47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82"/>
              <a:gd name="T97" fmla="*/ 0 h 4763"/>
              <a:gd name="T98" fmla="*/ 4982 w 4982"/>
              <a:gd name="T99" fmla="*/ 4763 h 47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82" h="4763">
                <a:moveTo>
                  <a:pt x="2075" y="1092"/>
                </a:moveTo>
                <a:lnTo>
                  <a:pt x="2075" y="616"/>
                </a:lnTo>
                <a:lnTo>
                  <a:pt x="2701" y="616"/>
                </a:lnTo>
                <a:lnTo>
                  <a:pt x="2701" y="1097"/>
                </a:lnTo>
                <a:lnTo>
                  <a:pt x="2695" y="1097"/>
                </a:lnTo>
                <a:lnTo>
                  <a:pt x="2695" y="1092"/>
                </a:lnTo>
                <a:lnTo>
                  <a:pt x="2603" y="1092"/>
                </a:lnTo>
                <a:lnTo>
                  <a:pt x="2603" y="713"/>
                </a:lnTo>
                <a:lnTo>
                  <a:pt x="2173" y="713"/>
                </a:lnTo>
                <a:lnTo>
                  <a:pt x="2173" y="1092"/>
                </a:lnTo>
                <a:lnTo>
                  <a:pt x="2075" y="1092"/>
                </a:lnTo>
                <a:close/>
                <a:moveTo>
                  <a:pt x="2075" y="1452"/>
                </a:moveTo>
                <a:lnTo>
                  <a:pt x="490" y="1452"/>
                </a:lnTo>
                <a:lnTo>
                  <a:pt x="269" y="1684"/>
                </a:lnTo>
                <a:lnTo>
                  <a:pt x="490" y="1915"/>
                </a:lnTo>
                <a:lnTo>
                  <a:pt x="2075" y="1915"/>
                </a:lnTo>
                <a:lnTo>
                  <a:pt x="2075" y="1452"/>
                </a:lnTo>
                <a:close/>
                <a:moveTo>
                  <a:pt x="2701" y="1873"/>
                </a:moveTo>
                <a:lnTo>
                  <a:pt x="4361" y="979"/>
                </a:lnTo>
                <a:lnTo>
                  <a:pt x="4700" y="318"/>
                </a:lnTo>
                <a:lnTo>
                  <a:pt x="4333" y="215"/>
                </a:lnTo>
                <a:lnTo>
                  <a:pt x="2701" y="1409"/>
                </a:lnTo>
                <a:lnTo>
                  <a:pt x="2701" y="1873"/>
                </a:lnTo>
                <a:close/>
                <a:moveTo>
                  <a:pt x="2075" y="2393"/>
                </a:moveTo>
                <a:lnTo>
                  <a:pt x="1200" y="2864"/>
                </a:lnTo>
                <a:lnTo>
                  <a:pt x="921" y="2688"/>
                </a:lnTo>
                <a:lnTo>
                  <a:pt x="1129" y="2352"/>
                </a:lnTo>
                <a:lnTo>
                  <a:pt x="1330" y="2208"/>
                </a:lnTo>
                <a:lnTo>
                  <a:pt x="1497" y="2208"/>
                </a:lnTo>
                <a:lnTo>
                  <a:pt x="1202" y="2419"/>
                </a:lnTo>
                <a:lnTo>
                  <a:pt x="1055" y="2658"/>
                </a:lnTo>
                <a:lnTo>
                  <a:pt x="1203" y="2750"/>
                </a:lnTo>
                <a:lnTo>
                  <a:pt x="2075" y="2282"/>
                </a:lnTo>
                <a:lnTo>
                  <a:pt x="2075" y="2110"/>
                </a:lnTo>
                <a:lnTo>
                  <a:pt x="406" y="2110"/>
                </a:lnTo>
                <a:lnTo>
                  <a:pt x="0" y="1684"/>
                </a:lnTo>
                <a:lnTo>
                  <a:pt x="406" y="1257"/>
                </a:lnTo>
                <a:lnTo>
                  <a:pt x="2075" y="1257"/>
                </a:lnTo>
                <a:lnTo>
                  <a:pt x="2075" y="1224"/>
                </a:lnTo>
                <a:lnTo>
                  <a:pt x="2075" y="1190"/>
                </a:lnTo>
                <a:lnTo>
                  <a:pt x="2075" y="1181"/>
                </a:lnTo>
                <a:lnTo>
                  <a:pt x="2701" y="1181"/>
                </a:lnTo>
                <a:lnTo>
                  <a:pt x="2701" y="1183"/>
                </a:lnTo>
                <a:lnTo>
                  <a:pt x="4294" y="0"/>
                </a:lnTo>
                <a:lnTo>
                  <a:pt x="4982" y="195"/>
                </a:lnTo>
                <a:lnTo>
                  <a:pt x="4506" y="1122"/>
                </a:lnTo>
                <a:lnTo>
                  <a:pt x="2701" y="2087"/>
                </a:lnTo>
                <a:lnTo>
                  <a:pt x="2701" y="4763"/>
                </a:lnTo>
                <a:lnTo>
                  <a:pt x="2603" y="4763"/>
                </a:lnTo>
                <a:lnTo>
                  <a:pt x="2603" y="1658"/>
                </a:lnTo>
                <a:lnTo>
                  <a:pt x="2173" y="2059"/>
                </a:lnTo>
                <a:lnTo>
                  <a:pt x="2173" y="4763"/>
                </a:lnTo>
                <a:lnTo>
                  <a:pt x="2075" y="4763"/>
                </a:lnTo>
                <a:lnTo>
                  <a:pt x="2075" y="2393"/>
                </a:lnTo>
                <a:close/>
                <a:moveTo>
                  <a:pt x="4424" y="1267"/>
                </a:moveTo>
                <a:lnTo>
                  <a:pt x="4526" y="1267"/>
                </a:lnTo>
                <a:lnTo>
                  <a:pt x="4886" y="1645"/>
                </a:lnTo>
                <a:lnTo>
                  <a:pt x="4526" y="2022"/>
                </a:lnTo>
                <a:lnTo>
                  <a:pt x="3021" y="2022"/>
                </a:lnTo>
                <a:lnTo>
                  <a:pt x="3202" y="1925"/>
                </a:lnTo>
                <a:lnTo>
                  <a:pt x="4485" y="1925"/>
                </a:lnTo>
                <a:lnTo>
                  <a:pt x="4752" y="1645"/>
                </a:lnTo>
                <a:lnTo>
                  <a:pt x="4485" y="1364"/>
                </a:lnTo>
                <a:lnTo>
                  <a:pt x="4243" y="1364"/>
                </a:lnTo>
                <a:lnTo>
                  <a:pt x="4424" y="1267"/>
                </a:lnTo>
                <a:close/>
              </a:path>
            </a:pathLst>
          </a:custGeom>
          <a:solidFill>
            <a:schemeClr val="bg2"/>
          </a:solidFill>
          <a:ln w="9525">
            <a:noFill/>
            <a:round/>
            <a:headEnd/>
            <a:tailEnd/>
          </a:ln>
        </p:spPr>
        <p:txBody>
          <a:bodyPr/>
          <a:lstStyle/>
          <a:p>
            <a:pPr algn="ctr" fontAlgn="base">
              <a:spcBef>
                <a:spcPct val="0"/>
              </a:spcBef>
              <a:spcAft>
                <a:spcPct val="0"/>
              </a:spcAft>
            </a:pPr>
            <a:endParaRPr lang="en-US" sz="1938">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7384674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 EY Contacts">
    <p:spTree>
      <p:nvGrpSpPr>
        <p:cNvPr id="1" name=""/>
        <p:cNvGrpSpPr/>
        <p:nvPr/>
      </p:nvGrpSpPr>
      <p:grpSpPr>
        <a:xfrm>
          <a:off x="0" y="0"/>
          <a:ext cx="0" cy="0"/>
          <a:chOff x="0" y="0"/>
          <a:chExt cx="0" cy="0"/>
        </a:xfrm>
      </p:grpSpPr>
      <p:sp>
        <p:nvSpPr>
          <p:cNvPr id="62" name="Freeform 5">
            <a:extLst>
              <a:ext uri="{FF2B5EF4-FFF2-40B4-BE49-F238E27FC236}">
                <a16:creationId xmlns:a16="http://schemas.microsoft.com/office/drawing/2014/main" id="{21A09CAA-4EAF-44FC-94AA-A6E1FD8EEC2B}"/>
              </a:ext>
            </a:extLst>
          </p:cNvPr>
          <p:cNvSpPr>
            <a:spLocks/>
          </p:cNvSpPr>
          <p:nvPr userDrawn="1"/>
        </p:nvSpPr>
        <p:spPr bwMode="gray">
          <a:xfrm>
            <a:off x="-54818" y="671796"/>
            <a:ext cx="11465271" cy="5335714"/>
          </a:xfrm>
          <a:custGeom>
            <a:avLst/>
            <a:gdLst>
              <a:gd name="connsiteX0" fmla="*/ 0 w 10000"/>
              <a:gd name="connsiteY0" fmla="*/ 0 h 10000"/>
              <a:gd name="connsiteX1" fmla="*/ 0 w 10000"/>
              <a:gd name="connsiteY1" fmla="*/ 10000 h 10000"/>
              <a:gd name="connsiteX2" fmla="*/ 9884 w 10000"/>
              <a:gd name="connsiteY2" fmla="*/ 9837 h 10000"/>
              <a:gd name="connsiteX3" fmla="*/ 10000 w 10000"/>
              <a:gd name="connsiteY3" fmla="*/ 0 h 10000"/>
              <a:gd name="connsiteX4" fmla="*/ 0 w 10000"/>
              <a:gd name="connsiteY4" fmla="*/ 0 h 10000"/>
              <a:gd name="connsiteX0" fmla="*/ 0 w 10069"/>
              <a:gd name="connsiteY0" fmla="*/ 0 h 10000"/>
              <a:gd name="connsiteX1" fmla="*/ 0 w 10069"/>
              <a:gd name="connsiteY1" fmla="*/ 10000 h 10000"/>
              <a:gd name="connsiteX2" fmla="*/ 10063 w 10069"/>
              <a:gd name="connsiteY2" fmla="*/ 9818 h 10000"/>
              <a:gd name="connsiteX3" fmla="*/ 10000 w 10069"/>
              <a:gd name="connsiteY3" fmla="*/ 0 h 10000"/>
              <a:gd name="connsiteX4" fmla="*/ 0 w 10069"/>
              <a:gd name="connsiteY4" fmla="*/ 0 h 10000"/>
              <a:gd name="connsiteX0" fmla="*/ 0 w 10044"/>
              <a:gd name="connsiteY0" fmla="*/ 0 h 10000"/>
              <a:gd name="connsiteX1" fmla="*/ 0 w 10044"/>
              <a:gd name="connsiteY1" fmla="*/ 10000 h 10000"/>
              <a:gd name="connsiteX2" fmla="*/ 10036 w 10044"/>
              <a:gd name="connsiteY2" fmla="*/ 9818 h 10000"/>
              <a:gd name="connsiteX3" fmla="*/ 10000 w 10044"/>
              <a:gd name="connsiteY3" fmla="*/ 0 h 10000"/>
              <a:gd name="connsiteX4" fmla="*/ 0 w 10044"/>
              <a:gd name="connsiteY4" fmla="*/ 0 h 10000"/>
              <a:gd name="connsiteX0" fmla="*/ 0 w 10027"/>
              <a:gd name="connsiteY0" fmla="*/ 0 h 10000"/>
              <a:gd name="connsiteX1" fmla="*/ 0 w 10027"/>
              <a:gd name="connsiteY1" fmla="*/ 10000 h 10000"/>
              <a:gd name="connsiteX2" fmla="*/ 10018 w 10027"/>
              <a:gd name="connsiteY2" fmla="*/ 9818 h 10000"/>
              <a:gd name="connsiteX3" fmla="*/ 10000 w 10027"/>
              <a:gd name="connsiteY3" fmla="*/ 0 h 10000"/>
              <a:gd name="connsiteX4" fmla="*/ 0 w 10027"/>
              <a:gd name="connsiteY4" fmla="*/ 0 h 10000"/>
              <a:gd name="connsiteX0" fmla="*/ 0 w 10019"/>
              <a:gd name="connsiteY0" fmla="*/ 0 h 10000"/>
              <a:gd name="connsiteX1" fmla="*/ 0 w 10019"/>
              <a:gd name="connsiteY1" fmla="*/ 10000 h 10000"/>
              <a:gd name="connsiteX2" fmla="*/ 10009 w 10019"/>
              <a:gd name="connsiteY2" fmla="*/ 9913 h 10000"/>
              <a:gd name="connsiteX3" fmla="*/ 10000 w 10019"/>
              <a:gd name="connsiteY3" fmla="*/ 0 h 10000"/>
              <a:gd name="connsiteX4" fmla="*/ 0 w 10019"/>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9" h="10000">
                <a:moveTo>
                  <a:pt x="0" y="0"/>
                </a:moveTo>
                <a:lnTo>
                  <a:pt x="0" y="10000"/>
                </a:lnTo>
                <a:lnTo>
                  <a:pt x="10009" y="9913"/>
                </a:lnTo>
                <a:cubicBezTo>
                  <a:pt x="10048" y="6634"/>
                  <a:pt x="9961" y="3279"/>
                  <a:pt x="10000" y="0"/>
                </a:cubicBezTo>
                <a:lnTo>
                  <a:pt x="0" y="0"/>
                </a:lnTo>
                <a:close/>
              </a:path>
            </a:pathLst>
          </a:custGeom>
          <a:blipFill>
            <a:blip r:embed="rId2"/>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latin typeface="EYInterstate Light" panose="02000506000000020004" pitchFamily="2" charset="0"/>
            </a:endParaRPr>
          </a:p>
        </p:txBody>
      </p:sp>
      <p:sp>
        <p:nvSpPr>
          <p:cNvPr id="63" name="Rectangle 62">
            <a:extLst>
              <a:ext uri="{FF2B5EF4-FFF2-40B4-BE49-F238E27FC236}">
                <a16:creationId xmlns:a16="http://schemas.microsoft.com/office/drawing/2014/main" id="{19D1B145-4803-499E-ABF8-325C8BDE0DEF}"/>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64" name="Rectangle 63">
            <a:extLst>
              <a:ext uri="{FF2B5EF4-FFF2-40B4-BE49-F238E27FC236}">
                <a16:creationId xmlns:a16="http://schemas.microsoft.com/office/drawing/2014/main" id="{FC74DA3A-2DD7-43C7-B8E2-5D878AA854F1}"/>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65" name="Group 64">
            <a:extLst>
              <a:ext uri="{FF2B5EF4-FFF2-40B4-BE49-F238E27FC236}">
                <a16:creationId xmlns:a16="http://schemas.microsoft.com/office/drawing/2014/main" id="{1F71A100-1035-47F3-AA64-D1F6D3B6465E}"/>
              </a:ext>
            </a:extLst>
          </p:cNvPr>
          <p:cNvGrpSpPr/>
          <p:nvPr userDrawn="1"/>
        </p:nvGrpSpPr>
        <p:grpSpPr>
          <a:xfrm>
            <a:off x="7617803" y="671796"/>
            <a:ext cx="4220254" cy="4222452"/>
            <a:chOff x="7769251" y="671796"/>
            <a:chExt cx="4222452" cy="4222452"/>
          </a:xfrm>
        </p:grpSpPr>
        <p:sp>
          <p:nvSpPr>
            <p:cNvPr id="66" name="Rectangle 65">
              <a:extLst>
                <a:ext uri="{FF2B5EF4-FFF2-40B4-BE49-F238E27FC236}">
                  <a16:creationId xmlns:a16="http://schemas.microsoft.com/office/drawing/2014/main" id="{777E4ABC-C555-4FD3-83B3-1D81A046E61B}"/>
                </a:ext>
              </a:extLst>
            </p:cNvPr>
            <p:cNvSpPr/>
            <p:nvPr userDrawn="1"/>
          </p:nvSpPr>
          <p:spPr>
            <a:xfrm>
              <a:off x="9876455" y="673366"/>
              <a:ext cx="1909976" cy="422088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67" name="Group 66">
              <a:extLst>
                <a:ext uri="{FF2B5EF4-FFF2-40B4-BE49-F238E27FC236}">
                  <a16:creationId xmlns:a16="http://schemas.microsoft.com/office/drawing/2014/main" id="{1D6AECAB-1DB5-4D91-B77E-223952BCC044}"/>
                </a:ext>
              </a:extLst>
            </p:cNvPr>
            <p:cNvGrpSpPr/>
            <p:nvPr userDrawn="1"/>
          </p:nvGrpSpPr>
          <p:grpSpPr>
            <a:xfrm>
              <a:off x="7769251" y="671796"/>
              <a:ext cx="4222452" cy="4222452"/>
              <a:chOff x="7769251" y="1027280"/>
              <a:chExt cx="4222452" cy="4222452"/>
            </a:xfrm>
          </p:grpSpPr>
          <p:sp>
            <p:nvSpPr>
              <p:cNvPr id="68" name="Oval 67">
                <a:extLst>
                  <a:ext uri="{FF2B5EF4-FFF2-40B4-BE49-F238E27FC236}">
                    <a16:creationId xmlns:a16="http://schemas.microsoft.com/office/drawing/2014/main" id="{596A0D9E-54A8-4425-BE76-AF50C056BFD6}"/>
                  </a:ext>
                </a:extLst>
              </p:cNvPr>
              <p:cNvSpPr>
                <a:spLocks noChangeAspect="1"/>
              </p:cNvSpPr>
              <p:nvPr userDrawn="1"/>
            </p:nvSpPr>
            <p:spPr bwMode="gray">
              <a:xfrm>
                <a:off x="7974523"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grpSp>
            <p:nvGrpSpPr>
              <p:cNvPr id="69" name="Group 68">
                <a:extLst>
                  <a:ext uri="{FF2B5EF4-FFF2-40B4-BE49-F238E27FC236}">
                    <a16:creationId xmlns:a16="http://schemas.microsoft.com/office/drawing/2014/main" id="{12DB3A48-9BF3-49E3-94C8-D023DBEB4B40}"/>
                  </a:ext>
                </a:extLst>
              </p:cNvPr>
              <p:cNvGrpSpPr/>
              <p:nvPr userDrawn="1"/>
            </p:nvGrpSpPr>
            <p:grpSpPr bwMode="gray">
              <a:xfrm>
                <a:off x="8229471" y="1489094"/>
                <a:ext cx="3298824" cy="3298824"/>
                <a:chOff x="8229471" y="1781121"/>
                <a:chExt cx="3298824" cy="3298824"/>
              </a:xfrm>
            </p:grpSpPr>
            <p:sp>
              <p:nvSpPr>
                <p:cNvPr id="87" name="Oval 86">
                  <a:extLst>
                    <a:ext uri="{FF2B5EF4-FFF2-40B4-BE49-F238E27FC236}">
                      <a16:creationId xmlns:a16="http://schemas.microsoft.com/office/drawing/2014/main" id="{E254FCC4-1338-4E54-B0AE-81B1B060648C}"/>
                    </a:ext>
                  </a:extLst>
                </p:cNvPr>
                <p:cNvSpPr>
                  <a:spLocks/>
                </p:cNvSpPr>
                <p:nvPr/>
              </p:nvSpPr>
              <p:spPr bwMode="gray">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99">
                    <a:solidFill>
                      <a:schemeClr val="tx1"/>
                    </a:solidFill>
                    <a:latin typeface="EYInterstate Light" panose="02000506000000020004" pitchFamily="2" charset="0"/>
                  </a:endParaRPr>
                </a:p>
              </p:txBody>
            </p:sp>
            <p:sp>
              <p:nvSpPr>
                <p:cNvPr id="88" name="Title 1">
                  <a:extLst>
                    <a:ext uri="{FF2B5EF4-FFF2-40B4-BE49-F238E27FC236}">
                      <a16:creationId xmlns:a16="http://schemas.microsoft.com/office/drawing/2014/main" id="{782F6CAA-CC02-4AD6-8B6F-05AC0092A690}"/>
                    </a:ext>
                  </a:extLst>
                </p:cNvPr>
                <p:cNvSpPr txBox="1">
                  <a:spLocks/>
                </p:cNvSpPr>
                <p:nvPr/>
              </p:nvSpPr>
              <p:spPr bwMode="gray">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sz="2399"/>
                    <a:t>EY contacts</a:t>
                  </a:r>
                </a:p>
              </p:txBody>
            </p:sp>
          </p:grpSp>
          <p:sp>
            <p:nvSpPr>
              <p:cNvPr id="70" name="Oval 69">
                <a:extLst>
                  <a:ext uri="{FF2B5EF4-FFF2-40B4-BE49-F238E27FC236}">
                    <a16:creationId xmlns:a16="http://schemas.microsoft.com/office/drawing/2014/main" id="{EEB54651-FDA9-4BE4-BD79-D2E04EA56800}"/>
                  </a:ext>
                </a:extLst>
              </p:cNvPr>
              <p:cNvSpPr/>
              <p:nvPr userDrawn="1"/>
            </p:nvSpPr>
            <p:spPr bwMode="gray">
              <a:xfrm>
                <a:off x="7971395"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sp>
            <p:nvSpPr>
              <p:cNvPr id="71" name="Grey Block Arc">
                <a:extLst>
                  <a:ext uri="{FF2B5EF4-FFF2-40B4-BE49-F238E27FC236}">
                    <a16:creationId xmlns:a16="http://schemas.microsoft.com/office/drawing/2014/main" id="{EC16B2DF-9AB3-4F55-A871-F2470D9AF87C}"/>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199">
                  <a:solidFill>
                    <a:schemeClr val="bg2"/>
                  </a:solidFill>
                  <a:latin typeface="EYInterstate Light" panose="02000506000000020004" pitchFamily="2" charset="0"/>
                </a:endParaRPr>
              </a:p>
            </p:txBody>
          </p:sp>
        </p:grpSp>
      </p:grpSp>
      <p:grpSp>
        <p:nvGrpSpPr>
          <p:cNvPr id="73" name="Group 44">
            <a:extLst>
              <a:ext uri="{FF2B5EF4-FFF2-40B4-BE49-F238E27FC236}">
                <a16:creationId xmlns:a16="http://schemas.microsoft.com/office/drawing/2014/main" id="{0048B69E-0EF7-40C5-9B28-E8D1541AC85A}"/>
              </a:ext>
            </a:extLst>
          </p:cNvPr>
          <p:cNvGrpSpPr>
            <a:grpSpLocks noChangeAspect="1"/>
          </p:cNvGrpSpPr>
          <p:nvPr userDrawn="1"/>
        </p:nvGrpSpPr>
        <p:grpSpPr bwMode="gray">
          <a:xfrm>
            <a:off x="9195025" y="1812381"/>
            <a:ext cx="1065811" cy="1066720"/>
            <a:chOff x="-2755" y="46"/>
            <a:chExt cx="3022" cy="3023"/>
          </a:xfrm>
          <a:solidFill>
            <a:schemeClr val="bg2"/>
          </a:solidFill>
        </p:grpSpPr>
        <p:sp>
          <p:nvSpPr>
            <p:cNvPr id="74" name="Freeform 45">
              <a:extLst>
                <a:ext uri="{FF2B5EF4-FFF2-40B4-BE49-F238E27FC236}">
                  <a16:creationId xmlns:a16="http://schemas.microsoft.com/office/drawing/2014/main" id="{BBFBB713-4B4A-405C-B6F4-2486E2320B36}"/>
                </a:ext>
              </a:extLst>
            </p:cNvPr>
            <p:cNvSpPr>
              <a:spLocks noEditPoints="1"/>
            </p:cNvSpPr>
            <p:nvPr/>
          </p:nvSpPr>
          <p:spPr bwMode="gray">
            <a:xfrm>
              <a:off x="-2755" y="46"/>
              <a:ext cx="3022" cy="3023"/>
            </a:xfrm>
            <a:custGeom>
              <a:avLst/>
              <a:gdLst>
                <a:gd name="T0" fmla="*/ 1434 w 1638"/>
                <a:gd name="T1" fmla="*/ 614 h 1638"/>
                <a:gd name="T2" fmla="*/ 1495 w 1638"/>
                <a:gd name="T3" fmla="*/ 433 h 1638"/>
                <a:gd name="T4" fmla="*/ 1495 w 1638"/>
                <a:gd name="T5" fmla="*/ 336 h 1638"/>
                <a:gd name="T6" fmla="*/ 1302 w 1638"/>
                <a:gd name="T7" fmla="*/ 143 h 1638"/>
                <a:gd name="T8" fmla="*/ 1109 w 1638"/>
                <a:gd name="T9" fmla="*/ 239 h 1638"/>
                <a:gd name="T10" fmla="*/ 1024 w 1638"/>
                <a:gd name="T11" fmla="*/ 68 h 1638"/>
                <a:gd name="T12" fmla="*/ 683 w 1638"/>
                <a:gd name="T13" fmla="*/ 0 h 1638"/>
                <a:gd name="T14" fmla="*/ 614 w 1638"/>
                <a:gd name="T15" fmla="*/ 204 h 1638"/>
                <a:gd name="T16" fmla="*/ 433 w 1638"/>
                <a:gd name="T17" fmla="*/ 143 h 1638"/>
                <a:gd name="T18" fmla="*/ 336 w 1638"/>
                <a:gd name="T19" fmla="*/ 143 h 1638"/>
                <a:gd name="T20" fmla="*/ 143 w 1638"/>
                <a:gd name="T21" fmla="*/ 433 h 1638"/>
                <a:gd name="T22" fmla="*/ 204 w 1638"/>
                <a:gd name="T23" fmla="*/ 614 h 1638"/>
                <a:gd name="T24" fmla="*/ 0 w 1638"/>
                <a:gd name="T25" fmla="*/ 683 h 1638"/>
                <a:gd name="T26" fmla="*/ 68 w 1638"/>
                <a:gd name="T27" fmla="*/ 1024 h 1638"/>
                <a:gd name="T28" fmla="*/ 239 w 1638"/>
                <a:gd name="T29" fmla="*/ 1109 h 1638"/>
                <a:gd name="T30" fmla="*/ 143 w 1638"/>
                <a:gd name="T31" fmla="*/ 1205 h 1638"/>
                <a:gd name="T32" fmla="*/ 336 w 1638"/>
                <a:gd name="T33" fmla="*/ 1495 h 1638"/>
                <a:gd name="T34" fmla="*/ 433 w 1638"/>
                <a:gd name="T35" fmla="*/ 1495 h 1638"/>
                <a:gd name="T36" fmla="*/ 614 w 1638"/>
                <a:gd name="T37" fmla="*/ 1434 h 1638"/>
                <a:gd name="T38" fmla="*/ 683 w 1638"/>
                <a:gd name="T39" fmla="*/ 1638 h 1638"/>
                <a:gd name="T40" fmla="*/ 1024 w 1638"/>
                <a:gd name="T41" fmla="*/ 1570 h 1638"/>
                <a:gd name="T42" fmla="*/ 1109 w 1638"/>
                <a:gd name="T43" fmla="*/ 1399 h 1638"/>
                <a:gd name="T44" fmla="*/ 1205 w 1638"/>
                <a:gd name="T45" fmla="*/ 1495 h 1638"/>
                <a:gd name="T46" fmla="*/ 1495 w 1638"/>
                <a:gd name="T47" fmla="*/ 1302 h 1638"/>
                <a:gd name="T48" fmla="*/ 1399 w 1638"/>
                <a:gd name="T49" fmla="*/ 1109 h 1638"/>
                <a:gd name="T50" fmla="*/ 1570 w 1638"/>
                <a:gd name="T51" fmla="*/ 1024 h 1638"/>
                <a:gd name="T52" fmla="*/ 1638 w 1638"/>
                <a:gd name="T53" fmla="*/ 683 h 1638"/>
                <a:gd name="T54" fmla="*/ 1409 w 1638"/>
                <a:gd name="T55" fmla="*/ 956 h 1638"/>
                <a:gd name="T56" fmla="*/ 1327 w 1638"/>
                <a:gd name="T57" fmla="*/ 1099 h 1638"/>
                <a:gd name="T58" fmla="*/ 1447 w 1638"/>
                <a:gd name="T59" fmla="*/ 1254 h 1638"/>
                <a:gd name="T60" fmla="*/ 1140 w 1638"/>
                <a:gd name="T61" fmla="*/ 1333 h 1638"/>
                <a:gd name="T62" fmla="*/ 980 w 1638"/>
                <a:gd name="T63" fmla="*/ 1376 h 1638"/>
                <a:gd name="T64" fmla="*/ 956 w 1638"/>
                <a:gd name="T65" fmla="*/ 1570 h 1638"/>
                <a:gd name="T66" fmla="*/ 683 w 1638"/>
                <a:gd name="T67" fmla="*/ 1409 h 1638"/>
                <a:gd name="T68" fmla="*/ 539 w 1638"/>
                <a:gd name="T69" fmla="*/ 1327 h 1638"/>
                <a:gd name="T70" fmla="*/ 498 w 1638"/>
                <a:gd name="T71" fmla="*/ 1333 h 1638"/>
                <a:gd name="T72" fmla="*/ 192 w 1638"/>
                <a:gd name="T73" fmla="*/ 1254 h 1638"/>
                <a:gd name="T74" fmla="*/ 311 w 1638"/>
                <a:gd name="T75" fmla="*/ 1099 h 1638"/>
                <a:gd name="T76" fmla="*/ 229 w 1638"/>
                <a:gd name="T77" fmla="*/ 956 h 1638"/>
                <a:gd name="T78" fmla="*/ 68 w 1638"/>
                <a:gd name="T79" fmla="*/ 683 h 1638"/>
                <a:gd name="T80" fmla="*/ 262 w 1638"/>
                <a:gd name="T81" fmla="*/ 658 h 1638"/>
                <a:gd name="T82" fmla="*/ 305 w 1638"/>
                <a:gd name="T83" fmla="*/ 498 h 1638"/>
                <a:gd name="T84" fmla="*/ 385 w 1638"/>
                <a:gd name="T85" fmla="*/ 192 h 1638"/>
                <a:gd name="T86" fmla="*/ 539 w 1638"/>
                <a:gd name="T87" fmla="*/ 311 h 1638"/>
                <a:gd name="T88" fmla="*/ 683 w 1638"/>
                <a:gd name="T89" fmla="*/ 229 h 1638"/>
                <a:gd name="T90" fmla="*/ 956 w 1638"/>
                <a:gd name="T91" fmla="*/ 68 h 1638"/>
                <a:gd name="T92" fmla="*/ 980 w 1638"/>
                <a:gd name="T93" fmla="*/ 262 h 1638"/>
                <a:gd name="T94" fmla="*/ 1140 w 1638"/>
                <a:gd name="T95" fmla="*/ 305 h 1638"/>
                <a:gd name="T96" fmla="*/ 1447 w 1638"/>
                <a:gd name="T97" fmla="*/ 385 h 1638"/>
                <a:gd name="T98" fmla="*/ 1327 w 1638"/>
                <a:gd name="T99" fmla="*/ 539 h 1638"/>
                <a:gd name="T100" fmla="*/ 1409 w 1638"/>
                <a:gd name="T101" fmla="*/ 683 h 1638"/>
                <a:gd name="T102" fmla="*/ 1570 w 1638"/>
                <a:gd name="T103" fmla="*/ 956 h 1638"/>
                <a:gd name="T104" fmla="*/ 1409 w 1638"/>
                <a:gd name="T105" fmla="*/ 95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8" h="1638">
                  <a:moveTo>
                    <a:pt x="1570" y="614"/>
                  </a:moveTo>
                  <a:cubicBezTo>
                    <a:pt x="1434" y="614"/>
                    <a:pt x="1434" y="614"/>
                    <a:pt x="1434" y="614"/>
                  </a:cubicBezTo>
                  <a:cubicBezTo>
                    <a:pt x="1425" y="585"/>
                    <a:pt x="1413" y="557"/>
                    <a:pt x="1399" y="529"/>
                  </a:cubicBezTo>
                  <a:cubicBezTo>
                    <a:pt x="1495" y="433"/>
                    <a:pt x="1495" y="433"/>
                    <a:pt x="1495" y="433"/>
                  </a:cubicBezTo>
                  <a:cubicBezTo>
                    <a:pt x="1495" y="433"/>
                    <a:pt x="1495" y="433"/>
                    <a:pt x="1495" y="433"/>
                  </a:cubicBezTo>
                  <a:cubicBezTo>
                    <a:pt x="1522" y="406"/>
                    <a:pt x="1522" y="363"/>
                    <a:pt x="1495" y="336"/>
                  </a:cubicBezTo>
                  <a:cubicBezTo>
                    <a:pt x="1302" y="143"/>
                    <a:pt x="1302" y="143"/>
                    <a:pt x="1302" y="143"/>
                  </a:cubicBezTo>
                  <a:cubicBezTo>
                    <a:pt x="1302" y="143"/>
                    <a:pt x="1302" y="143"/>
                    <a:pt x="1302" y="143"/>
                  </a:cubicBezTo>
                  <a:cubicBezTo>
                    <a:pt x="1275" y="117"/>
                    <a:pt x="1232" y="117"/>
                    <a:pt x="1205" y="143"/>
                  </a:cubicBezTo>
                  <a:cubicBezTo>
                    <a:pt x="1109" y="239"/>
                    <a:pt x="1109" y="239"/>
                    <a:pt x="1109" y="239"/>
                  </a:cubicBezTo>
                  <a:cubicBezTo>
                    <a:pt x="1082" y="226"/>
                    <a:pt x="1053" y="214"/>
                    <a:pt x="1024" y="204"/>
                  </a:cubicBezTo>
                  <a:cubicBezTo>
                    <a:pt x="1024" y="68"/>
                    <a:pt x="1024" y="68"/>
                    <a:pt x="1024" y="68"/>
                  </a:cubicBezTo>
                  <a:cubicBezTo>
                    <a:pt x="1024" y="31"/>
                    <a:pt x="993" y="0"/>
                    <a:pt x="956" y="0"/>
                  </a:cubicBezTo>
                  <a:cubicBezTo>
                    <a:pt x="683" y="0"/>
                    <a:pt x="683" y="0"/>
                    <a:pt x="683" y="0"/>
                  </a:cubicBezTo>
                  <a:cubicBezTo>
                    <a:pt x="645" y="0"/>
                    <a:pt x="614" y="31"/>
                    <a:pt x="614" y="68"/>
                  </a:cubicBezTo>
                  <a:cubicBezTo>
                    <a:pt x="614" y="204"/>
                    <a:pt x="614" y="204"/>
                    <a:pt x="614" y="204"/>
                  </a:cubicBezTo>
                  <a:cubicBezTo>
                    <a:pt x="585" y="214"/>
                    <a:pt x="557" y="226"/>
                    <a:pt x="529" y="239"/>
                  </a:cubicBezTo>
                  <a:cubicBezTo>
                    <a:pt x="433" y="143"/>
                    <a:pt x="433" y="143"/>
                    <a:pt x="433" y="143"/>
                  </a:cubicBezTo>
                  <a:cubicBezTo>
                    <a:pt x="433" y="143"/>
                    <a:pt x="433" y="143"/>
                    <a:pt x="433" y="143"/>
                  </a:cubicBezTo>
                  <a:cubicBezTo>
                    <a:pt x="406" y="117"/>
                    <a:pt x="363" y="117"/>
                    <a:pt x="336" y="143"/>
                  </a:cubicBezTo>
                  <a:cubicBezTo>
                    <a:pt x="143" y="336"/>
                    <a:pt x="143" y="336"/>
                    <a:pt x="143" y="336"/>
                  </a:cubicBezTo>
                  <a:cubicBezTo>
                    <a:pt x="117" y="363"/>
                    <a:pt x="117" y="406"/>
                    <a:pt x="143" y="433"/>
                  </a:cubicBezTo>
                  <a:cubicBezTo>
                    <a:pt x="239" y="529"/>
                    <a:pt x="239" y="529"/>
                    <a:pt x="239" y="529"/>
                  </a:cubicBezTo>
                  <a:cubicBezTo>
                    <a:pt x="226" y="557"/>
                    <a:pt x="214" y="585"/>
                    <a:pt x="204" y="614"/>
                  </a:cubicBezTo>
                  <a:cubicBezTo>
                    <a:pt x="68" y="614"/>
                    <a:pt x="68" y="614"/>
                    <a:pt x="68" y="614"/>
                  </a:cubicBezTo>
                  <a:cubicBezTo>
                    <a:pt x="31" y="614"/>
                    <a:pt x="0" y="645"/>
                    <a:pt x="0" y="683"/>
                  </a:cubicBezTo>
                  <a:cubicBezTo>
                    <a:pt x="0" y="956"/>
                    <a:pt x="0" y="956"/>
                    <a:pt x="0" y="956"/>
                  </a:cubicBezTo>
                  <a:cubicBezTo>
                    <a:pt x="0" y="993"/>
                    <a:pt x="31" y="1024"/>
                    <a:pt x="68" y="1024"/>
                  </a:cubicBezTo>
                  <a:cubicBezTo>
                    <a:pt x="204" y="1024"/>
                    <a:pt x="204" y="1024"/>
                    <a:pt x="204" y="1024"/>
                  </a:cubicBezTo>
                  <a:cubicBezTo>
                    <a:pt x="214" y="1053"/>
                    <a:pt x="226" y="1082"/>
                    <a:pt x="239" y="1109"/>
                  </a:cubicBezTo>
                  <a:cubicBezTo>
                    <a:pt x="143" y="1205"/>
                    <a:pt x="143" y="1205"/>
                    <a:pt x="143" y="1205"/>
                  </a:cubicBezTo>
                  <a:cubicBezTo>
                    <a:pt x="143" y="1205"/>
                    <a:pt x="143" y="1205"/>
                    <a:pt x="143" y="1205"/>
                  </a:cubicBezTo>
                  <a:cubicBezTo>
                    <a:pt x="117" y="1232"/>
                    <a:pt x="117" y="1275"/>
                    <a:pt x="143" y="1302"/>
                  </a:cubicBezTo>
                  <a:cubicBezTo>
                    <a:pt x="336" y="1495"/>
                    <a:pt x="336" y="1495"/>
                    <a:pt x="336" y="1495"/>
                  </a:cubicBezTo>
                  <a:cubicBezTo>
                    <a:pt x="337" y="1495"/>
                    <a:pt x="337" y="1495"/>
                    <a:pt x="337" y="1495"/>
                  </a:cubicBezTo>
                  <a:cubicBezTo>
                    <a:pt x="363" y="1522"/>
                    <a:pt x="406" y="1522"/>
                    <a:pt x="433" y="1495"/>
                  </a:cubicBezTo>
                  <a:cubicBezTo>
                    <a:pt x="529" y="1399"/>
                    <a:pt x="529" y="1399"/>
                    <a:pt x="529" y="1399"/>
                  </a:cubicBezTo>
                  <a:cubicBezTo>
                    <a:pt x="557" y="1413"/>
                    <a:pt x="585" y="1425"/>
                    <a:pt x="614" y="1434"/>
                  </a:cubicBezTo>
                  <a:cubicBezTo>
                    <a:pt x="614" y="1570"/>
                    <a:pt x="614" y="1570"/>
                    <a:pt x="614" y="1570"/>
                  </a:cubicBezTo>
                  <a:cubicBezTo>
                    <a:pt x="614" y="1608"/>
                    <a:pt x="645" y="1638"/>
                    <a:pt x="683" y="1638"/>
                  </a:cubicBezTo>
                  <a:cubicBezTo>
                    <a:pt x="956" y="1638"/>
                    <a:pt x="956" y="1638"/>
                    <a:pt x="956" y="1638"/>
                  </a:cubicBezTo>
                  <a:cubicBezTo>
                    <a:pt x="993" y="1638"/>
                    <a:pt x="1024" y="1608"/>
                    <a:pt x="1024" y="1570"/>
                  </a:cubicBezTo>
                  <a:cubicBezTo>
                    <a:pt x="1024" y="1434"/>
                    <a:pt x="1024" y="1434"/>
                    <a:pt x="1024" y="1434"/>
                  </a:cubicBezTo>
                  <a:cubicBezTo>
                    <a:pt x="1053" y="1425"/>
                    <a:pt x="1082" y="1413"/>
                    <a:pt x="1109" y="1399"/>
                  </a:cubicBezTo>
                  <a:cubicBezTo>
                    <a:pt x="1205" y="1495"/>
                    <a:pt x="1205" y="1495"/>
                    <a:pt x="1205" y="1495"/>
                  </a:cubicBezTo>
                  <a:cubicBezTo>
                    <a:pt x="1205" y="1495"/>
                    <a:pt x="1205" y="1495"/>
                    <a:pt x="1205" y="1495"/>
                  </a:cubicBezTo>
                  <a:cubicBezTo>
                    <a:pt x="1232" y="1522"/>
                    <a:pt x="1275" y="1522"/>
                    <a:pt x="1302" y="1495"/>
                  </a:cubicBezTo>
                  <a:cubicBezTo>
                    <a:pt x="1495" y="1302"/>
                    <a:pt x="1495" y="1302"/>
                    <a:pt x="1495" y="1302"/>
                  </a:cubicBezTo>
                  <a:cubicBezTo>
                    <a:pt x="1522" y="1275"/>
                    <a:pt x="1522" y="1232"/>
                    <a:pt x="1495" y="1205"/>
                  </a:cubicBezTo>
                  <a:cubicBezTo>
                    <a:pt x="1399" y="1109"/>
                    <a:pt x="1399" y="1109"/>
                    <a:pt x="1399" y="1109"/>
                  </a:cubicBezTo>
                  <a:cubicBezTo>
                    <a:pt x="1413" y="1082"/>
                    <a:pt x="1425" y="1053"/>
                    <a:pt x="1434" y="1024"/>
                  </a:cubicBezTo>
                  <a:cubicBezTo>
                    <a:pt x="1570" y="1024"/>
                    <a:pt x="1570" y="1024"/>
                    <a:pt x="1570" y="1024"/>
                  </a:cubicBezTo>
                  <a:cubicBezTo>
                    <a:pt x="1608" y="1024"/>
                    <a:pt x="1638" y="993"/>
                    <a:pt x="1638" y="956"/>
                  </a:cubicBezTo>
                  <a:cubicBezTo>
                    <a:pt x="1638" y="683"/>
                    <a:pt x="1638" y="683"/>
                    <a:pt x="1638" y="683"/>
                  </a:cubicBezTo>
                  <a:cubicBezTo>
                    <a:pt x="1638" y="645"/>
                    <a:pt x="1608" y="614"/>
                    <a:pt x="1570" y="614"/>
                  </a:cubicBezTo>
                  <a:close/>
                  <a:moveTo>
                    <a:pt x="1409" y="956"/>
                  </a:moveTo>
                  <a:cubicBezTo>
                    <a:pt x="1394" y="956"/>
                    <a:pt x="1380" y="966"/>
                    <a:pt x="1376" y="981"/>
                  </a:cubicBezTo>
                  <a:cubicBezTo>
                    <a:pt x="1364" y="1022"/>
                    <a:pt x="1348" y="1062"/>
                    <a:pt x="1327" y="1099"/>
                  </a:cubicBezTo>
                  <a:cubicBezTo>
                    <a:pt x="1320" y="1113"/>
                    <a:pt x="1322" y="1129"/>
                    <a:pt x="1333" y="1140"/>
                  </a:cubicBezTo>
                  <a:cubicBezTo>
                    <a:pt x="1447" y="1254"/>
                    <a:pt x="1447" y="1254"/>
                    <a:pt x="1447" y="1254"/>
                  </a:cubicBezTo>
                  <a:cubicBezTo>
                    <a:pt x="1254" y="1447"/>
                    <a:pt x="1254" y="1447"/>
                    <a:pt x="1254" y="1447"/>
                  </a:cubicBezTo>
                  <a:cubicBezTo>
                    <a:pt x="1140" y="1333"/>
                    <a:pt x="1140" y="1333"/>
                    <a:pt x="1140" y="1333"/>
                  </a:cubicBezTo>
                  <a:cubicBezTo>
                    <a:pt x="1129" y="1322"/>
                    <a:pt x="1113" y="1320"/>
                    <a:pt x="1099" y="1327"/>
                  </a:cubicBezTo>
                  <a:cubicBezTo>
                    <a:pt x="1062" y="1348"/>
                    <a:pt x="1022" y="1364"/>
                    <a:pt x="980" y="1376"/>
                  </a:cubicBezTo>
                  <a:cubicBezTo>
                    <a:pt x="966" y="1380"/>
                    <a:pt x="956" y="1394"/>
                    <a:pt x="956" y="1409"/>
                  </a:cubicBezTo>
                  <a:cubicBezTo>
                    <a:pt x="956" y="1570"/>
                    <a:pt x="956" y="1570"/>
                    <a:pt x="956" y="1570"/>
                  </a:cubicBezTo>
                  <a:cubicBezTo>
                    <a:pt x="683" y="1570"/>
                    <a:pt x="683" y="1570"/>
                    <a:pt x="683" y="1570"/>
                  </a:cubicBezTo>
                  <a:cubicBezTo>
                    <a:pt x="683" y="1409"/>
                    <a:pt x="683" y="1409"/>
                    <a:pt x="683" y="1409"/>
                  </a:cubicBezTo>
                  <a:cubicBezTo>
                    <a:pt x="683" y="1394"/>
                    <a:pt x="673" y="1380"/>
                    <a:pt x="658" y="1376"/>
                  </a:cubicBezTo>
                  <a:cubicBezTo>
                    <a:pt x="617" y="1364"/>
                    <a:pt x="577" y="1348"/>
                    <a:pt x="539" y="1327"/>
                  </a:cubicBezTo>
                  <a:cubicBezTo>
                    <a:pt x="534" y="1325"/>
                    <a:pt x="528" y="1323"/>
                    <a:pt x="523" y="1323"/>
                  </a:cubicBezTo>
                  <a:cubicBezTo>
                    <a:pt x="514" y="1323"/>
                    <a:pt x="505" y="1327"/>
                    <a:pt x="498" y="1333"/>
                  </a:cubicBezTo>
                  <a:cubicBezTo>
                    <a:pt x="385" y="1447"/>
                    <a:pt x="385" y="1447"/>
                    <a:pt x="385" y="1447"/>
                  </a:cubicBezTo>
                  <a:cubicBezTo>
                    <a:pt x="192" y="1254"/>
                    <a:pt x="192" y="1254"/>
                    <a:pt x="192" y="1254"/>
                  </a:cubicBezTo>
                  <a:cubicBezTo>
                    <a:pt x="305" y="1140"/>
                    <a:pt x="305" y="1140"/>
                    <a:pt x="305" y="1140"/>
                  </a:cubicBezTo>
                  <a:cubicBezTo>
                    <a:pt x="316" y="1129"/>
                    <a:pt x="318" y="1113"/>
                    <a:pt x="311" y="1099"/>
                  </a:cubicBezTo>
                  <a:cubicBezTo>
                    <a:pt x="290" y="1062"/>
                    <a:pt x="274" y="1022"/>
                    <a:pt x="262" y="980"/>
                  </a:cubicBezTo>
                  <a:cubicBezTo>
                    <a:pt x="258" y="966"/>
                    <a:pt x="245" y="956"/>
                    <a:pt x="229" y="956"/>
                  </a:cubicBezTo>
                  <a:cubicBezTo>
                    <a:pt x="68" y="956"/>
                    <a:pt x="68" y="956"/>
                    <a:pt x="68" y="956"/>
                  </a:cubicBezTo>
                  <a:cubicBezTo>
                    <a:pt x="68" y="683"/>
                    <a:pt x="68" y="683"/>
                    <a:pt x="68" y="683"/>
                  </a:cubicBezTo>
                  <a:cubicBezTo>
                    <a:pt x="229" y="683"/>
                    <a:pt x="229" y="683"/>
                    <a:pt x="229" y="683"/>
                  </a:cubicBezTo>
                  <a:cubicBezTo>
                    <a:pt x="245" y="683"/>
                    <a:pt x="258" y="673"/>
                    <a:pt x="262" y="658"/>
                  </a:cubicBezTo>
                  <a:cubicBezTo>
                    <a:pt x="274" y="617"/>
                    <a:pt x="290" y="577"/>
                    <a:pt x="311" y="539"/>
                  </a:cubicBezTo>
                  <a:cubicBezTo>
                    <a:pt x="318" y="526"/>
                    <a:pt x="316" y="509"/>
                    <a:pt x="305" y="498"/>
                  </a:cubicBezTo>
                  <a:cubicBezTo>
                    <a:pt x="192" y="385"/>
                    <a:pt x="192" y="385"/>
                    <a:pt x="192" y="385"/>
                  </a:cubicBezTo>
                  <a:cubicBezTo>
                    <a:pt x="385" y="192"/>
                    <a:pt x="385" y="192"/>
                    <a:pt x="385" y="192"/>
                  </a:cubicBezTo>
                  <a:cubicBezTo>
                    <a:pt x="498" y="305"/>
                    <a:pt x="498" y="305"/>
                    <a:pt x="498" y="305"/>
                  </a:cubicBezTo>
                  <a:cubicBezTo>
                    <a:pt x="509" y="316"/>
                    <a:pt x="526" y="318"/>
                    <a:pt x="539" y="311"/>
                  </a:cubicBezTo>
                  <a:cubicBezTo>
                    <a:pt x="577" y="290"/>
                    <a:pt x="617" y="274"/>
                    <a:pt x="658" y="262"/>
                  </a:cubicBezTo>
                  <a:cubicBezTo>
                    <a:pt x="673" y="258"/>
                    <a:pt x="683" y="245"/>
                    <a:pt x="683" y="229"/>
                  </a:cubicBezTo>
                  <a:cubicBezTo>
                    <a:pt x="683" y="68"/>
                    <a:pt x="683" y="68"/>
                    <a:pt x="683" y="68"/>
                  </a:cubicBezTo>
                  <a:cubicBezTo>
                    <a:pt x="956" y="68"/>
                    <a:pt x="956" y="68"/>
                    <a:pt x="956" y="68"/>
                  </a:cubicBezTo>
                  <a:cubicBezTo>
                    <a:pt x="956" y="229"/>
                    <a:pt x="956" y="229"/>
                    <a:pt x="956" y="229"/>
                  </a:cubicBezTo>
                  <a:cubicBezTo>
                    <a:pt x="956" y="245"/>
                    <a:pt x="966" y="258"/>
                    <a:pt x="980" y="262"/>
                  </a:cubicBezTo>
                  <a:cubicBezTo>
                    <a:pt x="1022" y="274"/>
                    <a:pt x="1062" y="290"/>
                    <a:pt x="1099" y="311"/>
                  </a:cubicBezTo>
                  <a:cubicBezTo>
                    <a:pt x="1113" y="318"/>
                    <a:pt x="1129" y="316"/>
                    <a:pt x="1140" y="305"/>
                  </a:cubicBezTo>
                  <a:cubicBezTo>
                    <a:pt x="1254" y="192"/>
                    <a:pt x="1254" y="192"/>
                    <a:pt x="1254" y="192"/>
                  </a:cubicBezTo>
                  <a:cubicBezTo>
                    <a:pt x="1447" y="385"/>
                    <a:pt x="1447" y="385"/>
                    <a:pt x="1447" y="385"/>
                  </a:cubicBezTo>
                  <a:cubicBezTo>
                    <a:pt x="1333" y="498"/>
                    <a:pt x="1333" y="498"/>
                    <a:pt x="1333" y="498"/>
                  </a:cubicBezTo>
                  <a:cubicBezTo>
                    <a:pt x="1322" y="509"/>
                    <a:pt x="1320" y="526"/>
                    <a:pt x="1327" y="539"/>
                  </a:cubicBezTo>
                  <a:cubicBezTo>
                    <a:pt x="1348" y="577"/>
                    <a:pt x="1364" y="617"/>
                    <a:pt x="1376" y="658"/>
                  </a:cubicBezTo>
                  <a:cubicBezTo>
                    <a:pt x="1380" y="673"/>
                    <a:pt x="1394" y="683"/>
                    <a:pt x="1409" y="683"/>
                  </a:cubicBezTo>
                  <a:cubicBezTo>
                    <a:pt x="1570" y="683"/>
                    <a:pt x="1570" y="683"/>
                    <a:pt x="1570" y="683"/>
                  </a:cubicBezTo>
                  <a:cubicBezTo>
                    <a:pt x="1570" y="956"/>
                    <a:pt x="1570" y="956"/>
                    <a:pt x="1570" y="956"/>
                  </a:cubicBezTo>
                  <a:lnTo>
                    <a:pt x="1409" y="956"/>
                  </a:lnTo>
                  <a:close/>
                  <a:moveTo>
                    <a:pt x="1409" y="956"/>
                  </a:moveTo>
                  <a:cubicBezTo>
                    <a:pt x="1409" y="956"/>
                    <a:pt x="1409" y="956"/>
                    <a:pt x="1409" y="9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5" name="Freeform 46">
              <a:extLst>
                <a:ext uri="{FF2B5EF4-FFF2-40B4-BE49-F238E27FC236}">
                  <a16:creationId xmlns:a16="http://schemas.microsoft.com/office/drawing/2014/main" id="{C18AE462-91A0-4F14-BFC1-C82CEEBEDC71}"/>
                </a:ext>
              </a:extLst>
            </p:cNvPr>
            <p:cNvSpPr>
              <a:spLocks noEditPoints="1"/>
            </p:cNvSpPr>
            <p:nvPr/>
          </p:nvSpPr>
          <p:spPr bwMode="gray">
            <a:xfrm>
              <a:off x="-1622" y="576"/>
              <a:ext cx="756" cy="982"/>
            </a:xfrm>
            <a:custGeom>
              <a:avLst/>
              <a:gdLst>
                <a:gd name="T0" fmla="*/ 409 w 410"/>
                <a:gd name="T1" fmla="*/ 183 h 532"/>
                <a:gd name="T2" fmla="*/ 252 w 410"/>
                <a:gd name="T3" fmla="*/ 26 h 532"/>
                <a:gd name="T4" fmla="*/ 1 w 410"/>
                <a:gd name="T5" fmla="*/ 183 h 532"/>
                <a:gd name="T6" fmla="*/ 0 w 410"/>
                <a:gd name="T7" fmla="*/ 191 h 532"/>
                <a:gd name="T8" fmla="*/ 0 w 410"/>
                <a:gd name="T9" fmla="*/ 258 h 532"/>
                <a:gd name="T10" fmla="*/ 205 w 410"/>
                <a:gd name="T11" fmla="*/ 532 h 532"/>
                <a:gd name="T12" fmla="*/ 410 w 410"/>
                <a:gd name="T13" fmla="*/ 258 h 532"/>
                <a:gd name="T14" fmla="*/ 410 w 410"/>
                <a:gd name="T15" fmla="*/ 191 h 532"/>
                <a:gd name="T16" fmla="*/ 409 w 410"/>
                <a:gd name="T17" fmla="*/ 183 h 532"/>
                <a:gd name="T18" fmla="*/ 342 w 410"/>
                <a:gd name="T19" fmla="*/ 258 h 532"/>
                <a:gd name="T20" fmla="*/ 205 w 410"/>
                <a:gd name="T21" fmla="*/ 464 h 532"/>
                <a:gd name="T22" fmla="*/ 69 w 410"/>
                <a:gd name="T23" fmla="*/ 258 h 532"/>
                <a:gd name="T24" fmla="*/ 69 w 410"/>
                <a:gd name="T25" fmla="*/ 196 h 532"/>
                <a:gd name="T26" fmla="*/ 172 w 410"/>
                <a:gd name="T27" fmla="*/ 93 h 532"/>
                <a:gd name="T28" fmla="*/ 342 w 410"/>
                <a:gd name="T29" fmla="*/ 196 h 532"/>
                <a:gd name="T30" fmla="*/ 342 w 410"/>
                <a:gd name="T31" fmla="*/ 258 h 532"/>
                <a:gd name="T32" fmla="*/ 342 w 410"/>
                <a:gd name="T33" fmla="*/ 258 h 532"/>
                <a:gd name="T34" fmla="*/ 342 w 410"/>
                <a:gd name="T35" fmla="*/ 25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0" h="532">
                  <a:moveTo>
                    <a:pt x="409" y="183"/>
                  </a:moveTo>
                  <a:cubicBezTo>
                    <a:pt x="391" y="104"/>
                    <a:pt x="330" y="43"/>
                    <a:pt x="252" y="26"/>
                  </a:cubicBezTo>
                  <a:cubicBezTo>
                    <a:pt x="139" y="0"/>
                    <a:pt x="27" y="70"/>
                    <a:pt x="1" y="183"/>
                  </a:cubicBezTo>
                  <a:cubicBezTo>
                    <a:pt x="1" y="185"/>
                    <a:pt x="0" y="188"/>
                    <a:pt x="0" y="191"/>
                  </a:cubicBezTo>
                  <a:cubicBezTo>
                    <a:pt x="0" y="258"/>
                    <a:pt x="0" y="258"/>
                    <a:pt x="0" y="258"/>
                  </a:cubicBezTo>
                  <a:cubicBezTo>
                    <a:pt x="0" y="412"/>
                    <a:pt x="90" y="532"/>
                    <a:pt x="205" y="532"/>
                  </a:cubicBezTo>
                  <a:cubicBezTo>
                    <a:pt x="320" y="532"/>
                    <a:pt x="410" y="412"/>
                    <a:pt x="410" y="258"/>
                  </a:cubicBezTo>
                  <a:cubicBezTo>
                    <a:pt x="410" y="191"/>
                    <a:pt x="410" y="191"/>
                    <a:pt x="410" y="191"/>
                  </a:cubicBezTo>
                  <a:cubicBezTo>
                    <a:pt x="410" y="188"/>
                    <a:pt x="410" y="185"/>
                    <a:pt x="409" y="183"/>
                  </a:cubicBezTo>
                  <a:close/>
                  <a:moveTo>
                    <a:pt x="342" y="258"/>
                  </a:moveTo>
                  <a:cubicBezTo>
                    <a:pt x="342" y="372"/>
                    <a:pt x="281" y="464"/>
                    <a:pt x="205" y="464"/>
                  </a:cubicBezTo>
                  <a:cubicBezTo>
                    <a:pt x="130" y="464"/>
                    <a:pt x="69" y="372"/>
                    <a:pt x="69" y="258"/>
                  </a:cubicBezTo>
                  <a:cubicBezTo>
                    <a:pt x="69" y="196"/>
                    <a:pt x="69" y="196"/>
                    <a:pt x="69" y="196"/>
                  </a:cubicBezTo>
                  <a:cubicBezTo>
                    <a:pt x="81" y="145"/>
                    <a:pt x="121" y="105"/>
                    <a:pt x="172" y="93"/>
                  </a:cubicBezTo>
                  <a:cubicBezTo>
                    <a:pt x="247" y="74"/>
                    <a:pt x="323" y="120"/>
                    <a:pt x="342" y="196"/>
                  </a:cubicBezTo>
                  <a:lnTo>
                    <a:pt x="342" y="258"/>
                  </a:lnTo>
                  <a:close/>
                  <a:moveTo>
                    <a:pt x="342" y="258"/>
                  </a:moveTo>
                  <a:cubicBezTo>
                    <a:pt x="342" y="258"/>
                    <a:pt x="342" y="258"/>
                    <a:pt x="342" y="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6" name="Freeform 47">
              <a:extLst>
                <a:ext uri="{FF2B5EF4-FFF2-40B4-BE49-F238E27FC236}">
                  <a16:creationId xmlns:a16="http://schemas.microsoft.com/office/drawing/2014/main" id="{869CED12-63CE-437B-8687-CE3695CD46A0}"/>
                </a:ext>
              </a:extLst>
            </p:cNvPr>
            <p:cNvSpPr>
              <a:spLocks noEditPoints="1"/>
            </p:cNvSpPr>
            <p:nvPr/>
          </p:nvSpPr>
          <p:spPr bwMode="gray">
            <a:xfrm>
              <a:off x="-1181" y="1432"/>
              <a:ext cx="568" cy="945"/>
            </a:xfrm>
            <a:custGeom>
              <a:avLst/>
              <a:gdLst>
                <a:gd name="T0" fmla="*/ 137 w 308"/>
                <a:gd name="T1" fmla="*/ 68 h 512"/>
                <a:gd name="T2" fmla="*/ 129 w 308"/>
                <a:gd name="T3" fmla="*/ 68 h 512"/>
                <a:gd name="T4" fmla="*/ 69 w 308"/>
                <a:gd name="T5" fmla="*/ 0 h 512"/>
                <a:gd name="T6" fmla="*/ 0 w 308"/>
                <a:gd name="T7" fmla="*/ 0 h 512"/>
                <a:gd name="T8" fmla="*/ 0 w 308"/>
                <a:gd name="T9" fmla="*/ 8 h 512"/>
                <a:gd name="T10" fmla="*/ 137 w 308"/>
                <a:gd name="T11" fmla="*/ 136 h 512"/>
                <a:gd name="T12" fmla="*/ 239 w 308"/>
                <a:gd name="T13" fmla="*/ 239 h 512"/>
                <a:gd name="T14" fmla="*/ 239 w 308"/>
                <a:gd name="T15" fmla="*/ 512 h 512"/>
                <a:gd name="T16" fmla="*/ 308 w 308"/>
                <a:gd name="T17" fmla="*/ 512 h 512"/>
                <a:gd name="T18" fmla="*/ 308 w 308"/>
                <a:gd name="T19" fmla="*/ 239 h 512"/>
                <a:gd name="T20" fmla="*/ 137 w 308"/>
                <a:gd name="T21" fmla="*/ 68 h 512"/>
                <a:gd name="T22" fmla="*/ 137 w 308"/>
                <a:gd name="T23" fmla="*/ 68 h 512"/>
                <a:gd name="T24" fmla="*/ 137 w 308"/>
                <a:gd name="T25" fmla="*/ 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8"/>
                  </a:moveTo>
                  <a:cubicBezTo>
                    <a:pt x="134" y="68"/>
                    <a:pt x="131" y="68"/>
                    <a:pt x="129" y="68"/>
                  </a:cubicBezTo>
                  <a:cubicBezTo>
                    <a:pt x="93" y="66"/>
                    <a:pt x="66" y="35"/>
                    <a:pt x="69" y="0"/>
                  </a:cubicBezTo>
                  <a:cubicBezTo>
                    <a:pt x="0" y="0"/>
                    <a:pt x="0" y="0"/>
                    <a:pt x="0" y="0"/>
                  </a:cubicBezTo>
                  <a:cubicBezTo>
                    <a:pt x="0" y="3"/>
                    <a:pt x="0" y="5"/>
                    <a:pt x="0" y="8"/>
                  </a:cubicBezTo>
                  <a:cubicBezTo>
                    <a:pt x="2" y="81"/>
                    <a:pt x="64" y="139"/>
                    <a:pt x="137" y="136"/>
                  </a:cubicBezTo>
                  <a:cubicBezTo>
                    <a:pt x="193" y="136"/>
                    <a:pt x="239" y="182"/>
                    <a:pt x="239" y="239"/>
                  </a:cubicBezTo>
                  <a:cubicBezTo>
                    <a:pt x="239" y="512"/>
                    <a:pt x="239" y="512"/>
                    <a:pt x="239" y="512"/>
                  </a:cubicBezTo>
                  <a:cubicBezTo>
                    <a:pt x="308" y="512"/>
                    <a:pt x="308" y="512"/>
                    <a:pt x="308" y="512"/>
                  </a:cubicBezTo>
                  <a:cubicBezTo>
                    <a:pt x="308" y="239"/>
                    <a:pt x="308" y="239"/>
                    <a:pt x="308" y="239"/>
                  </a:cubicBezTo>
                  <a:cubicBezTo>
                    <a:pt x="307" y="145"/>
                    <a:pt x="231" y="68"/>
                    <a:pt x="137" y="68"/>
                  </a:cubicBezTo>
                  <a:close/>
                  <a:moveTo>
                    <a:pt x="137" y="68"/>
                  </a:moveTo>
                  <a:cubicBezTo>
                    <a:pt x="137" y="68"/>
                    <a:pt x="137" y="68"/>
                    <a:pt x="13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7" name="Freeform 48">
              <a:extLst>
                <a:ext uri="{FF2B5EF4-FFF2-40B4-BE49-F238E27FC236}">
                  <a16:creationId xmlns:a16="http://schemas.microsoft.com/office/drawing/2014/main" id="{07A58056-2D36-46D3-9D83-C886D763A21E}"/>
                </a:ext>
              </a:extLst>
            </p:cNvPr>
            <p:cNvSpPr>
              <a:spLocks noEditPoints="1"/>
            </p:cNvSpPr>
            <p:nvPr/>
          </p:nvSpPr>
          <p:spPr bwMode="gray">
            <a:xfrm>
              <a:off x="-1873" y="1432"/>
              <a:ext cx="570" cy="945"/>
            </a:xfrm>
            <a:custGeom>
              <a:avLst/>
              <a:gdLst>
                <a:gd name="T0" fmla="*/ 307 w 309"/>
                <a:gd name="T1" fmla="*/ 0 h 512"/>
                <a:gd name="T2" fmla="*/ 239 w 309"/>
                <a:gd name="T3" fmla="*/ 0 h 512"/>
                <a:gd name="T4" fmla="*/ 239 w 309"/>
                <a:gd name="T5" fmla="*/ 8 h 512"/>
                <a:gd name="T6" fmla="*/ 171 w 309"/>
                <a:gd name="T7" fmla="*/ 68 h 512"/>
                <a:gd name="T8" fmla="*/ 0 w 309"/>
                <a:gd name="T9" fmla="*/ 239 h 512"/>
                <a:gd name="T10" fmla="*/ 0 w 309"/>
                <a:gd name="T11" fmla="*/ 512 h 512"/>
                <a:gd name="T12" fmla="*/ 68 w 309"/>
                <a:gd name="T13" fmla="*/ 512 h 512"/>
                <a:gd name="T14" fmla="*/ 68 w 309"/>
                <a:gd name="T15" fmla="*/ 239 h 512"/>
                <a:gd name="T16" fmla="*/ 171 w 309"/>
                <a:gd name="T17" fmla="*/ 136 h 512"/>
                <a:gd name="T18" fmla="*/ 178 w 309"/>
                <a:gd name="T19" fmla="*/ 136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5"/>
                    <a:pt x="239" y="8"/>
                  </a:cubicBezTo>
                  <a:cubicBezTo>
                    <a:pt x="237" y="44"/>
                    <a:pt x="206" y="70"/>
                    <a:pt x="171" y="68"/>
                  </a:cubicBezTo>
                  <a:cubicBezTo>
                    <a:pt x="76" y="68"/>
                    <a:pt x="0" y="145"/>
                    <a:pt x="0" y="239"/>
                  </a:cubicBezTo>
                  <a:cubicBezTo>
                    <a:pt x="0" y="512"/>
                    <a:pt x="0" y="512"/>
                    <a:pt x="0" y="512"/>
                  </a:cubicBezTo>
                  <a:cubicBezTo>
                    <a:pt x="68" y="512"/>
                    <a:pt x="68" y="512"/>
                    <a:pt x="68" y="512"/>
                  </a:cubicBezTo>
                  <a:cubicBezTo>
                    <a:pt x="68" y="239"/>
                    <a:pt x="68" y="239"/>
                    <a:pt x="68" y="239"/>
                  </a:cubicBezTo>
                  <a:cubicBezTo>
                    <a:pt x="68" y="182"/>
                    <a:pt x="114" y="136"/>
                    <a:pt x="171" y="136"/>
                  </a:cubicBezTo>
                  <a:cubicBezTo>
                    <a:pt x="173" y="137"/>
                    <a:pt x="176" y="137"/>
                    <a:pt x="178" y="136"/>
                  </a:cubicBezTo>
                  <a:cubicBezTo>
                    <a:pt x="252" y="134"/>
                    <a:pt x="309" y="73"/>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Rectangle 49">
              <a:extLst>
                <a:ext uri="{FF2B5EF4-FFF2-40B4-BE49-F238E27FC236}">
                  <a16:creationId xmlns:a16="http://schemas.microsoft.com/office/drawing/2014/main" id="{9D9490D1-363E-4EF0-AAF0-EEF9F8E7B786}"/>
                </a:ext>
              </a:extLst>
            </p:cNvPr>
            <p:cNvSpPr>
              <a:spLocks noChangeArrowheads="1"/>
            </p:cNvSpPr>
            <p:nvPr/>
          </p:nvSpPr>
          <p:spPr bwMode="gray">
            <a:xfrm>
              <a:off x="-1622" y="1936"/>
              <a:ext cx="127"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9" name="Rectangle 50">
              <a:extLst>
                <a:ext uri="{FF2B5EF4-FFF2-40B4-BE49-F238E27FC236}">
                  <a16:creationId xmlns:a16="http://schemas.microsoft.com/office/drawing/2014/main" id="{45477F02-D35C-4685-AB36-49D25C5FB75F}"/>
                </a:ext>
              </a:extLst>
            </p:cNvPr>
            <p:cNvSpPr>
              <a:spLocks noChangeArrowheads="1"/>
            </p:cNvSpPr>
            <p:nvPr/>
          </p:nvSpPr>
          <p:spPr bwMode="gray">
            <a:xfrm>
              <a:off x="-991" y="1936"/>
              <a:ext cx="125"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0" name="Freeform 51">
              <a:extLst>
                <a:ext uri="{FF2B5EF4-FFF2-40B4-BE49-F238E27FC236}">
                  <a16:creationId xmlns:a16="http://schemas.microsoft.com/office/drawing/2014/main" id="{237F905B-815D-47E3-A8B1-7A4C68777C39}"/>
                </a:ext>
              </a:extLst>
            </p:cNvPr>
            <p:cNvSpPr>
              <a:spLocks noEditPoints="1"/>
            </p:cNvSpPr>
            <p:nvPr/>
          </p:nvSpPr>
          <p:spPr bwMode="gray">
            <a:xfrm>
              <a:off x="-2251" y="1117"/>
              <a:ext cx="444" cy="503"/>
            </a:xfrm>
            <a:custGeom>
              <a:avLst/>
              <a:gdLst>
                <a:gd name="T0" fmla="*/ 239 w 241"/>
                <a:gd name="T1" fmla="*/ 171 h 273"/>
                <a:gd name="T2" fmla="*/ 239 w 241"/>
                <a:gd name="T3" fmla="*/ 0 h 273"/>
                <a:gd name="T4" fmla="*/ 171 w 241"/>
                <a:gd name="T5" fmla="*/ 0 h 273"/>
                <a:gd name="T6" fmla="*/ 171 w 241"/>
                <a:gd name="T7" fmla="*/ 171 h 273"/>
                <a:gd name="T8" fmla="*/ 171 w 241"/>
                <a:gd name="T9" fmla="*/ 177 h 273"/>
                <a:gd name="T10" fmla="*/ 137 w 241"/>
                <a:gd name="T11" fmla="*/ 205 h 273"/>
                <a:gd name="T12" fmla="*/ 0 w 241"/>
                <a:gd name="T13" fmla="*/ 205 h 273"/>
                <a:gd name="T14" fmla="*/ 0 w 241"/>
                <a:gd name="T15" fmla="*/ 273 h 273"/>
                <a:gd name="T16" fmla="*/ 137 w 241"/>
                <a:gd name="T17" fmla="*/ 273 h 273"/>
                <a:gd name="T18" fmla="*/ 142 w 241"/>
                <a:gd name="T19" fmla="*/ 273 h 273"/>
                <a:gd name="T20" fmla="*/ 239 w 241"/>
                <a:gd name="T21" fmla="*/ 171 h 273"/>
                <a:gd name="T22" fmla="*/ 239 w 241"/>
                <a:gd name="T23" fmla="*/ 171 h 273"/>
                <a:gd name="T24" fmla="*/ 239 w 241"/>
                <a:gd name="T25" fmla="*/ 17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273">
                  <a:moveTo>
                    <a:pt x="239" y="171"/>
                  </a:moveTo>
                  <a:cubicBezTo>
                    <a:pt x="239" y="0"/>
                    <a:pt x="239" y="0"/>
                    <a:pt x="239" y="0"/>
                  </a:cubicBezTo>
                  <a:cubicBezTo>
                    <a:pt x="171" y="0"/>
                    <a:pt x="171" y="0"/>
                    <a:pt x="171" y="0"/>
                  </a:cubicBezTo>
                  <a:cubicBezTo>
                    <a:pt x="171" y="171"/>
                    <a:pt x="171" y="171"/>
                    <a:pt x="171" y="171"/>
                  </a:cubicBezTo>
                  <a:cubicBezTo>
                    <a:pt x="171" y="173"/>
                    <a:pt x="171" y="175"/>
                    <a:pt x="171" y="177"/>
                  </a:cubicBezTo>
                  <a:cubicBezTo>
                    <a:pt x="169" y="194"/>
                    <a:pt x="154" y="207"/>
                    <a:pt x="137" y="205"/>
                  </a:cubicBezTo>
                  <a:cubicBezTo>
                    <a:pt x="0" y="205"/>
                    <a:pt x="0" y="205"/>
                    <a:pt x="0" y="205"/>
                  </a:cubicBezTo>
                  <a:cubicBezTo>
                    <a:pt x="0" y="273"/>
                    <a:pt x="0" y="273"/>
                    <a:pt x="0" y="273"/>
                  </a:cubicBezTo>
                  <a:cubicBezTo>
                    <a:pt x="137" y="273"/>
                    <a:pt x="137" y="273"/>
                    <a:pt x="137" y="273"/>
                  </a:cubicBezTo>
                  <a:cubicBezTo>
                    <a:pt x="139" y="273"/>
                    <a:pt x="140" y="273"/>
                    <a:pt x="142" y="273"/>
                  </a:cubicBezTo>
                  <a:cubicBezTo>
                    <a:pt x="197" y="272"/>
                    <a:pt x="241" y="226"/>
                    <a:pt x="239" y="171"/>
                  </a:cubicBezTo>
                  <a:close/>
                  <a:moveTo>
                    <a:pt x="239" y="171"/>
                  </a:moveTo>
                  <a:cubicBezTo>
                    <a:pt x="239" y="171"/>
                    <a:pt x="239" y="171"/>
                    <a:pt x="239" y="1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1" name="Rectangle 52">
              <a:extLst>
                <a:ext uri="{FF2B5EF4-FFF2-40B4-BE49-F238E27FC236}">
                  <a16:creationId xmlns:a16="http://schemas.microsoft.com/office/drawing/2014/main" id="{F0ED4C1B-94E0-4C71-AE14-BF3620CF3988}"/>
                </a:ext>
              </a:extLst>
            </p:cNvPr>
            <p:cNvSpPr>
              <a:spLocks noChangeArrowheads="1"/>
            </p:cNvSpPr>
            <p:nvPr/>
          </p:nvSpPr>
          <p:spPr bwMode="gray">
            <a:xfrm>
              <a:off x="-2502"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2" name="Rectangle 53">
              <a:extLst>
                <a:ext uri="{FF2B5EF4-FFF2-40B4-BE49-F238E27FC236}">
                  <a16:creationId xmlns:a16="http://schemas.microsoft.com/office/drawing/2014/main" id="{BC6315C2-AFDF-4A23-B1A6-C9DFEB4994E8}"/>
                </a:ext>
              </a:extLst>
            </p:cNvPr>
            <p:cNvSpPr>
              <a:spLocks noChangeArrowheads="1"/>
            </p:cNvSpPr>
            <p:nvPr/>
          </p:nvSpPr>
          <p:spPr bwMode="gray">
            <a:xfrm>
              <a:off x="-1936" y="866"/>
              <a:ext cx="126"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3" name="Freeform 54">
              <a:extLst>
                <a:ext uri="{FF2B5EF4-FFF2-40B4-BE49-F238E27FC236}">
                  <a16:creationId xmlns:a16="http://schemas.microsoft.com/office/drawing/2014/main" id="{73735F42-7648-4682-AE9A-C7B38290898E}"/>
                </a:ext>
              </a:extLst>
            </p:cNvPr>
            <p:cNvSpPr>
              <a:spLocks noEditPoints="1"/>
            </p:cNvSpPr>
            <p:nvPr/>
          </p:nvSpPr>
          <p:spPr bwMode="gray">
            <a:xfrm>
              <a:off x="-677" y="1117"/>
              <a:ext cx="441" cy="507"/>
            </a:xfrm>
            <a:custGeom>
              <a:avLst/>
              <a:gdLst>
                <a:gd name="T0" fmla="*/ 103 w 239"/>
                <a:gd name="T1" fmla="*/ 205 h 275"/>
                <a:gd name="T2" fmla="*/ 97 w 239"/>
                <a:gd name="T3" fmla="*/ 205 h 275"/>
                <a:gd name="T4" fmla="*/ 69 w 239"/>
                <a:gd name="T5" fmla="*/ 171 h 275"/>
                <a:gd name="T6" fmla="*/ 69 w 239"/>
                <a:gd name="T7" fmla="*/ 0 h 275"/>
                <a:gd name="T8" fmla="*/ 0 w 239"/>
                <a:gd name="T9" fmla="*/ 0 h 275"/>
                <a:gd name="T10" fmla="*/ 0 w 239"/>
                <a:gd name="T11" fmla="*/ 171 h 275"/>
                <a:gd name="T12" fmla="*/ 0 w 239"/>
                <a:gd name="T13" fmla="*/ 177 h 275"/>
                <a:gd name="T14" fmla="*/ 103 w 239"/>
                <a:gd name="T15" fmla="*/ 273 h 275"/>
                <a:gd name="T16" fmla="*/ 239 w 239"/>
                <a:gd name="T17" fmla="*/ 273 h 275"/>
                <a:gd name="T18" fmla="*/ 239 w 239"/>
                <a:gd name="T19" fmla="*/ 205 h 275"/>
                <a:gd name="T20" fmla="*/ 103 w 239"/>
                <a:gd name="T21" fmla="*/ 205 h 275"/>
                <a:gd name="T22" fmla="*/ 103 w 239"/>
                <a:gd name="T23" fmla="*/ 205 h 275"/>
                <a:gd name="T24" fmla="*/ 103 w 239"/>
                <a:gd name="T25" fmla="*/ 20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275">
                  <a:moveTo>
                    <a:pt x="103" y="205"/>
                  </a:moveTo>
                  <a:cubicBezTo>
                    <a:pt x="101" y="205"/>
                    <a:pt x="99" y="205"/>
                    <a:pt x="97" y="205"/>
                  </a:cubicBezTo>
                  <a:cubicBezTo>
                    <a:pt x="80" y="203"/>
                    <a:pt x="67" y="188"/>
                    <a:pt x="69" y="171"/>
                  </a:cubicBezTo>
                  <a:cubicBezTo>
                    <a:pt x="69" y="0"/>
                    <a:pt x="69" y="0"/>
                    <a:pt x="69" y="0"/>
                  </a:cubicBezTo>
                  <a:cubicBezTo>
                    <a:pt x="0" y="0"/>
                    <a:pt x="0" y="0"/>
                    <a:pt x="0" y="0"/>
                  </a:cubicBezTo>
                  <a:cubicBezTo>
                    <a:pt x="0" y="171"/>
                    <a:pt x="0" y="171"/>
                    <a:pt x="0" y="171"/>
                  </a:cubicBezTo>
                  <a:cubicBezTo>
                    <a:pt x="0" y="173"/>
                    <a:pt x="0" y="175"/>
                    <a:pt x="0" y="177"/>
                  </a:cubicBezTo>
                  <a:cubicBezTo>
                    <a:pt x="2" y="232"/>
                    <a:pt x="48" y="275"/>
                    <a:pt x="103" y="273"/>
                  </a:cubicBezTo>
                  <a:cubicBezTo>
                    <a:pt x="239" y="273"/>
                    <a:pt x="239" y="273"/>
                    <a:pt x="239" y="273"/>
                  </a:cubicBezTo>
                  <a:cubicBezTo>
                    <a:pt x="239" y="205"/>
                    <a:pt x="239" y="205"/>
                    <a:pt x="239" y="205"/>
                  </a:cubicBezTo>
                  <a:lnTo>
                    <a:pt x="103" y="205"/>
                  </a:lnTo>
                  <a:close/>
                  <a:moveTo>
                    <a:pt x="103" y="205"/>
                  </a:moveTo>
                  <a:cubicBezTo>
                    <a:pt x="103" y="205"/>
                    <a:pt x="103" y="205"/>
                    <a:pt x="103"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Rectangle 55">
              <a:extLst>
                <a:ext uri="{FF2B5EF4-FFF2-40B4-BE49-F238E27FC236}">
                  <a16:creationId xmlns:a16="http://schemas.microsoft.com/office/drawing/2014/main" id="{191A4367-E281-4E87-AD9B-0B1D0D609C3C}"/>
                </a:ext>
              </a:extLst>
            </p:cNvPr>
            <p:cNvSpPr>
              <a:spLocks noChangeArrowheads="1"/>
            </p:cNvSpPr>
            <p:nvPr/>
          </p:nvSpPr>
          <p:spPr bwMode="gray">
            <a:xfrm>
              <a:off x="-109"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5" name="Rectangle 56">
              <a:extLst>
                <a:ext uri="{FF2B5EF4-FFF2-40B4-BE49-F238E27FC236}">
                  <a16:creationId xmlns:a16="http://schemas.microsoft.com/office/drawing/2014/main" id="{579FD1B2-B167-44BD-873A-9790F72FCC2D}"/>
                </a:ext>
              </a:extLst>
            </p:cNvPr>
            <p:cNvSpPr>
              <a:spLocks noChangeArrowheads="1"/>
            </p:cNvSpPr>
            <p:nvPr/>
          </p:nvSpPr>
          <p:spPr bwMode="gray">
            <a:xfrm>
              <a:off x="-677" y="866"/>
              <a:ext cx="127"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3372225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Hexagon 4"/>
          <p:cNvSpPr/>
          <p:nvPr userDrawn="1"/>
        </p:nvSpPr>
        <p:spPr bwMode="blackGray">
          <a:xfrm flipV="1">
            <a:off x="5529634" y="1295354"/>
            <a:ext cx="5488228" cy="4733694"/>
          </a:xfrm>
          <a:prstGeom prst="hexago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4798">
              <a:solidFill>
                <a:schemeClr val="bg2"/>
              </a:solidFill>
            </a:endParaRPr>
          </a:p>
        </p:txBody>
      </p:sp>
      <p:pic>
        <p:nvPicPr>
          <p:cNvPr id="3" name="Picture 2">
            <a:extLst>
              <a:ext uri="{FF2B5EF4-FFF2-40B4-BE49-F238E27FC236}">
                <a16:creationId xmlns:a16="http://schemas.microsoft.com/office/drawing/2014/main" id="{FC59F9FF-D115-42E2-8268-9CD923044D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425600"/>
            <a:ext cx="7042868" cy="4473203"/>
          </a:xfrm>
          <a:prstGeom prst="rect">
            <a:avLst/>
          </a:prstGeom>
        </p:spPr>
      </p:pic>
      <p:sp>
        <p:nvSpPr>
          <p:cNvPr id="9" name="Footer Placeholder 8"/>
          <p:cNvSpPr>
            <a:spLocks noGrp="1"/>
          </p:cNvSpPr>
          <p:nvPr>
            <p:ph type="ftr" sz="quarter" idx="11"/>
          </p:nvPr>
        </p:nvSpPr>
        <p:spPr bwMode="blackGray"/>
        <p:txBody>
          <a:bodyPr/>
          <a:lstStyle>
            <a:lvl1pPr>
              <a:defRPr/>
            </a:lvl1pPr>
          </a:lstStyle>
          <a:p>
            <a:r>
              <a:rPr lang="en-GB"/>
              <a:t>Daraft for Discussion</a:t>
            </a:r>
          </a:p>
        </p:txBody>
      </p:sp>
      <p:sp>
        <p:nvSpPr>
          <p:cNvPr id="8" name="Hexagon 7"/>
          <p:cNvSpPr/>
          <p:nvPr userDrawn="1"/>
        </p:nvSpPr>
        <p:spPr bwMode="blackGray">
          <a:xfrm>
            <a:off x="5680642" y="1425600"/>
            <a:ext cx="5186214" cy="4473203"/>
          </a:xfrm>
          <a:prstGeom prst="hexagon">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4798">
                <a:solidFill>
                  <a:schemeClr val="bg2"/>
                </a:solidFill>
              </a:rPr>
              <a:t>Thank you</a:t>
            </a:r>
          </a:p>
        </p:txBody>
      </p:sp>
      <p:sp>
        <p:nvSpPr>
          <p:cNvPr id="19" name="Rectangle 18">
            <a:extLst>
              <a:ext uri="{FF2B5EF4-FFF2-40B4-BE49-F238E27FC236}">
                <a16:creationId xmlns:a16="http://schemas.microsoft.com/office/drawing/2014/main" id="{F2FFD9B8-127A-44C5-AD17-2397F18FB06E}"/>
              </a:ext>
            </a:extLst>
          </p:cNvPr>
          <p:cNvSpPr/>
          <p:nvPr userDrawn="1"/>
        </p:nvSpPr>
        <p:spPr>
          <a:xfrm>
            <a:off x="11664815" y="491614"/>
            <a:ext cx="507531" cy="1927122"/>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sp>
        <p:nvSpPr>
          <p:cNvPr id="20" name="Rectangle 19">
            <a:extLst>
              <a:ext uri="{FF2B5EF4-FFF2-40B4-BE49-F238E27FC236}">
                <a16:creationId xmlns:a16="http://schemas.microsoft.com/office/drawing/2014/main" id="{8BB9B5F7-C429-4CF7-AAEF-257A668D9E6A}"/>
              </a:ext>
            </a:extLst>
          </p:cNvPr>
          <p:cNvSpPr/>
          <p:nvPr userDrawn="1"/>
        </p:nvSpPr>
        <p:spPr>
          <a:xfrm>
            <a:off x="353966" y="6186204"/>
            <a:ext cx="1620990" cy="671796"/>
          </a:xfrm>
          <a:prstGeom prst="rect">
            <a:avLst/>
          </a:prstGeom>
          <a:solidFill>
            <a:srgbClr val="333333"/>
          </a:solidFill>
          <a:ln w="9525">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latin typeface="EYInterstate Light" panose="02000506000000020004" pitchFamily="2" charset="0"/>
            </a:endParaRPr>
          </a:p>
        </p:txBody>
      </p:sp>
      <p:grpSp>
        <p:nvGrpSpPr>
          <p:cNvPr id="22" name="Group 21">
            <a:extLst>
              <a:ext uri="{FF2B5EF4-FFF2-40B4-BE49-F238E27FC236}">
                <a16:creationId xmlns:a16="http://schemas.microsoft.com/office/drawing/2014/main" id="{28A828AD-D53D-4C0B-B2CF-50BF925134A7}"/>
              </a:ext>
            </a:extLst>
          </p:cNvPr>
          <p:cNvGrpSpPr>
            <a:grpSpLocks/>
          </p:cNvGrpSpPr>
          <p:nvPr userDrawn="1"/>
        </p:nvGrpSpPr>
        <p:grpSpPr>
          <a:xfrm>
            <a:off x="1688021" y="0"/>
            <a:ext cx="8303463" cy="618994"/>
            <a:chOff x="1688900" y="-1193800"/>
            <a:chExt cx="9226729" cy="333680"/>
          </a:xfrm>
        </p:grpSpPr>
        <p:sp>
          <p:nvSpPr>
            <p:cNvPr id="23" name="Parallelogram 22">
              <a:hlinkClick r:id="" action="ppaction://noaction"/>
              <a:extLst>
                <a:ext uri="{FF2B5EF4-FFF2-40B4-BE49-F238E27FC236}">
                  <a16:creationId xmlns:a16="http://schemas.microsoft.com/office/drawing/2014/main" id="{C29ACE0B-0C18-4B10-980B-FFA170B7681F}"/>
                </a:ext>
              </a:extLst>
            </p:cNvPr>
            <p:cNvSpPr/>
            <p:nvPr userDrawn="1"/>
          </p:nvSpPr>
          <p:spPr>
            <a:xfrm>
              <a:off x="1688900"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800">
                  <a:solidFill>
                    <a:schemeClr val="bg1"/>
                  </a:solidFill>
                  <a:latin typeface="EYInterstate Light" panose="02000506000000020004" pitchFamily="2" charset="0"/>
                </a:rPr>
                <a:t>Finance Service Offerings</a:t>
              </a:r>
            </a:p>
          </p:txBody>
        </p:sp>
        <p:sp>
          <p:nvSpPr>
            <p:cNvPr id="24" name="Parallelogram 23">
              <a:hlinkClick r:id="" action="ppaction://noaction"/>
              <a:extLst>
                <a:ext uri="{FF2B5EF4-FFF2-40B4-BE49-F238E27FC236}">
                  <a16:creationId xmlns:a16="http://schemas.microsoft.com/office/drawing/2014/main" id="{BF99766A-E141-4669-BFD3-D704DDCFE173}"/>
                </a:ext>
              </a:extLst>
            </p:cNvPr>
            <p:cNvSpPr/>
            <p:nvPr userDrawn="1"/>
          </p:nvSpPr>
          <p:spPr>
            <a:xfrm>
              <a:off x="2836417"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800" kern="1200">
                  <a:solidFill>
                    <a:schemeClr val="bg1"/>
                  </a:solidFill>
                  <a:latin typeface="EYInterstate Light" panose="02000506000000020004" pitchFamily="2" charset="0"/>
                  <a:ea typeface="+mn-ea"/>
                  <a:cs typeface="+mn-cs"/>
                </a:rPr>
                <a:t>Finance Trends</a:t>
              </a:r>
            </a:p>
          </p:txBody>
        </p:sp>
        <p:sp>
          <p:nvSpPr>
            <p:cNvPr id="25" name="Parallelogram 24">
              <a:hlinkClick r:id="" action="ppaction://noaction"/>
              <a:extLst>
                <a:ext uri="{FF2B5EF4-FFF2-40B4-BE49-F238E27FC236}">
                  <a16:creationId xmlns:a16="http://schemas.microsoft.com/office/drawing/2014/main" id="{E5B5FBD5-7585-4FCC-A3EB-CB4796C83420}"/>
                </a:ext>
              </a:extLst>
            </p:cNvPr>
            <p:cNvSpPr/>
            <p:nvPr userDrawn="1"/>
          </p:nvSpPr>
          <p:spPr>
            <a:xfrm>
              <a:off x="3983934"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800" kern="1200">
                  <a:solidFill>
                    <a:schemeClr val="bg1"/>
                  </a:solidFill>
                  <a:latin typeface="EYInterstate Light" panose="02000506000000020004" pitchFamily="2" charset="0"/>
                  <a:ea typeface="+mn-ea"/>
                  <a:cs typeface="+mn-cs"/>
                </a:rPr>
                <a:t>Finance Operating Model</a:t>
              </a:r>
            </a:p>
          </p:txBody>
        </p:sp>
        <p:sp>
          <p:nvSpPr>
            <p:cNvPr id="26" name="Parallelogram 25">
              <a:hlinkClick r:id="" action="ppaction://noaction"/>
              <a:extLst>
                <a:ext uri="{FF2B5EF4-FFF2-40B4-BE49-F238E27FC236}">
                  <a16:creationId xmlns:a16="http://schemas.microsoft.com/office/drawing/2014/main" id="{9920B98E-B9B7-4941-A8D6-B1A913756759}"/>
                </a:ext>
              </a:extLst>
            </p:cNvPr>
            <p:cNvSpPr/>
            <p:nvPr userDrawn="1"/>
          </p:nvSpPr>
          <p:spPr>
            <a:xfrm>
              <a:off x="5131452"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3943" rtl="0" eaLnBrk="1" latinLnBrk="0" hangingPunct="1"/>
              <a:r>
                <a:rPr lang="en-IN" sz="800" kern="1200">
                  <a:solidFill>
                    <a:schemeClr val="bg1"/>
                  </a:solidFill>
                  <a:latin typeface="EYInterstate Light" panose="02000506000000020004" pitchFamily="2" charset="0"/>
                  <a:ea typeface="+mn-ea"/>
                  <a:cs typeface="+mn-cs"/>
                </a:rPr>
                <a:t>EY Approach</a:t>
              </a:r>
            </a:p>
          </p:txBody>
        </p:sp>
        <p:sp>
          <p:nvSpPr>
            <p:cNvPr id="27" name="Parallelogram 26">
              <a:hlinkClick r:id="" action="ppaction://noaction"/>
              <a:extLst>
                <a:ext uri="{FF2B5EF4-FFF2-40B4-BE49-F238E27FC236}">
                  <a16:creationId xmlns:a16="http://schemas.microsoft.com/office/drawing/2014/main" id="{80F132CE-D7D0-45C6-8E79-AC367CB87997}"/>
                </a:ext>
              </a:extLst>
            </p:cNvPr>
            <p:cNvSpPr/>
            <p:nvPr userDrawn="1"/>
          </p:nvSpPr>
          <p:spPr>
            <a:xfrm>
              <a:off x="6278969"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800" kern="1200">
                  <a:solidFill>
                    <a:schemeClr val="bg1"/>
                  </a:solidFill>
                  <a:latin typeface="EYInterstate Light" panose="02000506000000020004" pitchFamily="2" charset="0"/>
                  <a:ea typeface="+mn-ea"/>
                  <a:cs typeface="+mn-cs"/>
                </a:rPr>
                <a:t>Finance Transformation Enablers</a:t>
              </a:r>
            </a:p>
          </p:txBody>
        </p:sp>
        <p:sp>
          <p:nvSpPr>
            <p:cNvPr id="36" name="Parallelogram 35">
              <a:hlinkClick r:id="" action="ppaction://noaction"/>
              <a:extLst>
                <a:ext uri="{FF2B5EF4-FFF2-40B4-BE49-F238E27FC236}">
                  <a16:creationId xmlns:a16="http://schemas.microsoft.com/office/drawing/2014/main" id="{672E1B90-7EE8-4FB9-9CFB-091382CE0720}"/>
                </a:ext>
              </a:extLst>
            </p:cNvPr>
            <p:cNvSpPr/>
            <p:nvPr userDrawn="1"/>
          </p:nvSpPr>
          <p:spPr>
            <a:xfrm>
              <a:off x="8574002"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3943" rtl="0" eaLnBrk="1" latinLnBrk="0" hangingPunct="1"/>
              <a:r>
                <a:rPr lang="en-IN" sz="800" kern="1200">
                  <a:solidFill>
                    <a:schemeClr val="bg1"/>
                  </a:solidFill>
                  <a:latin typeface="EYInterstate Light" panose="02000506000000020004" pitchFamily="2" charset="0"/>
                  <a:ea typeface="+mn-ea"/>
                  <a:cs typeface="+mn-cs"/>
                </a:rPr>
                <a:t>Credentials</a:t>
              </a:r>
            </a:p>
          </p:txBody>
        </p:sp>
        <p:sp>
          <p:nvSpPr>
            <p:cNvPr id="37" name="Parallelogram 36">
              <a:hlinkClick r:id="" action="ppaction://noaction"/>
              <a:extLst>
                <a:ext uri="{FF2B5EF4-FFF2-40B4-BE49-F238E27FC236}">
                  <a16:creationId xmlns:a16="http://schemas.microsoft.com/office/drawing/2014/main" id="{E7BD822D-7E74-458E-BD74-579B963E91E9}"/>
                </a:ext>
              </a:extLst>
            </p:cNvPr>
            <p:cNvSpPr/>
            <p:nvPr userDrawn="1"/>
          </p:nvSpPr>
          <p:spPr>
            <a:xfrm>
              <a:off x="9721518"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lvl="0" algn="ctr"/>
              <a:r>
                <a:rPr lang="en-IN" sz="800">
                  <a:solidFill>
                    <a:schemeClr val="bg1"/>
                  </a:solidFill>
                  <a:latin typeface="EYInterstate Light" panose="02000506000000020004" pitchFamily="2" charset="0"/>
                </a:rPr>
                <a:t>Appendix</a:t>
              </a:r>
            </a:p>
          </p:txBody>
        </p:sp>
        <p:sp>
          <p:nvSpPr>
            <p:cNvPr id="39" name="Parallelogram 38">
              <a:hlinkClick r:id="" action="ppaction://noaction"/>
              <a:extLst>
                <a:ext uri="{FF2B5EF4-FFF2-40B4-BE49-F238E27FC236}">
                  <a16:creationId xmlns:a16="http://schemas.microsoft.com/office/drawing/2014/main" id="{A086A760-8684-4E9A-99AE-B90E141B0B8C}"/>
                </a:ext>
              </a:extLst>
            </p:cNvPr>
            <p:cNvSpPr/>
            <p:nvPr userDrawn="1"/>
          </p:nvSpPr>
          <p:spPr>
            <a:xfrm>
              <a:off x="7426486" y="-1193800"/>
              <a:ext cx="1194111"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IN" sz="800" kern="1200">
                  <a:solidFill>
                    <a:schemeClr val="bg1"/>
                  </a:solidFill>
                  <a:latin typeface="EYInterstate Light" panose="02000506000000020004" pitchFamily="2" charset="0"/>
                  <a:ea typeface="+mn-ea"/>
                  <a:cs typeface="+mn-cs"/>
                </a:rPr>
                <a:t>Finance Transformation Benefits</a:t>
              </a:r>
            </a:p>
          </p:txBody>
        </p:sp>
      </p:grpSp>
    </p:spTree>
    <p:extLst>
      <p:ext uri="{BB962C8B-B14F-4D97-AF65-F5344CB8AC3E}">
        <p14:creationId xmlns:p14="http://schemas.microsoft.com/office/powerpoint/2010/main" val="3381516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1250"/>
                                        <p:tgtEl>
                                          <p:spTgt spid="5"/>
                                        </p:tgtEl>
                                      </p:cBhvr>
                                    </p:animEffect>
                                  </p:childTnLst>
                                </p:cTn>
                              </p:par>
                            </p:childTnLst>
                          </p:cTn>
                        </p:par>
                        <p:par>
                          <p:cTn id="11" fill="hold">
                            <p:stCondLst>
                              <p:cond delay="1250"/>
                            </p:stCondLst>
                            <p:childTnLst>
                              <p:par>
                                <p:cTn id="12" presetID="22" presetClass="entr" presetSubtype="2"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right)">
                                      <p:cBhvr>
                                        <p:cTn id="1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228063511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3" name="Title 1"/>
          <p:cNvSpPr>
            <a:spLocks noGrp="1"/>
          </p:cNvSpPr>
          <p:nvPr>
            <p:ph type="ctrTitle"/>
          </p:nvPr>
        </p:nvSpPr>
        <p:spPr>
          <a:xfrm>
            <a:off x="899860" y="1954221"/>
            <a:ext cx="4326679" cy="979702"/>
          </a:xfrm>
        </p:spPr>
        <p:txBody>
          <a:bodyPr vert="horz"/>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310210108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a:xfrm>
            <a:off x="5896030" y="6470900"/>
            <a:ext cx="399940" cy="180000"/>
          </a:xfrm>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667723"/>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0">
            <a:extLst>
              <a:ext uri="{FF2B5EF4-FFF2-40B4-BE49-F238E27FC236}">
                <a16:creationId xmlns:a16="http://schemas.microsoft.com/office/drawing/2014/main" id="{D46F7972-8C09-42B7-969F-13E25F228D0E}"/>
              </a:ext>
            </a:extLst>
          </p:cNvPr>
          <p:cNvSpPr>
            <a:spLocks noChangeShapeType="1"/>
          </p:cNvSpPr>
          <p:nvPr userDrawn="1"/>
        </p:nvSpPr>
        <p:spPr bwMode="auto">
          <a:xfrm flipV="1">
            <a:off x="609599" y="6228271"/>
            <a:ext cx="11053314" cy="0"/>
          </a:xfrm>
          <a:prstGeom prst="line">
            <a:avLst/>
          </a:prstGeom>
          <a:noFill/>
          <a:ln w="952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it-IT" sz="1799">
              <a:solidFill>
                <a:prstClr val="white"/>
              </a:solidFill>
              <a:latin typeface="EYInterstate Light"/>
            </a:endParaRPr>
          </a:p>
        </p:txBody>
      </p:sp>
    </p:spTree>
    <p:extLst>
      <p:ext uri="{BB962C8B-B14F-4D97-AF65-F5344CB8AC3E}">
        <p14:creationId xmlns:p14="http://schemas.microsoft.com/office/powerpoint/2010/main" val="3782362175"/>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pproved question wide">
    <p:spTree>
      <p:nvGrpSpPr>
        <p:cNvPr id="1" name=""/>
        <p:cNvGrpSpPr/>
        <p:nvPr/>
      </p:nvGrpSpPr>
      <p:grpSpPr>
        <a:xfrm>
          <a:off x="0" y="0"/>
          <a:ext cx="0" cy="0"/>
          <a:chOff x="0" y="0"/>
          <a:chExt cx="0" cy="0"/>
        </a:xfrm>
      </p:grpSpPr>
      <p:pic>
        <p:nvPicPr>
          <p:cNvPr id="81" name="Picture 80">
            <a:extLst>
              <a:ext uri="{FF2B5EF4-FFF2-40B4-BE49-F238E27FC236}">
                <a16:creationId xmlns:a16="http://schemas.microsoft.com/office/drawing/2014/main" id="{719EF7CC-3869-49EA-A421-5628DFF784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441" b="8898"/>
          <a:stretch/>
        </p:blipFill>
        <p:spPr>
          <a:xfrm>
            <a:off x="-48434" y="0"/>
            <a:ext cx="12240435" cy="6997700"/>
          </a:xfrm>
          <a:prstGeom prst="rect">
            <a:avLst/>
          </a:prstGeom>
        </p:spPr>
      </p:pic>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5"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9"/>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5" name="Freeform: Shape 4">
            <a:extLst>
              <a:ext uri="{FF2B5EF4-FFF2-40B4-BE49-F238E27FC236}">
                <a16:creationId xmlns:a16="http://schemas.microsoft.com/office/drawing/2014/main" id="{CAA95478-C099-485F-AD95-A617656C6C7C}"/>
              </a:ext>
            </a:extLst>
          </p:cNvPr>
          <p:cNvSpPr/>
          <p:nvPr/>
        </p:nvSpPr>
        <p:spPr>
          <a:xfrm>
            <a:off x="774295"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3"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8" name="Rectangle 7">
            <a:extLst>
              <a:ext uri="{FF2B5EF4-FFF2-40B4-BE49-F238E27FC236}">
                <a16:creationId xmlns:a16="http://schemas.microsoft.com/office/drawing/2014/main" id="{CA19C19A-DF4A-462E-8747-7A0481AECD3C}"/>
              </a:ext>
            </a:extLst>
          </p:cNvPr>
          <p:cNvSpPr/>
          <p:nvPr userDrawn="1"/>
        </p:nvSpPr>
        <p:spPr>
          <a:xfrm>
            <a:off x="705250" y="1900892"/>
            <a:ext cx="5286029" cy="2120863"/>
          </a:xfrm>
          <a:prstGeom prst="rect">
            <a:avLst/>
          </a:prstGeom>
          <a:solidFill>
            <a:schemeClr val="bg1">
              <a:alpha val="6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it-IT" sz="1199">
              <a:solidFill>
                <a:schemeClr val="tx1"/>
              </a:solidFill>
            </a:endParaRPr>
          </a:p>
        </p:txBody>
      </p:sp>
      <p:sp>
        <p:nvSpPr>
          <p:cNvPr id="9" name="Right Triangle 8">
            <a:extLst>
              <a:ext uri="{FF2B5EF4-FFF2-40B4-BE49-F238E27FC236}">
                <a16:creationId xmlns:a16="http://schemas.microsoft.com/office/drawing/2014/main" id="{22BB47AC-B221-4CB9-BCAF-5061C4A65C76}"/>
              </a:ext>
            </a:extLst>
          </p:cNvPr>
          <p:cNvSpPr/>
          <p:nvPr userDrawn="1"/>
        </p:nvSpPr>
        <p:spPr>
          <a:xfrm flipH="1">
            <a:off x="715865" y="932399"/>
            <a:ext cx="5238438" cy="963523"/>
          </a:xfrm>
          <a:prstGeom prst="rtTriangle">
            <a:avLst/>
          </a:prstGeom>
          <a:solidFill>
            <a:schemeClr val="bg1">
              <a:alpha val="6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35" tIns="45667" rIns="91335" bIns="45667" numCol="1" spcCol="0" rtlCol="0" fromWordArt="0" anchor="t" anchorCtr="0" forceAA="0" compatLnSpc="1">
            <a:prstTxWarp prst="textNoShape">
              <a:avLst/>
            </a:prstTxWarp>
            <a:noAutofit/>
          </a:bodyPr>
          <a:lstStyle/>
          <a:p>
            <a:pPr lvl="0" algn="ctr"/>
            <a:endParaRPr lang="it-IT" sz="1199">
              <a:solidFill>
                <a:schemeClr val="tx1"/>
              </a:solidFill>
            </a:endParaRPr>
          </a:p>
        </p:txBody>
      </p:sp>
      <p:sp>
        <p:nvSpPr>
          <p:cNvPr id="18" name="Title 1"/>
          <p:cNvSpPr>
            <a:spLocks noGrp="1"/>
          </p:cNvSpPr>
          <p:nvPr userDrawn="1">
            <p:ph type="ctrTitle"/>
          </p:nvPr>
        </p:nvSpPr>
        <p:spPr>
          <a:xfrm>
            <a:off x="944388" y="2158329"/>
            <a:ext cx="4781392" cy="860400"/>
          </a:xfrm>
          <a:prstGeom prst="rect">
            <a:avLst/>
          </a:prstGeom>
        </p:spPr>
        <p:txBody>
          <a:bodyPr/>
          <a:lstStyle>
            <a:lvl1pPr>
              <a:defRPr sz="2997"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1" y="3200329"/>
            <a:ext cx="4805525" cy="645742"/>
          </a:xfrm>
          <a:prstGeom prst="rect">
            <a:avLst/>
          </a:prstGeom>
        </p:spPr>
        <p:txBody>
          <a:bodyPr/>
          <a:lstStyle>
            <a:lvl1pPr marL="0" indent="0" algn="l">
              <a:buNone/>
              <a:defRPr sz="1998">
                <a:solidFill>
                  <a:schemeClr val="tx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340" indent="0" algn="ctr">
              <a:buNone/>
              <a:defRPr>
                <a:solidFill>
                  <a:schemeClr val="tx1">
                    <a:tint val="75000"/>
                  </a:schemeClr>
                </a:solidFill>
              </a:defRPr>
            </a:lvl3pPr>
            <a:lvl4pPr marL="1370009" indent="0" algn="ctr">
              <a:buNone/>
              <a:defRPr>
                <a:solidFill>
                  <a:schemeClr val="tx1">
                    <a:tint val="75000"/>
                  </a:schemeClr>
                </a:solidFill>
              </a:defRPr>
            </a:lvl4pPr>
            <a:lvl5pPr marL="1826679" indent="0" algn="ctr">
              <a:buNone/>
              <a:defRPr>
                <a:solidFill>
                  <a:schemeClr val="tx1">
                    <a:tint val="75000"/>
                  </a:schemeClr>
                </a:solidFill>
              </a:defRPr>
            </a:lvl5pPr>
            <a:lvl6pPr marL="2283349" indent="0" algn="ctr">
              <a:buNone/>
              <a:defRPr>
                <a:solidFill>
                  <a:schemeClr val="tx1">
                    <a:tint val="75000"/>
                  </a:schemeClr>
                </a:solidFill>
              </a:defRPr>
            </a:lvl6pPr>
            <a:lvl7pPr marL="2740019" indent="0" algn="ctr">
              <a:buNone/>
              <a:defRPr>
                <a:solidFill>
                  <a:schemeClr val="tx1">
                    <a:tint val="75000"/>
                  </a:schemeClr>
                </a:solidFill>
              </a:defRPr>
            </a:lvl7pPr>
            <a:lvl8pPr marL="3196689" indent="0" algn="ctr">
              <a:buNone/>
              <a:defRPr>
                <a:solidFill>
                  <a:schemeClr val="tx1">
                    <a:tint val="75000"/>
                  </a:schemeClr>
                </a:solidFill>
              </a:defRPr>
            </a:lvl8pPr>
            <a:lvl9pPr marL="3653358"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79676413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323226887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a:t>Chapter Title</a:t>
            </a:r>
          </a:p>
          <a:p>
            <a:pPr lvl="0"/>
            <a:r>
              <a:rPr lang="en-US" noProof="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6136918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026555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a:t>Click icon to add picture</a:t>
            </a:r>
          </a:p>
        </p:txBody>
      </p:sp>
    </p:spTree>
    <p:extLst>
      <p:ext uri="{BB962C8B-B14F-4D97-AF65-F5344CB8AC3E}">
        <p14:creationId xmlns:p14="http://schemas.microsoft.com/office/powerpoint/2010/main" val="26358316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23697577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200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75113228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200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a:ln>
                <a:noFill/>
              </a:ln>
              <a:solidFill>
                <a:srgbClr val="2E2E38"/>
              </a:solidFill>
              <a:effectLst/>
              <a:uLnTx/>
              <a:uFillTx/>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vert="horz"/>
          <a:lstStyle>
            <a:lvl1pPr>
              <a:defRPr sz="2599">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3372299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18537438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413708177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363587450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87179950"/>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17890722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5401E08-5ED5-47C4-B6E3-02E2C2FF65E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hidden">
          <a:xfrm>
            <a:off x="-7682" y="0"/>
            <a:ext cx="12199683" cy="6858000"/>
          </a:xfrm>
          <a:prstGeom prst="rect">
            <a:avLst/>
          </a:prstGeom>
        </p:spPr>
      </p:pic>
      <p:grpSp>
        <p:nvGrpSpPr>
          <p:cNvPr id="3" name="Group 4">
            <a:extLst>
              <a:ext uri="{FF2B5EF4-FFF2-40B4-BE49-F238E27FC236}">
                <a16:creationId xmlns:a16="http://schemas.microsoft.com/office/drawing/2014/main" id="{C92B359F-907C-4E29-8575-2FD22FE4B3FB}"/>
              </a:ext>
            </a:extLst>
          </p:cNvPr>
          <p:cNvGrpSpPr>
            <a:grpSpLocks noChangeAspect="1"/>
          </p:cNvGrpSpPr>
          <p:nvPr userDrawn="1"/>
        </p:nvGrpSpPr>
        <p:grpSpPr bwMode="auto">
          <a:xfrm>
            <a:off x="11281251" y="6356352"/>
            <a:ext cx="303055" cy="311150"/>
            <a:chOff x="7110" y="4004"/>
            <a:chExt cx="191" cy="196"/>
          </a:xfrm>
        </p:grpSpPr>
        <p:sp>
          <p:nvSpPr>
            <p:cNvPr id="4" name="Freeform 5">
              <a:extLst>
                <a:ext uri="{FF2B5EF4-FFF2-40B4-BE49-F238E27FC236}">
                  <a16:creationId xmlns:a16="http://schemas.microsoft.com/office/drawing/2014/main" id="{9EC11DC5-C3FD-42A7-AD28-77B66518C58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5" name="Freeform 6">
              <a:extLst>
                <a:ext uri="{FF2B5EF4-FFF2-40B4-BE49-F238E27FC236}">
                  <a16:creationId xmlns:a16="http://schemas.microsoft.com/office/drawing/2014/main" id="{E190B437-F1FE-4546-8A4A-E07F59472D8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sp>
          <p:nvSpPr>
            <p:cNvPr id="6" name="Freeform 7">
              <a:extLst>
                <a:ext uri="{FF2B5EF4-FFF2-40B4-BE49-F238E27FC236}">
                  <a16:creationId xmlns:a16="http://schemas.microsoft.com/office/drawing/2014/main" id="{45B18FE7-F72E-4C0C-B3A5-D4D571A2B17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5"/>
            </a:p>
          </p:txBody>
        </p:sp>
      </p:grpSp>
      <p:sp>
        <p:nvSpPr>
          <p:cNvPr id="8" name="Slide Number Placeholder 5">
            <a:extLst>
              <a:ext uri="{FF2B5EF4-FFF2-40B4-BE49-F238E27FC236}">
                <a16:creationId xmlns:a16="http://schemas.microsoft.com/office/drawing/2014/main" id="{FA999043-D50A-454E-AE6F-ECE68799F7E5}"/>
              </a:ext>
            </a:extLst>
          </p:cNvPr>
          <p:cNvSpPr txBox="1">
            <a:spLocks/>
          </p:cNvSpPr>
          <p:nvPr userDrawn="1"/>
        </p:nvSpPr>
        <p:spPr>
          <a:xfrm>
            <a:off x="611277" y="6473800"/>
            <a:ext cx="662721" cy="180000"/>
          </a:xfrm>
          <a:prstGeom prst="rect">
            <a:avLst/>
          </a:prstGeom>
        </p:spPr>
        <p:txBody>
          <a:bodyPr vert="horz" lIns="0" tIns="0" rIns="0" bIns="0" rtlCol="0" anchor="ctr"/>
          <a:lstStyle>
            <a:defPPr>
              <a:defRPr lang="en-US"/>
            </a:defPPr>
            <a:lvl1pPr marL="0" algn="l" defTabSz="913340" rtl="0" eaLnBrk="1" latinLnBrk="0" hangingPunct="1">
              <a:defRPr lang="en-IN" sz="799"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algn="l" defTabSz="911865" rtl="0" eaLnBrk="1" latinLnBrk="0" hangingPunct="1"/>
            <a:r>
              <a:rPr lang="en-GB" sz="799" kern="1200">
                <a:solidFill>
                  <a:schemeClr val="bg1"/>
                </a:solidFill>
                <a:latin typeface="EYInterstate" panose="02000503020000020004" pitchFamily="2" charset="0"/>
                <a:ea typeface="+mn-ea"/>
                <a:cs typeface="+mn-cs"/>
              </a:rPr>
              <a:t>Page </a:t>
            </a:r>
            <a:fld id="{F1BC30E3-FFE5-4B91-AA19-87A149EBB9EE}" type="slidenum">
              <a:rPr lang="en-IN" sz="799" kern="1200" smtClean="0">
                <a:solidFill>
                  <a:schemeClr val="bg1"/>
                </a:solidFill>
                <a:latin typeface="EYInterstate" panose="02000503020000020004" pitchFamily="2" charset="0"/>
                <a:ea typeface="+mn-ea"/>
                <a:cs typeface="+mn-cs"/>
              </a:rPr>
              <a:pPr marL="0" algn="l" defTabSz="911865" rtl="0" eaLnBrk="1" latinLnBrk="0" hangingPunct="1"/>
              <a:t>‹#›</a:t>
            </a:fld>
            <a:endParaRPr lang="en-IN" sz="799" kern="1200">
              <a:solidFill>
                <a:schemeClr val="bg1"/>
              </a:solidFill>
              <a:latin typeface="EYInterstate" panose="02000503020000020004" pitchFamily="2" charset="0"/>
              <a:ea typeface="+mn-ea"/>
              <a:cs typeface="+mn-cs"/>
            </a:endParaRPr>
          </a:p>
        </p:txBody>
      </p:sp>
      <p:cxnSp>
        <p:nvCxnSpPr>
          <p:cNvPr id="10" name="Straight Connector 9">
            <a:extLst>
              <a:ext uri="{FF2B5EF4-FFF2-40B4-BE49-F238E27FC236}">
                <a16:creationId xmlns:a16="http://schemas.microsoft.com/office/drawing/2014/main" id="{72C3CF31-4527-4499-BE34-1C7EB01AAC0B}"/>
              </a:ext>
            </a:extLst>
          </p:cNvPr>
          <p:cNvCxnSpPr>
            <a:cxnSpLocks/>
          </p:cNvCxnSpPr>
          <p:nvPr userDrawn="1"/>
        </p:nvCxnSpPr>
        <p:spPr>
          <a:xfrm>
            <a:off x="609853" y="971486"/>
            <a:ext cx="537248" cy="0"/>
          </a:xfrm>
          <a:prstGeom prst="line">
            <a:avLst/>
          </a:prstGeom>
          <a:ln w="381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12" name="Title 17">
            <a:extLst>
              <a:ext uri="{FF2B5EF4-FFF2-40B4-BE49-F238E27FC236}">
                <a16:creationId xmlns:a16="http://schemas.microsoft.com/office/drawing/2014/main" id="{17A39989-9873-4CCA-9E84-61A53D5AB33D}"/>
              </a:ext>
            </a:extLst>
          </p:cNvPr>
          <p:cNvSpPr>
            <a:spLocks noGrp="1"/>
          </p:cNvSpPr>
          <p:nvPr>
            <p:ph type="title"/>
          </p:nvPr>
        </p:nvSpPr>
        <p:spPr>
          <a:xfrm>
            <a:off x="600082" y="208475"/>
            <a:ext cx="10972800" cy="696400"/>
          </a:xfrm>
        </p:spPr>
        <p:txBody>
          <a:bodyPr anchor="b"/>
          <a:lstStyle>
            <a:lvl1pPr marL="0" algn="l" defTabSz="827839" rtl="0" eaLnBrk="1" latinLnBrk="0" hangingPunct="1">
              <a:lnSpc>
                <a:spcPct val="100000"/>
              </a:lnSpc>
              <a:spcBef>
                <a:spcPct val="0"/>
              </a:spcBef>
              <a:buNone/>
              <a:defRPr lang="en-IN" sz="2097" b="0" kern="1200" dirty="0">
                <a:solidFill>
                  <a:schemeClr val="bg1"/>
                </a:solidFill>
                <a:latin typeface="EYInterstate Light" panose="02000506000000020004" pitchFamily="2" charset="0"/>
                <a:ea typeface="+mj-ea"/>
                <a:cs typeface="Arial" pitchFamily="34" charset="0"/>
              </a:defRPr>
            </a:lvl1pPr>
          </a:lstStyle>
          <a:p>
            <a:r>
              <a:rPr lang="en-US"/>
              <a:t>Click to edit Master title style</a:t>
            </a:r>
            <a:endParaRPr lang="en-IN"/>
          </a:p>
        </p:txBody>
      </p:sp>
    </p:spTree>
    <p:extLst>
      <p:ext uri="{BB962C8B-B14F-4D97-AF65-F5344CB8AC3E}">
        <p14:creationId xmlns:p14="http://schemas.microsoft.com/office/powerpoint/2010/main" val="4265509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48726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228063511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3" name="Title 1"/>
          <p:cNvSpPr>
            <a:spLocks noGrp="1"/>
          </p:cNvSpPr>
          <p:nvPr>
            <p:ph type="ctrTitle"/>
          </p:nvPr>
        </p:nvSpPr>
        <p:spPr>
          <a:xfrm>
            <a:off x="899860" y="1954221"/>
            <a:ext cx="4326679" cy="979702"/>
          </a:xfrm>
        </p:spPr>
        <p:txBody>
          <a:bodyPr vert="horz"/>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78685979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a:xfrm>
            <a:off x="5896030" y="6470900"/>
            <a:ext cx="399940" cy="180000"/>
          </a:xfrm>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667723"/>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0">
            <a:extLst>
              <a:ext uri="{FF2B5EF4-FFF2-40B4-BE49-F238E27FC236}">
                <a16:creationId xmlns:a16="http://schemas.microsoft.com/office/drawing/2014/main" id="{D46F7972-8C09-42B7-969F-13E25F228D0E}"/>
              </a:ext>
            </a:extLst>
          </p:cNvPr>
          <p:cNvSpPr>
            <a:spLocks noChangeShapeType="1"/>
          </p:cNvSpPr>
          <p:nvPr userDrawn="1"/>
        </p:nvSpPr>
        <p:spPr bwMode="auto">
          <a:xfrm flipV="1">
            <a:off x="609599" y="6228271"/>
            <a:ext cx="11053314" cy="0"/>
          </a:xfrm>
          <a:prstGeom prst="line">
            <a:avLst/>
          </a:prstGeom>
          <a:noFill/>
          <a:ln w="952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it-IT" sz="1799">
              <a:solidFill>
                <a:prstClr val="white"/>
              </a:solidFill>
              <a:latin typeface="EYInterstate Light"/>
            </a:endParaRPr>
          </a:p>
        </p:txBody>
      </p:sp>
    </p:spTree>
    <p:extLst>
      <p:ext uri="{BB962C8B-B14F-4D97-AF65-F5344CB8AC3E}">
        <p14:creationId xmlns:p14="http://schemas.microsoft.com/office/powerpoint/2010/main" val="442582853"/>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pic>
        <p:nvPicPr>
          <p:cNvPr id="2" name="Picture 12" descr="A picture containing indoor&#10;&#10;Description automatically generated">
            <a:extLst>
              <a:ext uri="{FF2B5EF4-FFF2-40B4-BE49-F238E27FC236}">
                <a16:creationId xmlns:a16="http://schemas.microsoft.com/office/drawing/2014/main" id="{6B51A3A5-213E-4971-8BAD-983BAA7370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0" y="0"/>
            <a:ext cx="6096000" cy="6858000"/>
          </a:xfrm>
          <a:prstGeom prst="rect">
            <a:avLst/>
          </a:prstGeom>
        </p:spPr>
      </p:pic>
    </p:spTree>
    <p:extLst>
      <p:ext uri="{BB962C8B-B14F-4D97-AF65-F5344CB8AC3E}">
        <p14:creationId xmlns:p14="http://schemas.microsoft.com/office/powerpoint/2010/main" val="726412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323226887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352" imgH="318" progId="TCLayout.ActiveDocument.1">
                  <p:embed/>
                </p:oleObj>
              </mc:Choice>
              <mc:Fallback>
                <p:oleObj name="think-cell Slid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a:t>Chapter Title</a:t>
            </a:r>
          </a:p>
          <a:p>
            <a:pPr lvl="0"/>
            <a:r>
              <a:rPr lang="en-US" noProof="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091398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3_Blank_with_footer">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a:t>Click icon to add picture</a:t>
            </a:r>
          </a:p>
        </p:txBody>
      </p:sp>
    </p:spTree>
    <p:extLst>
      <p:ext uri="{BB962C8B-B14F-4D97-AF65-F5344CB8AC3E}">
        <p14:creationId xmlns:p14="http://schemas.microsoft.com/office/powerpoint/2010/main" val="25428115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11857057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200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75113228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200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a:ln>
                <a:noFill/>
              </a:ln>
              <a:solidFill>
                <a:srgbClr val="2E2E38"/>
              </a:solidFill>
              <a:effectLst/>
              <a:uLnTx/>
              <a:uFillTx/>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vert="horz"/>
          <a:lstStyle>
            <a:lvl1pPr>
              <a:defRPr sz="2599">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64705564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35625480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33699731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ast cover">
    <p:spTree>
      <p:nvGrpSpPr>
        <p:cNvPr id="1" name=""/>
        <p:cNvGrpSpPr/>
        <p:nvPr/>
      </p:nvGrpSpPr>
      <p:grpSpPr>
        <a:xfrm>
          <a:off x="0" y="0"/>
          <a:ext cx="0" cy="0"/>
          <a:chOff x="0" y="0"/>
          <a:chExt cx="0" cy="0"/>
        </a:xfrm>
      </p:grpSpPr>
      <p:pic>
        <p:nvPicPr>
          <p:cNvPr id="14" name="Content Placeholder 3">
            <a:extLst>
              <a:ext uri="{FF2B5EF4-FFF2-40B4-BE49-F238E27FC236}">
                <a16:creationId xmlns:a16="http://schemas.microsoft.com/office/drawing/2014/main" id="{7E26409B-D53E-497C-A444-532BDACD400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1999" cy="6858000"/>
          </a:xfrm>
          <a:prstGeom prst="rect">
            <a:avLst/>
          </a:prstGeom>
        </p:spPr>
      </p:pic>
      <p:pic>
        <p:nvPicPr>
          <p:cNvPr id="5122" name="Picture 2" descr="Coca Cola: CEO prevede tagli alla produzione fino al 2022 - SosTrader">
            <a:extLst>
              <a:ext uri="{FF2B5EF4-FFF2-40B4-BE49-F238E27FC236}">
                <a16:creationId xmlns:a16="http://schemas.microsoft.com/office/drawing/2014/main" id="{71557FF9-59D4-458B-9CEC-70656CDBFAE9}"/>
              </a:ext>
            </a:extLst>
          </p:cNvPr>
          <p:cNvPicPr>
            <a:picLocks noChangeAspect="1" noChangeArrowheads="1"/>
          </p:cNvPicPr>
          <p:nvPr userDrawn="1"/>
        </p:nvPicPr>
        <p:blipFill rotWithShape="1">
          <a:blip r:embed="rId3">
            <a:alphaModFix/>
            <a:extLst>
              <a:ext uri="{BEBA8EAE-BF5A-486C-A8C5-ECC9F3942E4B}">
                <a14:imgProps xmlns:a14="http://schemas.microsoft.com/office/drawing/2010/main">
                  <a14:imgLayer r:embed="rId4">
                    <a14:imgEffect>
                      <a14:brightnessContrast bright="-29000"/>
                    </a14:imgEffect>
                  </a14:imgLayer>
                </a14:imgProps>
              </a:ext>
              <a:ext uri="{28A0092B-C50C-407E-A947-70E740481C1C}">
                <a14:useLocalDpi xmlns:a14="http://schemas.microsoft.com/office/drawing/2010/main" val="0"/>
              </a:ext>
            </a:extLst>
          </a:blip>
          <a:srcRect l="994" t="8677" r="981" b="8677"/>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3027174"/>
      </p:ext>
    </p:extLst>
  </p:cSld>
  <p:clrMapOvr>
    <a:masterClrMapping/>
  </p:clrMapOvr>
  <p:extLst>
    <p:ext uri="{DCECCB84-F9BA-43D5-87BE-67443E8EF086}">
      <p15:sldGuideLst xmlns:p15="http://schemas.microsoft.com/office/powerpoint/2012/main">
        <p15:guide id="1" pos="3364">
          <p15:clr>
            <a:srgbClr val="FBAE40"/>
          </p15:clr>
        </p15:guide>
        <p15:guide id="2" orient="horz" pos="2636">
          <p15:clr>
            <a:srgbClr val="FBAE40"/>
          </p15:clr>
        </p15:guide>
        <p15:guide id="3" orient="horz" pos="1502">
          <p15:clr>
            <a:srgbClr val="FBAE40"/>
          </p15:clr>
        </p15:guide>
        <p15:guide id="4" orient="horz" pos="3543">
          <p15:clr>
            <a:srgbClr val="FBAE40"/>
          </p15:clr>
        </p15:guide>
        <p15:guide id="5" pos="60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285466122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76424984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27966477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81478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9A4F40-859E-4EF4-95F4-1C556D78B4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35" y="0"/>
            <a:ext cx="12186330" cy="6858000"/>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1"/>
            </p:custDataLst>
            <p:extLst>
              <p:ext uri="{D42A27DB-BD31-4B8C-83A1-F6EECF244321}">
                <p14:modId xmlns:p14="http://schemas.microsoft.com/office/powerpoint/2010/main" val="68635079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sp>
        <p:nvSpPr>
          <p:cNvPr id="3" name="Title 1"/>
          <p:cNvSpPr>
            <a:spLocks noGrp="1"/>
          </p:cNvSpPr>
          <p:nvPr>
            <p:ph type="ctrTitle" hasCustomPrompt="1"/>
          </p:nvPr>
        </p:nvSpPr>
        <p:spPr>
          <a:xfrm>
            <a:off x="89986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pic>
        <p:nvPicPr>
          <p:cNvPr id="16" name="Grafik 15">
            <a:extLst>
              <a:ext uri="{FF2B5EF4-FFF2-40B4-BE49-F238E27FC236}">
                <a16:creationId xmlns:a16="http://schemas.microsoft.com/office/drawing/2014/main" id="{1BDD42D0-6BC2-486E-A22E-2913772944C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29529" y="3883152"/>
            <a:ext cx="5514019" cy="643129"/>
          </a:xfrm>
          <a:prstGeom prst="rect">
            <a:avLst/>
          </a:prstGeom>
        </p:spPr>
      </p:pic>
    </p:spTree>
    <p:extLst>
      <p:ext uri="{BB962C8B-B14F-4D97-AF65-F5344CB8AC3E}">
        <p14:creationId xmlns:p14="http://schemas.microsoft.com/office/powerpoint/2010/main" val="121333958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22 May 2024</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517960000"/>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1"/>
            </p:custDataLst>
            <p:extLst>
              <p:ext uri="{D42A27DB-BD31-4B8C-83A1-F6EECF244321}">
                <p14:modId xmlns:p14="http://schemas.microsoft.com/office/powerpoint/2010/main" val="26100907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Folie" r:id="rId3" imgW="352" imgH="318" progId="TCLayout.ActiveDocument.1">
                  <p:embed/>
                </p:oleObj>
              </mc:Choice>
              <mc:Fallback>
                <p:oleObj name="think-cell Folie" r:id="rId3"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164"/>
            <a:ext cx="1219200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025" y="3789040"/>
            <a:ext cx="4535597" cy="1055708"/>
          </a:xfrm>
          <a:prstGeom prst="rect">
            <a:avLst/>
          </a:prstGeom>
        </p:spPr>
        <p:txBody>
          <a:bodyPr anchor="b" anchorCtr="0">
            <a:noAutofit/>
          </a:bodyPr>
          <a:lstStyle>
            <a:lvl1pPr marL="0" indent="0">
              <a:buNone/>
              <a:defRPr sz="2999"/>
            </a:lvl1pPr>
          </a:lstStyle>
          <a:p>
            <a:pPr lvl="0"/>
            <a:r>
              <a:rPr lang="en-US" noProof="0"/>
              <a:t>Chapter Title</a:t>
            </a:r>
          </a:p>
          <a:p>
            <a:pPr lvl="0"/>
            <a:r>
              <a:rPr lang="en-US" noProof="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600" y="5085184"/>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0402347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8132231"/>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E8DCEC99-3975-402E-836C-A005CC9EA577}" type="datetime3">
              <a:rPr lang="en-US" smtClean="0"/>
              <a:t>22 May 2024</a:t>
            </a:fld>
            <a:endParaRPr lang="en-US"/>
          </a:p>
        </p:txBody>
      </p:sp>
      <p:sp>
        <p:nvSpPr>
          <p:cNvPr id="4" name="Fußzeilenplatzhalter 3"/>
          <p:cNvSpPr>
            <a:spLocks noGrp="1"/>
          </p:cNvSpPr>
          <p:nvPr>
            <p:ph type="ftr" sz="quarter" idx="11"/>
          </p:nvPr>
        </p:nvSpPr>
        <p:spPr/>
        <p:txBody>
          <a:bodyPr/>
          <a:lstStyle/>
          <a:p>
            <a:r>
              <a:rPr lang="en-US"/>
              <a:t>EY DE PPT Gallery</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a:t>Click icon to add picture</a:t>
            </a:r>
          </a:p>
        </p:txBody>
      </p:sp>
    </p:spTree>
    <p:extLst>
      <p:ext uri="{BB962C8B-B14F-4D97-AF65-F5344CB8AC3E}">
        <p14:creationId xmlns:p14="http://schemas.microsoft.com/office/powerpoint/2010/main" val="32904399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B630CFFD-C074-452D-9993-6A513744EC12}" type="datetime3">
              <a:rPr lang="en-US" smtClean="0"/>
              <a:t>22 May 2024</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itle Placeholder 1">
            <a:extLst>
              <a:ext uri="{FF2B5EF4-FFF2-40B4-BE49-F238E27FC236}">
                <a16:creationId xmlns:a16="http://schemas.microsoft.com/office/drawing/2014/main" id="{73848B0B-B80F-44E5-9F04-26FD9ABAEB97}"/>
              </a:ext>
            </a:extLst>
          </p:cNvPr>
          <p:cNvSpPr>
            <a:spLocks noGrp="1"/>
          </p:cNvSpPr>
          <p:nvPr>
            <p:ph type="title"/>
          </p:nvPr>
        </p:nvSpPr>
        <p:spPr>
          <a:xfrm>
            <a:off x="4994199" y="411875"/>
            <a:ext cx="6552645" cy="826616"/>
          </a:xfrm>
          <a:prstGeom prst="rect">
            <a:avLst/>
          </a:prstGeom>
        </p:spPr>
        <p:txBody>
          <a:bodyPr vert="horz" lIns="0" tIns="0" rIns="0" bIns="0" rtlCol="0" anchor="b" anchorCtr="0">
            <a:noAutofit/>
          </a:bodyPr>
          <a:lstStyle/>
          <a:p>
            <a:r>
              <a:rPr lang="en-US" noProof="0"/>
              <a:t>Click to edit Master title style</a:t>
            </a:r>
          </a:p>
        </p:txBody>
      </p:sp>
    </p:spTree>
    <p:extLst>
      <p:ext uri="{BB962C8B-B14F-4D97-AF65-F5344CB8AC3E}">
        <p14:creationId xmlns:p14="http://schemas.microsoft.com/office/powerpoint/2010/main" val="4143935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or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014AC2-37FD-43CF-9E8C-0DC371AAF02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18"/>
          <a:stretch/>
        </p:blipFill>
        <p:spPr bwMode="hidden">
          <a:xfrm flipH="1">
            <a:off x="0" y="0"/>
            <a:ext cx="12192000" cy="6858000"/>
          </a:xfrm>
          <a:prstGeom prst="rect">
            <a:avLst/>
          </a:prstGeom>
        </p:spPr>
      </p:pic>
      <p:grpSp>
        <p:nvGrpSpPr>
          <p:cNvPr id="28" name="Group 27">
            <a:extLst>
              <a:ext uri="{FF2B5EF4-FFF2-40B4-BE49-F238E27FC236}">
                <a16:creationId xmlns:a16="http://schemas.microsoft.com/office/drawing/2014/main" id="{69A3E031-12CB-48C5-88DF-5EDBBADE2483}"/>
              </a:ext>
            </a:extLst>
          </p:cNvPr>
          <p:cNvGrpSpPr/>
          <p:nvPr userDrawn="1"/>
        </p:nvGrpSpPr>
        <p:grpSpPr>
          <a:xfrm>
            <a:off x="10646835" y="5238705"/>
            <a:ext cx="1099892" cy="1288660"/>
            <a:chOff x="45677138" y="16217900"/>
            <a:chExt cx="3949700" cy="4627563"/>
          </a:xfrm>
        </p:grpSpPr>
        <p:sp>
          <p:nvSpPr>
            <p:cNvPr id="29" name="Freeform 5">
              <a:extLst>
                <a:ext uri="{FF2B5EF4-FFF2-40B4-BE49-F238E27FC236}">
                  <a16:creationId xmlns:a16="http://schemas.microsoft.com/office/drawing/2014/main" id="{E8C1F250-A3C5-4F97-89FF-E91B48854057}"/>
                </a:ext>
              </a:extLst>
            </p:cNvPr>
            <p:cNvSpPr>
              <a:spLocks/>
            </p:cNvSpPr>
            <p:nvPr/>
          </p:nvSpPr>
          <p:spPr bwMode="auto">
            <a:xfrm>
              <a:off x="45678726" y="16217900"/>
              <a:ext cx="3163888" cy="1154113"/>
            </a:xfrm>
            <a:custGeom>
              <a:avLst/>
              <a:gdLst>
                <a:gd name="T0" fmla="*/ 3985 w 3985"/>
                <a:gd name="T1" fmla="*/ 0 h 1455"/>
                <a:gd name="T2" fmla="*/ 0 w 3985"/>
                <a:gd name="T3" fmla="*/ 1455 h 1455"/>
                <a:gd name="T4" fmla="*/ 3985 w 3985"/>
                <a:gd name="T5" fmla="*/ 751 h 1455"/>
                <a:gd name="T6" fmla="*/ 3985 w 3985"/>
                <a:gd name="T7" fmla="*/ 0 h 1455"/>
              </a:gdLst>
              <a:ahLst/>
              <a:cxnLst>
                <a:cxn ang="0">
                  <a:pos x="T0" y="T1"/>
                </a:cxn>
                <a:cxn ang="0">
                  <a:pos x="T2" y="T3"/>
                </a:cxn>
                <a:cxn ang="0">
                  <a:pos x="T4" y="T5"/>
                </a:cxn>
                <a:cxn ang="0">
                  <a:pos x="T6" y="T7"/>
                </a:cxn>
              </a:cxnLst>
              <a:rect l="0" t="0" r="r" b="b"/>
              <a:pathLst>
                <a:path w="3985" h="1455">
                  <a:moveTo>
                    <a:pt x="3985" y="0"/>
                  </a:moveTo>
                  <a:lnTo>
                    <a:pt x="0" y="1455"/>
                  </a:lnTo>
                  <a:lnTo>
                    <a:pt x="3985" y="751"/>
                  </a:lnTo>
                  <a:lnTo>
                    <a:pt x="3985" y="0"/>
                  </a:lnTo>
                  <a:close/>
                </a:path>
              </a:pathLst>
            </a:custGeom>
            <a:solidFill>
              <a:srgbClr val="FFD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600"/>
            </a:p>
          </p:txBody>
        </p:sp>
        <p:sp>
          <p:nvSpPr>
            <p:cNvPr id="30" name="Freeform 6">
              <a:extLst>
                <a:ext uri="{FF2B5EF4-FFF2-40B4-BE49-F238E27FC236}">
                  <a16:creationId xmlns:a16="http://schemas.microsoft.com/office/drawing/2014/main" id="{11000276-4F31-4343-BC5C-998822A49BA8}"/>
                </a:ext>
              </a:extLst>
            </p:cNvPr>
            <p:cNvSpPr>
              <a:spLocks noEditPoints="1"/>
            </p:cNvSpPr>
            <p:nvPr/>
          </p:nvSpPr>
          <p:spPr bwMode="auto">
            <a:xfrm>
              <a:off x="45677138" y="17853025"/>
              <a:ext cx="3949700" cy="2992438"/>
            </a:xfrm>
            <a:custGeom>
              <a:avLst/>
              <a:gdLst>
                <a:gd name="T0" fmla="*/ 375 w 4976"/>
                <a:gd name="T1" fmla="*/ 2559 h 3770"/>
                <a:gd name="T2" fmla="*/ 407 w 4976"/>
                <a:gd name="T3" fmla="*/ 2893 h 3770"/>
                <a:gd name="T4" fmla="*/ 244 w 4976"/>
                <a:gd name="T5" fmla="*/ 2916 h 3770"/>
                <a:gd name="T6" fmla="*/ 566 w 4976"/>
                <a:gd name="T7" fmla="*/ 2838 h 3770"/>
                <a:gd name="T8" fmla="*/ 670 w 4976"/>
                <a:gd name="T9" fmla="*/ 2993 h 3770"/>
                <a:gd name="T10" fmla="*/ 1837 w 4976"/>
                <a:gd name="T11" fmla="*/ 2662 h 3770"/>
                <a:gd name="T12" fmla="*/ 1960 w 4976"/>
                <a:gd name="T13" fmla="*/ 2801 h 3770"/>
                <a:gd name="T14" fmla="*/ 1122 w 4976"/>
                <a:gd name="T15" fmla="*/ 2491 h 3770"/>
                <a:gd name="T16" fmla="*/ 1190 w 4976"/>
                <a:gd name="T17" fmla="*/ 2756 h 3770"/>
                <a:gd name="T18" fmla="*/ 1385 w 4976"/>
                <a:gd name="T19" fmla="*/ 2987 h 3770"/>
                <a:gd name="T20" fmla="*/ 1341 w 4976"/>
                <a:gd name="T21" fmla="*/ 2714 h 3770"/>
                <a:gd name="T22" fmla="*/ 3256 w 4976"/>
                <a:gd name="T23" fmla="*/ 2998 h 3770"/>
                <a:gd name="T24" fmla="*/ 3477 w 4976"/>
                <a:gd name="T25" fmla="*/ 2815 h 3770"/>
                <a:gd name="T26" fmla="*/ 3384 w 4976"/>
                <a:gd name="T27" fmla="*/ 2788 h 3770"/>
                <a:gd name="T28" fmla="*/ 3319 w 4976"/>
                <a:gd name="T29" fmla="*/ 2714 h 3770"/>
                <a:gd name="T30" fmla="*/ 2109 w 4976"/>
                <a:gd name="T31" fmla="*/ 2795 h 3770"/>
                <a:gd name="T32" fmla="*/ 2328 w 4976"/>
                <a:gd name="T33" fmla="*/ 2971 h 3770"/>
                <a:gd name="T34" fmla="*/ 2374 w 4976"/>
                <a:gd name="T35" fmla="*/ 3099 h 3770"/>
                <a:gd name="T36" fmla="*/ 2205 w 4976"/>
                <a:gd name="T37" fmla="*/ 2870 h 3770"/>
                <a:gd name="T38" fmla="*/ 2783 w 4976"/>
                <a:gd name="T39" fmla="*/ 2703 h 3770"/>
                <a:gd name="T40" fmla="*/ 2630 w 4976"/>
                <a:gd name="T41" fmla="*/ 2865 h 3770"/>
                <a:gd name="T42" fmla="*/ 2936 w 4976"/>
                <a:gd name="T43" fmla="*/ 2756 h 3770"/>
                <a:gd name="T44" fmla="*/ 2717 w 4976"/>
                <a:gd name="T45" fmla="*/ 2879 h 3770"/>
                <a:gd name="T46" fmla="*/ 2753 w 4976"/>
                <a:gd name="T47" fmla="*/ 2929 h 3770"/>
                <a:gd name="T48" fmla="*/ 3610 w 4976"/>
                <a:gd name="T49" fmla="*/ 2847 h 3770"/>
                <a:gd name="T50" fmla="*/ 3589 w 4976"/>
                <a:gd name="T51" fmla="*/ 2664 h 3770"/>
                <a:gd name="T52" fmla="*/ 3690 w 4976"/>
                <a:gd name="T53" fmla="*/ 3007 h 3770"/>
                <a:gd name="T54" fmla="*/ 3740 w 4976"/>
                <a:gd name="T55" fmla="*/ 2754 h 3770"/>
                <a:gd name="T56" fmla="*/ 4686 w 4976"/>
                <a:gd name="T57" fmla="*/ 2820 h 3770"/>
                <a:gd name="T58" fmla="*/ 4400 w 4976"/>
                <a:gd name="T59" fmla="*/ 2712 h 3770"/>
                <a:gd name="T60" fmla="*/ 4595 w 4976"/>
                <a:gd name="T61" fmla="*/ 2998 h 3770"/>
                <a:gd name="T62" fmla="*/ 4252 w 4976"/>
                <a:gd name="T63" fmla="*/ 2874 h 3770"/>
                <a:gd name="T64" fmla="*/ 4197 w 4976"/>
                <a:gd name="T65" fmla="*/ 2986 h 3770"/>
                <a:gd name="T66" fmla="*/ 3971 w 4976"/>
                <a:gd name="T67" fmla="*/ 3000 h 3770"/>
                <a:gd name="T68" fmla="*/ 4021 w 4976"/>
                <a:gd name="T69" fmla="*/ 2920 h 3770"/>
                <a:gd name="T70" fmla="*/ 4830 w 4976"/>
                <a:gd name="T71" fmla="*/ 2641 h 3770"/>
                <a:gd name="T72" fmla="*/ 1570 w 4976"/>
                <a:gd name="T73" fmla="*/ 2998 h 3770"/>
                <a:gd name="T74" fmla="*/ 3893 w 4976"/>
                <a:gd name="T75" fmla="*/ 3334 h 3770"/>
                <a:gd name="T76" fmla="*/ 4044 w 4976"/>
                <a:gd name="T77" fmla="*/ 3628 h 3770"/>
                <a:gd name="T78" fmla="*/ 4005 w 4976"/>
                <a:gd name="T79" fmla="*/ 3343 h 3770"/>
                <a:gd name="T80" fmla="*/ 1010 w 4976"/>
                <a:gd name="T81" fmla="*/ 3348 h 3770"/>
                <a:gd name="T82" fmla="*/ 1083 w 4976"/>
                <a:gd name="T83" fmla="*/ 3366 h 3770"/>
                <a:gd name="T84" fmla="*/ 325 w 4976"/>
                <a:gd name="T85" fmla="*/ 3441 h 3770"/>
                <a:gd name="T86" fmla="*/ 500 w 4976"/>
                <a:gd name="T87" fmla="*/ 3503 h 3770"/>
                <a:gd name="T88" fmla="*/ 811 w 4976"/>
                <a:gd name="T89" fmla="*/ 3503 h 3770"/>
                <a:gd name="T90" fmla="*/ 603 w 4976"/>
                <a:gd name="T91" fmla="*/ 3521 h 3770"/>
                <a:gd name="T92" fmla="*/ 708 w 4976"/>
                <a:gd name="T93" fmla="*/ 3521 h 3770"/>
                <a:gd name="T94" fmla="*/ 3541 w 4976"/>
                <a:gd name="T95" fmla="*/ 3288 h 3770"/>
                <a:gd name="T96" fmla="*/ 2573 w 4976"/>
                <a:gd name="T97" fmla="*/ 3267 h 3770"/>
                <a:gd name="T98" fmla="*/ 3121 w 4976"/>
                <a:gd name="T99" fmla="*/ 3299 h 3770"/>
                <a:gd name="T100" fmla="*/ 3226 w 4976"/>
                <a:gd name="T101" fmla="*/ 3633 h 3770"/>
                <a:gd name="T102" fmla="*/ 3320 w 4976"/>
                <a:gd name="T103" fmla="*/ 3290 h 3770"/>
                <a:gd name="T104" fmla="*/ 3226 w 4976"/>
                <a:gd name="T105" fmla="*/ 3341 h 3770"/>
                <a:gd name="T106" fmla="*/ 1236 w 4976"/>
                <a:gd name="T107" fmla="*/ 3117 h 3770"/>
                <a:gd name="T108" fmla="*/ 1937 w 4976"/>
                <a:gd name="T109" fmla="*/ 3283 h 3770"/>
                <a:gd name="T110" fmla="*/ 1786 w 4976"/>
                <a:gd name="T111" fmla="*/ 3363 h 3770"/>
                <a:gd name="T112" fmla="*/ 2063 w 4976"/>
                <a:gd name="T113" fmla="*/ 3348 h 3770"/>
                <a:gd name="T114" fmla="*/ 2232 w 4976"/>
                <a:gd name="T115" fmla="*/ 3624 h 3770"/>
                <a:gd name="T116" fmla="*/ 2260 w 4976"/>
                <a:gd name="T117" fmla="*/ 3759 h 3770"/>
                <a:gd name="T118" fmla="*/ 2182 w 4976"/>
                <a:gd name="T119" fmla="*/ 3546 h 3770"/>
                <a:gd name="T120" fmla="*/ 1601 w 4976"/>
                <a:gd name="T121" fmla="*/ 3425 h 3770"/>
                <a:gd name="T122" fmla="*/ 640 w 4976"/>
                <a:gd name="T123" fmla="*/ 1552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76" h="3770">
                  <a:moveTo>
                    <a:pt x="414" y="2842"/>
                  </a:moveTo>
                  <a:lnTo>
                    <a:pt x="414" y="2842"/>
                  </a:lnTo>
                  <a:lnTo>
                    <a:pt x="414" y="2829"/>
                  </a:lnTo>
                  <a:lnTo>
                    <a:pt x="413" y="2818"/>
                  </a:lnTo>
                  <a:lnTo>
                    <a:pt x="407" y="2797"/>
                  </a:lnTo>
                  <a:lnTo>
                    <a:pt x="398" y="2779"/>
                  </a:lnTo>
                  <a:lnTo>
                    <a:pt x="388" y="2765"/>
                  </a:lnTo>
                  <a:lnTo>
                    <a:pt x="375" y="2754"/>
                  </a:lnTo>
                  <a:lnTo>
                    <a:pt x="363" y="2746"/>
                  </a:lnTo>
                  <a:lnTo>
                    <a:pt x="352" y="2738"/>
                  </a:lnTo>
                  <a:lnTo>
                    <a:pt x="341" y="2733"/>
                  </a:lnTo>
                  <a:lnTo>
                    <a:pt x="341" y="2733"/>
                  </a:lnTo>
                  <a:lnTo>
                    <a:pt x="354" y="2724"/>
                  </a:lnTo>
                  <a:lnTo>
                    <a:pt x="365" y="2715"/>
                  </a:lnTo>
                  <a:lnTo>
                    <a:pt x="373" y="2705"/>
                  </a:lnTo>
                  <a:lnTo>
                    <a:pt x="382" y="2692"/>
                  </a:lnTo>
                  <a:lnTo>
                    <a:pt x="389" y="2680"/>
                  </a:lnTo>
                  <a:lnTo>
                    <a:pt x="393" y="2666"/>
                  </a:lnTo>
                  <a:lnTo>
                    <a:pt x="397" y="2651"/>
                  </a:lnTo>
                  <a:lnTo>
                    <a:pt x="397" y="2635"/>
                  </a:lnTo>
                  <a:lnTo>
                    <a:pt x="397" y="2635"/>
                  </a:lnTo>
                  <a:lnTo>
                    <a:pt x="397" y="2621"/>
                  </a:lnTo>
                  <a:lnTo>
                    <a:pt x="395" y="2607"/>
                  </a:lnTo>
                  <a:lnTo>
                    <a:pt x="391" y="2594"/>
                  </a:lnTo>
                  <a:lnTo>
                    <a:pt x="388" y="2582"/>
                  </a:lnTo>
                  <a:lnTo>
                    <a:pt x="382" y="2569"/>
                  </a:lnTo>
                  <a:lnTo>
                    <a:pt x="375" y="2559"/>
                  </a:lnTo>
                  <a:lnTo>
                    <a:pt x="366" y="2550"/>
                  </a:lnTo>
                  <a:lnTo>
                    <a:pt x="357" y="2541"/>
                  </a:lnTo>
                  <a:lnTo>
                    <a:pt x="347" y="2534"/>
                  </a:lnTo>
                  <a:lnTo>
                    <a:pt x="336" y="2527"/>
                  </a:lnTo>
                  <a:lnTo>
                    <a:pt x="324" y="2521"/>
                  </a:lnTo>
                  <a:lnTo>
                    <a:pt x="309" y="2516"/>
                  </a:lnTo>
                  <a:lnTo>
                    <a:pt x="295" y="2513"/>
                  </a:lnTo>
                  <a:lnTo>
                    <a:pt x="279" y="2509"/>
                  </a:lnTo>
                  <a:lnTo>
                    <a:pt x="263" y="2509"/>
                  </a:lnTo>
                  <a:lnTo>
                    <a:pt x="245" y="2507"/>
                  </a:lnTo>
                  <a:lnTo>
                    <a:pt x="36" y="2507"/>
                  </a:lnTo>
                  <a:lnTo>
                    <a:pt x="36" y="2998"/>
                  </a:lnTo>
                  <a:lnTo>
                    <a:pt x="244" y="2998"/>
                  </a:lnTo>
                  <a:lnTo>
                    <a:pt x="244" y="2998"/>
                  </a:lnTo>
                  <a:lnTo>
                    <a:pt x="263" y="2998"/>
                  </a:lnTo>
                  <a:lnTo>
                    <a:pt x="281" y="2996"/>
                  </a:lnTo>
                  <a:lnTo>
                    <a:pt x="299" y="2993"/>
                  </a:lnTo>
                  <a:lnTo>
                    <a:pt x="315" y="2987"/>
                  </a:lnTo>
                  <a:lnTo>
                    <a:pt x="331" y="2982"/>
                  </a:lnTo>
                  <a:lnTo>
                    <a:pt x="345" y="2975"/>
                  </a:lnTo>
                  <a:lnTo>
                    <a:pt x="357" y="2966"/>
                  </a:lnTo>
                  <a:lnTo>
                    <a:pt x="368" y="2957"/>
                  </a:lnTo>
                  <a:lnTo>
                    <a:pt x="379" y="2947"/>
                  </a:lnTo>
                  <a:lnTo>
                    <a:pt x="388" y="2934"/>
                  </a:lnTo>
                  <a:lnTo>
                    <a:pt x="397" y="2922"/>
                  </a:lnTo>
                  <a:lnTo>
                    <a:pt x="402" y="2907"/>
                  </a:lnTo>
                  <a:lnTo>
                    <a:pt x="407" y="2893"/>
                  </a:lnTo>
                  <a:lnTo>
                    <a:pt x="411" y="2877"/>
                  </a:lnTo>
                  <a:lnTo>
                    <a:pt x="413" y="2859"/>
                  </a:lnTo>
                  <a:lnTo>
                    <a:pt x="414" y="2842"/>
                  </a:lnTo>
                  <a:lnTo>
                    <a:pt x="414" y="2842"/>
                  </a:lnTo>
                  <a:close/>
                  <a:moveTo>
                    <a:pt x="244" y="2916"/>
                  </a:moveTo>
                  <a:lnTo>
                    <a:pt x="126" y="2916"/>
                  </a:lnTo>
                  <a:lnTo>
                    <a:pt x="126" y="2776"/>
                  </a:lnTo>
                  <a:lnTo>
                    <a:pt x="244" y="2776"/>
                  </a:lnTo>
                  <a:lnTo>
                    <a:pt x="244" y="2776"/>
                  </a:lnTo>
                  <a:lnTo>
                    <a:pt x="261" y="2778"/>
                  </a:lnTo>
                  <a:lnTo>
                    <a:pt x="276" y="2779"/>
                  </a:lnTo>
                  <a:lnTo>
                    <a:pt x="288" y="2785"/>
                  </a:lnTo>
                  <a:lnTo>
                    <a:pt x="299" y="2794"/>
                  </a:lnTo>
                  <a:lnTo>
                    <a:pt x="308" y="2802"/>
                  </a:lnTo>
                  <a:lnTo>
                    <a:pt x="313" y="2815"/>
                  </a:lnTo>
                  <a:lnTo>
                    <a:pt x="317" y="2829"/>
                  </a:lnTo>
                  <a:lnTo>
                    <a:pt x="318" y="2845"/>
                  </a:lnTo>
                  <a:lnTo>
                    <a:pt x="318" y="2845"/>
                  </a:lnTo>
                  <a:lnTo>
                    <a:pt x="317" y="2861"/>
                  </a:lnTo>
                  <a:lnTo>
                    <a:pt x="313" y="2875"/>
                  </a:lnTo>
                  <a:lnTo>
                    <a:pt x="306" y="2888"/>
                  </a:lnTo>
                  <a:lnTo>
                    <a:pt x="299" y="2897"/>
                  </a:lnTo>
                  <a:lnTo>
                    <a:pt x="288" y="2906"/>
                  </a:lnTo>
                  <a:lnTo>
                    <a:pt x="276" y="2911"/>
                  </a:lnTo>
                  <a:lnTo>
                    <a:pt x="260" y="2915"/>
                  </a:lnTo>
                  <a:lnTo>
                    <a:pt x="244" y="2916"/>
                  </a:lnTo>
                  <a:lnTo>
                    <a:pt x="244" y="2916"/>
                  </a:lnTo>
                  <a:close/>
                  <a:moveTo>
                    <a:pt x="242" y="2696"/>
                  </a:moveTo>
                  <a:lnTo>
                    <a:pt x="126" y="2696"/>
                  </a:lnTo>
                  <a:lnTo>
                    <a:pt x="126" y="2591"/>
                  </a:lnTo>
                  <a:lnTo>
                    <a:pt x="238" y="2591"/>
                  </a:lnTo>
                  <a:lnTo>
                    <a:pt x="238" y="2591"/>
                  </a:lnTo>
                  <a:lnTo>
                    <a:pt x="253" y="2593"/>
                  </a:lnTo>
                  <a:lnTo>
                    <a:pt x="267" y="2594"/>
                  </a:lnTo>
                  <a:lnTo>
                    <a:pt x="277" y="2598"/>
                  </a:lnTo>
                  <a:lnTo>
                    <a:pt x="286" y="2603"/>
                  </a:lnTo>
                  <a:lnTo>
                    <a:pt x="293" y="2612"/>
                  </a:lnTo>
                  <a:lnTo>
                    <a:pt x="299" y="2621"/>
                  </a:lnTo>
                  <a:lnTo>
                    <a:pt x="301" y="2632"/>
                  </a:lnTo>
                  <a:lnTo>
                    <a:pt x="302" y="2644"/>
                  </a:lnTo>
                  <a:lnTo>
                    <a:pt x="302" y="2644"/>
                  </a:lnTo>
                  <a:lnTo>
                    <a:pt x="302" y="2653"/>
                  </a:lnTo>
                  <a:lnTo>
                    <a:pt x="301" y="2662"/>
                  </a:lnTo>
                  <a:lnTo>
                    <a:pt x="297" y="2671"/>
                  </a:lnTo>
                  <a:lnTo>
                    <a:pt x="292" y="2678"/>
                  </a:lnTo>
                  <a:lnTo>
                    <a:pt x="283" y="2685"/>
                  </a:lnTo>
                  <a:lnTo>
                    <a:pt x="272" y="2690"/>
                  </a:lnTo>
                  <a:lnTo>
                    <a:pt x="260" y="2694"/>
                  </a:lnTo>
                  <a:lnTo>
                    <a:pt x="242" y="2696"/>
                  </a:lnTo>
                  <a:lnTo>
                    <a:pt x="242" y="2696"/>
                  </a:lnTo>
                  <a:close/>
                  <a:moveTo>
                    <a:pt x="477" y="2843"/>
                  </a:moveTo>
                  <a:lnTo>
                    <a:pt x="477" y="2641"/>
                  </a:lnTo>
                  <a:lnTo>
                    <a:pt x="566" y="2641"/>
                  </a:lnTo>
                  <a:lnTo>
                    <a:pt x="566" y="2838"/>
                  </a:lnTo>
                  <a:lnTo>
                    <a:pt x="566" y="2838"/>
                  </a:lnTo>
                  <a:lnTo>
                    <a:pt x="566" y="2858"/>
                  </a:lnTo>
                  <a:lnTo>
                    <a:pt x="569" y="2877"/>
                  </a:lnTo>
                  <a:lnTo>
                    <a:pt x="574" y="2891"/>
                  </a:lnTo>
                  <a:lnTo>
                    <a:pt x="582" y="2904"/>
                  </a:lnTo>
                  <a:lnTo>
                    <a:pt x="590" y="2913"/>
                  </a:lnTo>
                  <a:lnTo>
                    <a:pt x="601" y="2920"/>
                  </a:lnTo>
                  <a:lnTo>
                    <a:pt x="615" y="2923"/>
                  </a:lnTo>
                  <a:lnTo>
                    <a:pt x="631" y="2925"/>
                  </a:lnTo>
                  <a:lnTo>
                    <a:pt x="631" y="2925"/>
                  </a:lnTo>
                  <a:lnTo>
                    <a:pt x="647" y="2923"/>
                  </a:lnTo>
                  <a:lnTo>
                    <a:pt x="660" y="2920"/>
                  </a:lnTo>
                  <a:lnTo>
                    <a:pt x="672" y="2913"/>
                  </a:lnTo>
                  <a:lnTo>
                    <a:pt x="681" y="2904"/>
                  </a:lnTo>
                  <a:lnTo>
                    <a:pt x="688" y="2891"/>
                  </a:lnTo>
                  <a:lnTo>
                    <a:pt x="694" y="2875"/>
                  </a:lnTo>
                  <a:lnTo>
                    <a:pt x="697" y="2858"/>
                  </a:lnTo>
                  <a:lnTo>
                    <a:pt x="697" y="2838"/>
                  </a:lnTo>
                  <a:lnTo>
                    <a:pt x="697" y="2641"/>
                  </a:lnTo>
                  <a:lnTo>
                    <a:pt x="786" y="2641"/>
                  </a:lnTo>
                  <a:lnTo>
                    <a:pt x="786" y="2998"/>
                  </a:lnTo>
                  <a:lnTo>
                    <a:pt x="697" y="2998"/>
                  </a:lnTo>
                  <a:lnTo>
                    <a:pt x="697" y="2970"/>
                  </a:lnTo>
                  <a:lnTo>
                    <a:pt x="697" y="2970"/>
                  </a:lnTo>
                  <a:lnTo>
                    <a:pt x="690" y="2979"/>
                  </a:lnTo>
                  <a:lnTo>
                    <a:pt x="679" y="2986"/>
                  </a:lnTo>
                  <a:lnTo>
                    <a:pt x="670" y="2993"/>
                  </a:lnTo>
                  <a:lnTo>
                    <a:pt x="660" y="2996"/>
                  </a:lnTo>
                  <a:lnTo>
                    <a:pt x="649" y="3002"/>
                  </a:lnTo>
                  <a:lnTo>
                    <a:pt x="637" y="3003"/>
                  </a:lnTo>
                  <a:lnTo>
                    <a:pt x="624" y="3005"/>
                  </a:lnTo>
                  <a:lnTo>
                    <a:pt x="612" y="3007"/>
                  </a:lnTo>
                  <a:lnTo>
                    <a:pt x="612" y="3007"/>
                  </a:lnTo>
                  <a:lnTo>
                    <a:pt x="590" y="3005"/>
                  </a:lnTo>
                  <a:lnTo>
                    <a:pt x="573" y="3002"/>
                  </a:lnTo>
                  <a:lnTo>
                    <a:pt x="557" y="2996"/>
                  </a:lnTo>
                  <a:lnTo>
                    <a:pt x="541" y="2989"/>
                  </a:lnTo>
                  <a:lnTo>
                    <a:pt x="528" y="2980"/>
                  </a:lnTo>
                  <a:lnTo>
                    <a:pt x="518" y="2971"/>
                  </a:lnTo>
                  <a:lnTo>
                    <a:pt x="509" y="2959"/>
                  </a:lnTo>
                  <a:lnTo>
                    <a:pt x="500" y="2947"/>
                  </a:lnTo>
                  <a:lnTo>
                    <a:pt x="494" y="2934"/>
                  </a:lnTo>
                  <a:lnTo>
                    <a:pt x="489" y="2922"/>
                  </a:lnTo>
                  <a:lnTo>
                    <a:pt x="482" y="2893"/>
                  </a:lnTo>
                  <a:lnTo>
                    <a:pt x="478" y="2867"/>
                  </a:lnTo>
                  <a:lnTo>
                    <a:pt x="477" y="2843"/>
                  </a:lnTo>
                  <a:lnTo>
                    <a:pt x="477" y="2843"/>
                  </a:lnTo>
                  <a:close/>
                  <a:moveTo>
                    <a:pt x="1828" y="2998"/>
                  </a:moveTo>
                  <a:lnTo>
                    <a:pt x="1739" y="2998"/>
                  </a:lnTo>
                  <a:lnTo>
                    <a:pt x="1739" y="2641"/>
                  </a:lnTo>
                  <a:lnTo>
                    <a:pt x="1828" y="2641"/>
                  </a:lnTo>
                  <a:lnTo>
                    <a:pt x="1828" y="2671"/>
                  </a:lnTo>
                  <a:lnTo>
                    <a:pt x="1828" y="2671"/>
                  </a:lnTo>
                  <a:lnTo>
                    <a:pt x="1837" y="2662"/>
                  </a:lnTo>
                  <a:lnTo>
                    <a:pt x="1846" y="2653"/>
                  </a:lnTo>
                  <a:lnTo>
                    <a:pt x="1857" y="2648"/>
                  </a:lnTo>
                  <a:lnTo>
                    <a:pt x="1867" y="2642"/>
                  </a:lnTo>
                  <a:lnTo>
                    <a:pt x="1880" y="2637"/>
                  </a:lnTo>
                  <a:lnTo>
                    <a:pt x="1890" y="2635"/>
                  </a:lnTo>
                  <a:lnTo>
                    <a:pt x="1905" y="2634"/>
                  </a:lnTo>
                  <a:lnTo>
                    <a:pt x="1917" y="2632"/>
                  </a:lnTo>
                  <a:lnTo>
                    <a:pt x="1917" y="2632"/>
                  </a:lnTo>
                  <a:lnTo>
                    <a:pt x="1933" y="2634"/>
                  </a:lnTo>
                  <a:lnTo>
                    <a:pt x="1947" y="2635"/>
                  </a:lnTo>
                  <a:lnTo>
                    <a:pt x="1962" y="2639"/>
                  </a:lnTo>
                  <a:lnTo>
                    <a:pt x="1974" y="2642"/>
                  </a:lnTo>
                  <a:lnTo>
                    <a:pt x="1986" y="2648"/>
                  </a:lnTo>
                  <a:lnTo>
                    <a:pt x="1997" y="2657"/>
                  </a:lnTo>
                  <a:lnTo>
                    <a:pt x="2006" y="2664"/>
                  </a:lnTo>
                  <a:lnTo>
                    <a:pt x="2015" y="2674"/>
                  </a:lnTo>
                  <a:lnTo>
                    <a:pt x="2024" y="2685"/>
                  </a:lnTo>
                  <a:lnTo>
                    <a:pt x="2029" y="2698"/>
                  </a:lnTo>
                  <a:lnTo>
                    <a:pt x="2036" y="2710"/>
                  </a:lnTo>
                  <a:lnTo>
                    <a:pt x="2040" y="2724"/>
                  </a:lnTo>
                  <a:lnTo>
                    <a:pt x="2043" y="2740"/>
                  </a:lnTo>
                  <a:lnTo>
                    <a:pt x="2047" y="2758"/>
                  </a:lnTo>
                  <a:lnTo>
                    <a:pt x="2049" y="2776"/>
                  </a:lnTo>
                  <a:lnTo>
                    <a:pt x="2049" y="2795"/>
                  </a:lnTo>
                  <a:lnTo>
                    <a:pt x="2049" y="2998"/>
                  </a:lnTo>
                  <a:lnTo>
                    <a:pt x="1960" y="2998"/>
                  </a:lnTo>
                  <a:lnTo>
                    <a:pt x="1960" y="2801"/>
                  </a:lnTo>
                  <a:lnTo>
                    <a:pt x="1960" y="2801"/>
                  </a:lnTo>
                  <a:lnTo>
                    <a:pt x="1960" y="2779"/>
                  </a:lnTo>
                  <a:lnTo>
                    <a:pt x="1956" y="2762"/>
                  </a:lnTo>
                  <a:lnTo>
                    <a:pt x="1951" y="2747"/>
                  </a:lnTo>
                  <a:lnTo>
                    <a:pt x="1944" y="2735"/>
                  </a:lnTo>
                  <a:lnTo>
                    <a:pt x="1935" y="2726"/>
                  </a:lnTo>
                  <a:lnTo>
                    <a:pt x="1924" y="2719"/>
                  </a:lnTo>
                  <a:lnTo>
                    <a:pt x="1912" y="2715"/>
                  </a:lnTo>
                  <a:lnTo>
                    <a:pt x="1896" y="2714"/>
                  </a:lnTo>
                  <a:lnTo>
                    <a:pt x="1896" y="2714"/>
                  </a:lnTo>
                  <a:lnTo>
                    <a:pt x="1880" y="2715"/>
                  </a:lnTo>
                  <a:lnTo>
                    <a:pt x="1866" y="2719"/>
                  </a:lnTo>
                  <a:lnTo>
                    <a:pt x="1855" y="2726"/>
                  </a:lnTo>
                  <a:lnTo>
                    <a:pt x="1846" y="2735"/>
                  </a:lnTo>
                  <a:lnTo>
                    <a:pt x="1837" y="2747"/>
                  </a:lnTo>
                  <a:lnTo>
                    <a:pt x="1832" y="2763"/>
                  </a:lnTo>
                  <a:lnTo>
                    <a:pt x="1828" y="2781"/>
                  </a:lnTo>
                  <a:lnTo>
                    <a:pt x="1828" y="2801"/>
                  </a:lnTo>
                  <a:lnTo>
                    <a:pt x="1828" y="2998"/>
                  </a:lnTo>
                  <a:close/>
                  <a:moveTo>
                    <a:pt x="955" y="2818"/>
                  </a:moveTo>
                  <a:lnTo>
                    <a:pt x="955" y="2998"/>
                  </a:lnTo>
                  <a:lnTo>
                    <a:pt x="866" y="2998"/>
                  </a:lnTo>
                  <a:lnTo>
                    <a:pt x="866" y="2641"/>
                  </a:lnTo>
                  <a:lnTo>
                    <a:pt x="955" y="2641"/>
                  </a:lnTo>
                  <a:lnTo>
                    <a:pt x="955" y="2818"/>
                  </a:lnTo>
                  <a:close/>
                  <a:moveTo>
                    <a:pt x="1033" y="2536"/>
                  </a:moveTo>
                  <a:lnTo>
                    <a:pt x="1122" y="2491"/>
                  </a:lnTo>
                  <a:lnTo>
                    <a:pt x="1122" y="2815"/>
                  </a:lnTo>
                  <a:lnTo>
                    <a:pt x="1122" y="2998"/>
                  </a:lnTo>
                  <a:lnTo>
                    <a:pt x="1033" y="2998"/>
                  </a:lnTo>
                  <a:lnTo>
                    <a:pt x="1033" y="2536"/>
                  </a:lnTo>
                  <a:close/>
                  <a:moveTo>
                    <a:pt x="1403" y="2666"/>
                  </a:moveTo>
                  <a:lnTo>
                    <a:pt x="1403" y="2666"/>
                  </a:lnTo>
                  <a:lnTo>
                    <a:pt x="1396" y="2657"/>
                  </a:lnTo>
                  <a:lnTo>
                    <a:pt x="1387" y="2651"/>
                  </a:lnTo>
                  <a:lnTo>
                    <a:pt x="1376" y="2644"/>
                  </a:lnTo>
                  <a:lnTo>
                    <a:pt x="1368" y="2641"/>
                  </a:lnTo>
                  <a:lnTo>
                    <a:pt x="1357" y="2637"/>
                  </a:lnTo>
                  <a:lnTo>
                    <a:pt x="1346" y="2634"/>
                  </a:lnTo>
                  <a:lnTo>
                    <a:pt x="1325" y="2632"/>
                  </a:lnTo>
                  <a:lnTo>
                    <a:pt x="1325" y="2632"/>
                  </a:lnTo>
                  <a:lnTo>
                    <a:pt x="1309" y="2634"/>
                  </a:lnTo>
                  <a:lnTo>
                    <a:pt x="1293" y="2635"/>
                  </a:lnTo>
                  <a:lnTo>
                    <a:pt x="1279" y="2639"/>
                  </a:lnTo>
                  <a:lnTo>
                    <a:pt x="1266" y="2644"/>
                  </a:lnTo>
                  <a:lnTo>
                    <a:pt x="1254" y="2651"/>
                  </a:lnTo>
                  <a:lnTo>
                    <a:pt x="1241" y="2660"/>
                  </a:lnTo>
                  <a:lnTo>
                    <a:pt x="1231" y="2671"/>
                  </a:lnTo>
                  <a:lnTo>
                    <a:pt x="1222" y="2682"/>
                  </a:lnTo>
                  <a:lnTo>
                    <a:pt x="1213" y="2694"/>
                  </a:lnTo>
                  <a:lnTo>
                    <a:pt x="1206" y="2708"/>
                  </a:lnTo>
                  <a:lnTo>
                    <a:pt x="1199" y="2722"/>
                  </a:lnTo>
                  <a:lnTo>
                    <a:pt x="1193" y="2738"/>
                  </a:lnTo>
                  <a:lnTo>
                    <a:pt x="1190" y="2756"/>
                  </a:lnTo>
                  <a:lnTo>
                    <a:pt x="1186" y="2776"/>
                  </a:lnTo>
                  <a:lnTo>
                    <a:pt x="1184" y="2795"/>
                  </a:lnTo>
                  <a:lnTo>
                    <a:pt x="1184" y="2815"/>
                  </a:lnTo>
                  <a:lnTo>
                    <a:pt x="1184" y="2815"/>
                  </a:lnTo>
                  <a:lnTo>
                    <a:pt x="1184" y="2838"/>
                  </a:lnTo>
                  <a:lnTo>
                    <a:pt x="1186" y="2858"/>
                  </a:lnTo>
                  <a:lnTo>
                    <a:pt x="1190" y="2877"/>
                  </a:lnTo>
                  <a:lnTo>
                    <a:pt x="1193" y="2895"/>
                  </a:lnTo>
                  <a:lnTo>
                    <a:pt x="1199" y="2913"/>
                  </a:lnTo>
                  <a:lnTo>
                    <a:pt x="1204" y="2929"/>
                  </a:lnTo>
                  <a:lnTo>
                    <a:pt x="1211" y="2943"/>
                  </a:lnTo>
                  <a:lnTo>
                    <a:pt x="1220" y="2955"/>
                  </a:lnTo>
                  <a:lnTo>
                    <a:pt x="1231" y="2968"/>
                  </a:lnTo>
                  <a:lnTo>
                    <a:pt x="1240" y="2977"/>
                  </a:lnTo>
                  <a:lnTo>
                    <a:pt x="1252" y="2986"/>
                  </a:lnTo>
                  <a:lnTo>
                    <a:pt x="1264" y="2993"/>
                  </a:lnTo>
                  <a:lnTo>
                    <a:pt x="1277" y="2998"/>
                  </a:lnTo>
                  <a:lnTo>
                    <a:pt x="1291" y="3003"/>
                  </a:lnTo>
                  <a:lnTo>
                    <a:pt x="1307" y="3005"/>
                  </a:lnTo>
                  <a:lnTo>
                    <a:pt x="1323" y="3007"/>
                  </a:lnTo>
                  <a:lnTo>
                    <a:pt x="1323" y="3007"/>
                  </a:lnTo>
                  <a:lnTo>
                    <a:pt x="1334" y="3005"/>
                  </a:lnTo>
                  <a:lnTo>
                    <a:pt x="1344" y="3003"/>
                  </a:lnTo>
                  <a:lnTo>
                    <a:pt x="1355" y="3002"/>
                  </a:lnTo>
                  <a:lnTo>
                    <a:pt x="1366" y="2998"/>
                  </a:lnTo>
                  <a:lnTo>
                    <a:pt x="1375" y="2993"/>
                  </a:lnTo>
                  <a:lnTo>
                    <a:pt x="1385" y="2987"/>
                  </a:lnTo>
                  <a:lnTo>
                    <a:pt x="1394" y="2980"/>
                  </a:lnTo>
                  <a:lnTo>
                    <a:pt x="1403" y="2971"/>
                  </a:lnTo>
                  <a:lnTo>
                    <a:pt x="1403" y="2998"/>
                  </a:lnTo>
                  <a:lnTo>
                    <a:pt x="1492" y="2998"/>
                  </a:lnTo>
                  <a:lnTo>
                    <a:pt x="1492" y="2491"/>
                  </a:lnTo>
                  <a:lnTo>
                    <a:pt x="1403" y="2536"/>
                  </a:lnTo>
                  <a:lnTo>
                    <a:pt x="1403" y="2666"/>
                  </a:lnTo>
                  <a:close/>
                  <a:moveTo>
                    <a:pt x="1341" y="2925"/>
                  </a:moveTo>
                  <a:lnTo>
                    <a:pt x="1341" y="2925"/>
                  </a:lnTo>
                  <a:lnTo>
                    <a:pt x="1330" y="2923"/>
                  </a:lnTo>
                  <a:lnTo>
                    <a:pt x="1318" y="2920"/>
                  </a:lnTo>
                  <a:lnTo>
                    <a:pt x="1307" y="2915"/>
                  </a:lnTo>
                  <a:lnTo>
                    <a:pt x="1296" y="2904"/>
                  </a:lnTo>
                  <a:lnTo>
                    <a:pt x="1288" y="2890"/>
                  </a:lnTo>
                  <a:lnTo>
                    <a:pt x="1280" y="2870"/>
                  </a:lnTo>
                  <a:lnTo>
                    <a:pt x="1275" y="2845"/>
                  </a:lnTo>
                  <a:lnTo>
                    <a:pt x="1273" y="2813"/>
                  </a:lnTo>
                  <a:lnTo>
                    <a:pt x="1273" y="2813"/>
                  </a:lnTo>
                  <a:lnTo>
                    <a:pt x="1275" y="2785"/>
                  </a:lnTo>
                  <a:lnTo>
                    <a:pt x="1280" y="2763"/>
                  </a:lnTo>
                  <a:lnTo>
                    <a:pt x="1288" y="2746"/>
                  </a:lnTo>
                  <a:lnTo>
                    <a:pt x="1296" y="2733"/>
                  </a:lnTo>
                  <a:lnTo>
                    <a:pt x="1305" y="2722"/>
                  </a:lnTo>
                  <a:lnTo>
                    <a:pt x="1318" y="2717"/>
                  </a:lnTo>
                  <a:lnTo>
                    <a:pt x="1328" y="2714"/>
                  </a:lnTo>
                  <a:lnTo>
                    <a:pt x="1341" y="2714"/>
                  </a:lnTo>
                  <a:lnTo>
                    <a:pt x="1341" y="2714"/>
                  </a:lnTo>
                  <a:lnTo>
                    <a:pt x="1352" y="2714"/>
                  </a:lnTo>
                  <a:lnTo>
                    <a:pt x="1362" y="2717"/>
                  </a:lnTo>
                  <a:lnTo>
                    <a:pt x="1373" y="2721"/>
                  </a:lnTo>
                  <a:lnTo>
                    <a:pt x="1380" y="2726"/>
                  </a:lnTo>
                  <a:lnTo>
                    <a:pt x="1387" y="2731"/>
                  </a:lnTo>
                  <a:lnTo>
                    <a:pt x="1394" y="2737"/>
                  </a:lnTo>
                  <a:lnTo>
                    <a:pt x="1403" y="2749"/>
                  </a:lnTo>
                  <a:lnTo>
                    <a:pt x="1403" y="2890"/>
                  </a:lnTo>
                  <a:lnTo>
                    <a:pt x="1403" y="2890"/>
                  </a:lnTo>
                  <a:lnTo>
                    <a:pt x="1392" y="2902"/>
                  </a:lnTo>
                  <a:lnTo>
                    <a:pt x="1380" y="2913"/>
                  </a:lnTo>
                  <a:lnTo>
                    <a:pt x="1373" y="2918"/>
                  </a:lnTo>
                  <a:lnTo>
                    <a:pt x="1362" y="2922"/>
                  </a:lnTo>
                  <a:lnTo>
                    <a:pt x="1353" y="2923"/>
                  </a:lnTo>
                  <a:lnTo>
                    <a:pt x="1341" y="2925"/>
                  </a:lnTo>
                  <a:lnTo>
                    <a:pt x="1341" y="2925"/>
                  </a:lnTo>
                  <a:close/>
                  <a:moveTo>
                    <a:pt x="3335" y="2632"/>
                  </a:moveTo>
                  <a:lnTo>
                    <a:pt x="3335" y="2632"/>
                  </a:lnTo>
                  <a:lnTo>
                    <a:pt x="3326" y="2634"/>
                  </a:lnTo>
                  <a:lnTo>
                    <a:pt x="3315" y="2635"/>
                  </a:lnTo>
                  <a:lnTo>
                    <a:pt x="3294" y="2641"/>
                  </a:lnTo>
                  <a:lnTo>
                    <a:pt x="3274" y="2651"/>
                  </a:lnTo>
                  <a:lnTo>
                    <a:pt x="3256" y="2666"/>
                  </a:lnTo>
                  <a:lnTo>
                    <a:pt x="3256" y="2500"/>
                  </a:lnTo>
                  <a:lnTo>
                    <a:pt x="3167" y="2545"/>
                  </a:lnTo>
                  <a:lnTo>
                    <a:pt x="3167" y="2998"/>
                  </a:lnTo>
                  <a:lnTo>
                    <a:pt x="3256" y="2998"/>
                  </a:lnTo>
                  <a:lnTo>
                    <a:pt x="3256" y="2971"/>
                  </a:lnTo>
                  <a:lnTo>
                    <a:pt x="3256" y="2971"/>
                  </a:lnTo>
                  <a:lnTo>
                    <a:pt x="3263" y="2980"/>
                  </a:lnTo>
                  <a:lnTo>
                    <a:pt x="3274" y="2987"/>
                  </a:lnTo>
                  <a:lnTo>
                    <a:pt x="3283" y="2993"/>
                  </a:lnTo>
                  <a:lnTo>
                    <a:pt x="3294" y="2998"/>
                  </a:lnTo>
                  <a:lnTo>
                    <a:pt x="3303" y="3002"/>
                  </a:lnTo>
                  <a:lnTo>
                    <a:pt x="3315" y="3003"/>
                  </a:lnTo>
                  <a:lnTo>
                    <a:pt x="3326" y="3005"/>
                  </a:lnTo>
                  <a:lnTo>
                    <a:pt x="3336" y="3007"/>
                  </a:lnTo>
                  <a:lnTo>
                    <a:pt x="3336" y="3007"/>
                  </a:lnTo>
                  <a:lnTo>
                    <a:pt x="3352" y="3005"/>
                  </a:lnTo>
                  <a:lnTo>
                    <a:pt x="3368" y="3003"/>
                  </a:lnTo>
                  <a:lnTo>
                    <a:pt x="3383" y="3000"/>
                  </a:lnTo>
                  <a:lnTo>
                    <a:pt x="3397" y="2993"/>
                  </a:lnTo>
                  <a:lnTo>
                    <a:pt x="3409" y="2986"/>
                  </a:lnTo>
                  <a:lnTo>
                    <a:pt x="3420" y="2979"/>
                  </a:lnTo>
                  <a:lnTo>
                    <a:pt x="3431" y="2968"/>
                  </a:lnTo>
                  <a:lnTo>
                    <a:pt x="3439" y="2957"/>
                  </a:lnTo>
                  <a:lnTo>
                    <a:pt x="3448" y="2943"/>
                  </a:lnTo>
                  <a:lnTo>
                    <a:pt x="3455" y="2929"/>
                  </a:lnTo>
                  <a:lnTo>
                    <a:pt x="3461" y="2913"/>
                  </a:lnTo>
                  <a:lnTo>
                    <a:pt x="3466" y="2897"/>
                  </a:lnTo>
                  <a:lnTo>
                    <a:pt x="3471" y="2879"/>
                  </a:lnTo>
                  <a:lnTo>
                    <a:pt x="3473" y="2859"/>
                  </a:lnTo>
                  <a:lnTo>
                    <a:pt x="3475" y="2838"/>
                  </a:lnTo>
                  <a:lnTo>
                    <a:pt x="3477" y="2815"/>
                  </a:lnTo>
                  <a:lnTo>
                    <a:pt x="3477" y="2815"/>
                  </a:lnTo>
                  <a:lnTo>
                    <a:pt x="3475" y="2795"/>
                  </a:lnTo>
                  <a:lnTo>
                    <a:pt x="3473" y="2776"/>
                  </a:lnTo>
                  <a:lnTo>
                    <a:pt x="3470" y="2756"/>
                  </a:lnTo>
                  <a:lnTo>
                    <a:pt x="3466" y="2738"/>
                  </a:lnTo>
                  <a:lnTo>
                    <a:pt x="3461" y="2722"/>
                  </a:lnTo>
                  <a:lnTo>
                    <a:pt x="3454" y="2708"/>
                  </a:lnTo>
                  <a:lnTo>
                    <a:pt x="3447" y="2694"/>
                  </a:lnTo>
                  <a:lnTo>
                    <a:pt x="3438" y="2682"/>
                  </a:lnTo>
                  <a:lnTo>
                    <a:pt x="3429" y="2671"/>
                  </a:lnTo>
                  <a:lnTo>
                    <a:pt x="3418" y="2660"/>
                  </a:lnTo>
                  <a:lnTo>
                    <a:pt x="3406" y="2651"/>
                  </a:lnTo>
                  <a:lnTo>
                    <a:pt x="3393" y="2644"/>
                  </a:lnTo>
                  <a:lnTo>
                    <a:pt x="3381" y="2639"/>
                  </a:lnTo>
                  <a:lnTo>
                    <a:pt x="3367" y="2635"/>
                  </a:lnTo>
                  <a:lnTo>
                    <a:pt x="3351" y="2634"/>
                  </a:lnTo>
                  <a:lnTo>
                    <a:pt x="3335" y="2632"/>
                  </a:lnTo>
                  <a:lnTo>
                    <a:pt x="3335" y="2632"/>
                  </a:lnTo>
                  <a:close/>
                  <a:moveTo>
                    <a:pt x="3319" y="2714"/>
                  </a:moveTo>
                  <a:lnTo>
                    <a:pt x="3319" y="2714"/>
                  </a:lnTo>
                  <a:lnTo>
                    <a:pt x="3331" y="2715"/>
                  </a:lnTo>
                  <a:lnTo>
                    <a:pt x="3343" y="2719"/>
                  </a:lnTo>
                  <a:lnTo>
                    <a:pt x="3354" y="2726"/>
                  </a:lnTo>
                  <a:lnTo>
                    <a:pt x="3365" y="2737"/>
                  </a:lnTo>
                  <a:lnTo>
                    <a:pt x="3374" y="2749"/>
                  </a:lnTo>
                  <a:lnTo>
                    <a:pt x="3379" y="2767"/>
                  </a:lnTo>
                  <a:lnTo>
                    <a:pt x="3384" y="2788"/>
                  </a:lnTo>
                  <a:lnTo>
                    <a:pt x="3386" y="2813"/>
                  </a:lnTo>
                  <a:lnTo>
                    <a:pt x="3386" y="2813"/>
                  </a:lnTo>
                  <a:lnTo>
                    <a:pt x="3384" y="2840"/>
                  </a:lnTo>
                  <a:lnTo>
                    <a:pt x="3381" y="2863"/>
                  </a:lnTo>
                  <a:lnTo>
                    <a:pt x="3377" y="2881"/>
                  </a:lnTo>
                  <a:lnTo>
                    <a:pt x="3370" y="2897"/>
                  </a:lnTo>
                  <a:lnTo>
                    <a:pt x="3359" y="2909"/>
                  </a:lnTo>
                  <a:lnTo>
                    <a:pt x="3349" y="2918"/>
                  </a:lnTo>
                  <a:lnTo>
                    <a:pt x="3336" y="2923"/>
                  </a:lnTo>
                  <a:lnTo>
                    <a:pt x="3320" y="2925"/>
                  </a:lnTo>
                  <a:lnTo>
                    <a:pt x="3320" y="2925"/>
                  </a:lnTo>
                  <a:lnTo>
                    <a:pt x="3308" y="2923"/>
                  </a:lnTo>
                  <a:lnTo>
                    <a:pt x="3297" y="2922"/>
                  </a:lnTo>
                  <a:lnTo>
                    <a:pt x="3288" y="2916"/>
                  </a:lnTo>
                  <a:lnTo>
                    <a:pt x="3279" y="2913"/>
                  </a:lnTo>
                  <a:lnTo>
                    <a:pt x="3265" y="2900"/>
                  </a:lnTo>
                  <a:lnTo>
                    <a:pt x="3256" y="2891"/>
                  </a:lnTo>
                  <a:lnTo>
                    <a:pt x="3256" y="2749"/>
                  </a:lnTo>
                  <a:lnTo>
                    <a:pt x="3256" y="2749"/>
                  </a:lnTo>
                  <a:lnTo>
                    <a:pt x="3262" y="2742"/>
                  </a:lnTo>
                  <a:lnTo>
                    <a:pt x="3269" y="2735"/>
                  </a:lnTo>
                  <a:lnTo>
                    <a:pt x="3276" y="2728"/>
                  </a:lnTo>
                  <a:lnTo>
                    <a:pt x="3283" y="2722"/>
                  </a:lnTo>
                  <a:lnTo>
                    <a:pt x="3292" y="2719"/>
                  </a:lnTo>
                  <a:lnTo>
                    <a:pt x="3301" y="2715"/>
                  </a:lnTo>
                  <a:lnTo>
                    <a:pt x="3310" y="2714"/>
                  </a:lnTo>
                  <a:lnTo>
                    <a:pt x="3319" y="2714"/>
                  </a:lnTo>
                  <a:lnTo>
                    <a:pt x="3319" y="2714"/>
                  </a:lnTo>
                  <a:close/>
                  <a:moveTo>
                    <a:pt x="2328" y="2666"/>
                  </a:moveTo>
                  <a:lnTo>
                    <a:pt x="2328" y="2666"/>
                  </a:lnTo>
                  <a:lnTo>
                    <a:pt x="2321" y="2658"/>
                  </a:lnTo>
                  <a:lnTo>
                    <a:pt x="2312" y="2651"/>
                  </a:lnTo>
                  <a:lnTo>
                    <a:pt x="2301" y="2646"/>
                  </a:lnTo>
                  <a:lnTo>
                    <a:pt x="2292" y="2641"/>
                  </a:lnTo>
                  <a:lnTo>
                    <a:pt x="2282" y="2637"/>
                  </a:lnTo>
                  <a:lnTo>
                    <a:pt x="2271" y="2634"/>
                  </a:lnTo>
                  <a:lnTo>
                    <a:pt x="2260" y="2634"/>
                  </a:lnTo>
                  <a:lnTo>
                    <a:pt x="2250" y="2632"/>
                  </a:lnTo>
                  <a:lnTo>
                    <a:pt x="2250" y="2632"/>
                  </a:lnTo>
                  <a:lnTo>
                    <a:pt x="2234" y="2634"/>
                  </a:lnTo>
                  <a:lnTo>
                    <a:pt x="2218" y="2635"/>
                  </a:lnTo>
                  <a:lnTo>
                    <a:pt x="2203" y="2639"/>
                  </a:lnTo>
                  <a:lnTo>
                    <a:pt x="2191" y="2644"/>
                  </a:lnTo>
                  <a:lnTo>
                    <a:pt x="2179" y="2651"/>
                  </a:lnTo>
                  <a:lnTo>
                    <a:pt x="2166" y="2660"/>
                  </a:lnTo>
                  <a:lnTo>
                    <a:pt x="2155" y="2671"/>
                  </a:lnTo>
                  <a:lnTo>
                    <a:pt x="2147" y="2682"/>
                  </a:lnTo>
                  <a:lnTo>
                    <a:pt x="2138" y="2694"/>
                  </a:lnTo>
                  <a:lnTo>
                    <a:pt x="2131" y="2708"/>
                  </a:lnTo>
                  <a:lnTo>
                    <a:pt x="2123" y="2722"/>
                  </a:lnTo>
                  <a:lnTo>
                    <a:pt x="2118" y="2738"/>
                  </a:lnTo>
                  <a:lnTo>
                    <a:pt x="2115" y="2756"/>
                  </a:lnTo>
                  <a:lnTo>
                    <a:pt x="2111" y="2776"/>
                  </a:lnTo>
                  <a:lnTo>
                    <a:pt x="2109" y="2795"/>
                  </a:lnTo>
                  <a:lnTo>
                    <a:pt x="2109" y="2815"/>
                  </a:lnTo>
                  <a:lnTo>
                    <a:pt x="2109" y="2815"/>
                  </a:lnTo>
                  <a:lnTo>
                    <a:pt x="2109" y="2838"/>
                  </a:lnTo>
                  <a:lnTo>
                    <a:pt x="2111" y="2858"/>
                  </a:lnTo>
                  <a:lnTo>
                    <a:pt x="2115" y="2877"/>
                  </a:lnTo>
                  <a:lnTo>
                    <a:pt x="2118" y="2895"/>
                  </a:lnTo>
                  <a:lnTo>
                    <a:pt x="2123" y="2913"/>
                  </a:lnTo>
                  <a:lnTo>
                    <a:pt x="2129" y="2929"/>
                  </a:lnTo>
                  <a:lnTo>
                    <a:pt x="2138" y="2943"/>
                  </a:lnTo>
                  <a:lnTo>
                    <a:pt x="2145" y="2955"/>
                  </a:lnTo>
                  <a:lnTo>
                    <a:pt x="2155" y="2968"/>
                  </a:lnTo>
                  <a:lnTo>
                    <a:pt x="2164" y="2977"/>
                  </a:lnTo>
                  <a:lnTo>
                    <a:pt x="2177" y="2986"/>
                  </a:lnTo>
                  <a:lnTo>
                    <a:pt x="2189" y="2993"/>
                  </a:lnTo>
                  <a:lnTo>
                    <a:pt x="2202" y="2998"/>
                  </a:lnTo>
                  <a:lnTo>
                    <a:pt x="2216" y="3003"/>
                  </a:lnTo>
                  <a:lnTo>
                    <a:pt x="2232" y="3005"/>
                  </a:lnTo>
                  <a:lnTo>
                    <a:pt x="2248" y="3005"/>
                  </a:lnTo>
                  <a:lnTo>
                    <a:pt x="2248" y="3005"/>
                  </a:lnTo>
                  <a:lnTo>
                    <a:pt x="2259" y="3005"/>
                  </a:lnTo>
                  <a:lnTo>
                    <a:pt x="2269" y="3003"/>
                  </a:lnTo>
                  <a:lnTo>
                    <a:pt x="2280" y="3002"/>
                  </a:lnTo>
                  <a:lnTo>
                    <a:pt x="2291" y="2998"/>
                  </a:lnTo>
                  <a:lnTo>
                    <a:pt x="2301" y="2993"/>
                  </a:lnTo>
                  <a:lnTo>
                    <a:pt x="2310" y="2986"/>
                  </a:lnTo>
                  <a:lnTo>
                    <a:pt x="2319" y="2980"/>
                  </a:lnTo>
                  <a:lnTo>
                    <a:pt x="2328" y="2971"/>
                  </a:lnTo>
                  <a:lnTo>
                    <a:pt x="2328" y="2980"/>
                  </a:lnTo>
                  <a:lnTo>
                    <a:pt x="2328" y="2980"/>
                  </a:lnTo>
                  <a:lnTo>
                    <a:pt x="2328" y="2995"/>
                  </a:lnTo>
                  <a:lnTo>
                    <a:pt x="2326" y="3011"/>
                  </a:lnTo>
                  <a:lnTo>
                    <a:pt x="2323" y="3027"/>
                  </a:lnTo>
                  <a:lnTo>
                    <a:pt x="2319" y="3034"/>
                  </a:lnTo>
                  <a:lnTo>
                    <a:pt x="2314" y="3041"/>
                  </a:lnTo>
                  <a:lnTo>
                    <a:pt x="2308" y="3048"/>
                  </a:lnTo>
                  <a:lnTo>
                    <a:pt x="2301" y="3055"/>
                  </a:lnTo>
                  <a:lnTo>
                    <a:pt x="2291" y="3060"/>
                  </a:lnTo>
                  <a:lnTo>
                    <a:pt x="2280" y="3064"/>
                  </a:lnTo>
                  <a:lnTo>
                    <a:pt x="2267" y="3069"/>
                  </a:lnTo>
                  <a:lnTo>
                    <a:pt x="2251" y="3071"/>
                  </a:lnTo>
                  <a:lnTo>
                    <a:pt x="2234" y="3075"/>
                  </a:lnTo>
                  <a:lnTo>
                    <a:pt x="2214" y="3075"/>
                  </a:lnTo>
                  <a:lnTo>
                    <a:pt x="2211" y="3075"/>
                  </a:lnTo>
                  <a:lnTo>
                    <a:pt x="2241" y="3144"/>
                  </a:lnTo>
                  <a:lnTo>
                    <a:pt x="2243" y="3144"/>
                  </a:lnTo>
                  <a:lnTo>
                    <a:pt x="2243" y="3144"/>
                  </a:lnTo>
                  <a:lnTo>
                    <a:pt x="2264" y="3144"/>
                  </a:lnTo>
                  <a:lnTo>
                    <a:pt x="2283" y="3140"/>
                  </a:lnTo>
                  <a:lnTo>
                    <a:pt x="2303" y="3137"/>
                  </a:lnTo>
                  <a:lnTo>
                    <a:pt x="2319" y="3132"/>
                  </a:lnTo>
                  <a:lnTo>
                    <a:pt x="2335" y="3126"/>
                  </a:lnTo>
                  <a:lnTo>
                    <a:pt x="2349" y="3119"/>
                  </a:lnTo>
                  <a:lnTo>
                    <a:pt x="2362" y="3108"/>
                  </a:lnTo>
                  <a:lnTo>
                    <a:pt x="2374" y="3099"/>
                  </a:lnTo>
                  <a:lnTo>
                    <a:pt x="2385" y="3087"/>
                  </a:lnTo>
                  <a:lnTo>
                    <a:pt x="2392" y="3073"/>
                  </a:lnTo>
                  <a:lnTo>
                    <a:pt x="2401" y="3059"/>
                  </a:lnTo>
                  <a:lnTo>
                    <a:pt x="2406" y="3043"/>
                  </a:lnTo>
                  <a:lnTo>
                    <a:pt x="2412" y="3025"/>
                  </a:lnTo>
                  <a:lnTo>
                    <a:pt x="2415" y="3007"/>
                  </a:lnTo>
                  <a:lnTo>
                    <a:pt x="2417" y="2987"/>
                  </a:lnTo>
                  <a:lnTo>
                    <a:pt x="2417" y="2964"/>
                  </a:lnTo>
                  <a:lnTo>
                    <a:pt x="2417" y="2641"/>
                  </a:lnTo>
                  <a:lnTo>
                    <a:pt x="2328" y="2641"/>
                  </a:lnTo>
                  <a:lnTo>
                    <a:pt x="2328" y="2666"/>
                  </a:lnTo>
                  <a:close/>
                  <a:moveTo>
                    <a:pt x="2328" y="2749"/>
                  </a:moveTo>
                  <a:lnTo>
                    <a:pt x="2328" y="2890"/>
                  </a:lnTo>
                  <a:lnTo>
                    <a:pt x="2328" y="2890"/>
                  </a:lnTo>
                  <a:lnTo>
                    <a:pt x="2317" y="2902"/>
                  </a:lnTo>
                  <a:lnTo>
                    <a:pt x="2303" y="2915"/>
                  </a:lnTo>
                  <a:lnTo>
                    <a:pt x="2296" y="2918"/>
                  </a:lnTo>
                  <a:lnTo>
                    <a:pt x="2287" y="2922"/>
                  </a:lnTo>
                  <a:lnTo>
                    <a:pt x="2276" y="2923"/>
                  </a:lnTo>
                  <a:lnTo>
                    <a:pt x="2266" y="2925"/>
                  </a:lnTo>
                  <a:lnTo>
                    <a:pt x="2266" y="2925"/>
                  </a:lnTo>
                  <a:lnTo>
                    <a:pt x="2253" y="2923"/>
                  </a:lnTo>
                  <a:lnTo>
                    <a:pt x="2243" y="2920"/>
                  </a:lnTo>
                  <a:lnTo>
                    <a:pt x="2230" y="2913"/>
                  </a:lnTo>
                  <a:lnTo>
                    <a:pt x="2221" y="2904"/>
                  </a:lnTo>
                  <a:lnTo>
                    <a:pt x="2212" y="2890"/>
                  </a:lnTo>
                  <a:lnTo>
                    <a:pt x="2205" y="2870"/>
                  </a:lnTo>
                  <a:lnTo>
                    <a:pt x="2200" y="2845"/>
                  </a:lnTo>
                  <a:lnTo>
                    <a:pt x="2198" y="2813"/>
                  </a:lnTo>
                  <a:lnTo>
                    <a:pt x="2198" y="2813"/>
                  </a:lnTo>
                  <a:lnTo>
                    <a:pt x="2200" y="2785"/>
                  </a:lnTo>
                  <a:lnTo>
                    <a:pt x="2205" y="2763"/>
                  </a:lnTo>
                  <a:lnTo>
                    <a:pt x="2212" y="2746"/>
                  </a:lnTo>
                  <a:lnTo>
                    <a:pt x="2221" y="2733"/>
                  </a:lnTo>
                  <a:lnTo>
                    <a:pt x="2230" y="2722"/>
                  </a:lnTo>
                  <a:lnTo>
                    <a:pt x="2243" y="2717"/>
                  </a:lnTo>
                  <a:lnTo>
                    <a:pt x="2253" y="2714"/>
                  </a:lnTo>
                  <a:lnTo>
                    <a:pt x="2266" y="2714"/>
                  </a:lnTo>
                  <a:lnTo>
                    <a:pt x="2266" y="2714"/>
                  </a:lnTo>
                  <a:lnTo>
                    <a:pt x="2276" y="2714"/>
                  </a:lnTo>
                  <a:lnTo>
                    <a:pt x="2287" y="2717"/>
                  </a:lnTo>
                  <a:lnTo>
                    <a:pt x="2298" y="2721"/>
                  </a:lnTo>
                  <a:lnTo>
                    <a:pt x="2305" y="2724"/>
                  </a:lnTo>
                  <a:lnTo>
                    <a:pt x="2312" y="2731"/>
                  </a:lnTo>
                  <a:lnTo>
                    <a:pt x="2319" y="2737"/>
                  </a:lnTo>
                  <a:lnTo>
                    <a:pt x="2328" y="2749"/>
                  </a:lnTo>
                  <a:lnTo>
                    <a:pt x="2328" y="2749"/>
                  </a:lnTo>
                  <a:close/>
                  <a:moveTo>
                    <a:pt x="2693" y="2728"/>
                  </a:moveTo>
                  <a:lnTo>
                    <a:pt x="2693" y="2728"/>
                  </a:lnTo>
                  <a:lnTo>
                    <a:pt x="2714" y="2717"/>
                  </a:lnTo>
                  <a:lnTo>
                    <a:pt x="2735" y="2710"/>
                  </a:lnTo>
                  <a:lnTo>
                    <a:pt x="2758" y="2705"/>
                  </a:lnTo>
                  <a:lnTo>
                    <a:pt x="2783" y="2703"/>
                  </a:lnTo>
                  <a:lnTo>
                    <a:pt x="2783" y="2703"/>
                  </a:lnTo>
                  <a:lnTo>
                    <a:pt x="2799" y="2705"/>
                  </a:lnTo>
                  <a:lnTo>
                    <a:pt x="2812" y="2706"/>
                  </a:lnTo>
                  <a:lnTo>
                    <a:pt x="2822" y="2710"/>
                  </a:lnTo>
                  <a:lnTo>
                    <a:pt x="2831" y="2717"/>
                  </a:lnTo>
                  <a:lnTo>
                    <a:pt x="2838" y="2724"/>
                  </a:lnTo>
                  <a:lnTo>
                    <a:pt x="2844" y="2733"/>
                  </a:lnTo>
                  <a:lnTo>
                    <a:pt x="2847" y="2742"/>
                  </a:lnTo>
                  <a:lnTo>
                    <a:pt x="2847" y="2754"/>
                  </a:lnTo>
                  <a:lnTo>
                    <a:pt x="2847" y="2779"/>
                  </a:lnTo>
                  <a:lnTo>
                    <a:pt x="2847" y="2779"/>
                  </a:lnTo>
                  <a:lnTo>
                    <a:pt x="2831" y="2772"/>
                  </a:lnTo>
                  <a:lnTo>
                    <a:pt x="2812" y="2767"/>
                  </a:lnTo>
                  <a:lnTo>
                    <a:pt x="2792" y="2763"/>
                  </a:lnTo>
                  <a:lnTo>
                    <a:pt x="2771" y="2762"/>
                  </a:lnTo>
                  <a:lnTo>
                    <a:pt x="2771" y="2762"/>
                  </a:lnTo>
                  <a:lnTo>
                    <a:pt x="2746" y="2763"/>
                  </a:lnTo>
                  <a:lnTo>
                    <a:pt x="2721" y="2769"/>
                  </a:lnTo>
                  <a:lnTo>
                    <a:pt x="2698" y="2776"/>
                  </a:lnTo>
                  <a:lnTo>
                    <a:pt x="2685" y="2781"/>
                  </a:lnTo>
                  <a:lnTo>
                    <a:pt x="2675" y="2788"/>
                  </a:lnTo>
                  <a:lnTo>
                    <a:pt x="2666" y="2795"/>
                  </a:lnTo>
                  <a:lnTo>
                    <a:pt x="2657" y="2804"/>
                  </a:lnTo>
                  <a:lnTo>
                    <a:pt x="2648" y="2813"/>
                  </a:lnTo>
                  <a:lnTo>
                    <a:pt x="2641" y="2824"/>
                  </a:lnTo>
                  <a:lnTo>
                    <a:pt x="2636" y="2836"/>
                  </a:lnTo>
                  <a:lnTo>
                    <a:pt x="2632" y="2851"/>
                  </a:lnTo>
                  <a:lnTo>
                    <a:pt x="2630" y="2865"/>
                  </a:lnTo>
                  <a:lnTo>
                    <a:pt x="2628" y="2879"/>
                  </a:lnTo>
                  <a:lnTo>
                    <a:pt x="2628" y="2879"/>
                  </a:lnTo>
                  <a:lnTo>
                    <a:pt x="2630" y="2897"/>
                  </a:lnTo>
                  <a:lnTo>
                    <a:pt x="2632" y="2913"/>
                  </a:lnTo>
                  <a:lnTo>
                    <a:pt x="2636" y="2925"/>
                  </a:lnTo>
                  <a:lnTo>
                    <a:pt x="2641" y="2939"/>
                  </a:lnTo>
                  <a:lnTo>
                    <a:pt x="2646" y="2950"/>
                  </a:lnTo>
                  <a:lnTo>
                    <a:pt x="2655" y="2961"/>
                  </a:lnTo>
                  <a:lnTo>
                    <a:pt x="2662" y="2970"/>
                  </a:lnTo>
                  <a:lnTo>
                    <a:pt x="2673" y="2979"/>
                  </a:lnTo>
                  <a:lnTo>
                    <a:pt x="2682" y="2986"/>
                  </a:lnTo>
                  <a:lnTo>
                    <a:pt x="2693" y="2991"/>
                  </a:lnTo>
                  <a:lnTo>
                    <a:pt x="2716" y="3000"/>
                  </a:lnTo>
                  <a:lnTo>
                    <a:pt x="2739" y="3005"/>
                  </a:lnTo>
                  <a:lnTo>
                    <a:pt x="2762" y="3007"/>
                  </a:lnTo>
                  <a:lnTo>
                    <a:pt x="2762" y="3007"/>
                  </a:lnTo>
                  <a:lnTo>
                    <a:pt x="2781" y="3003"/>
                  </a:lnTo>
                  <a:lnTo>
                    <a:pt x="2794" y="3002"/>
                  </a:lnTo>
                  <a:lnTo>
                    <a:pt x="2805" y="2998"/>
                  </a:lnTo>
                  <a:lnTo>
                    <a:pt x="2817" y="2993"/>
                  </a:lnTo>
                  <a:lnTo>
                    <a:pt x="2828" y="2986"/>
                  </a:lnTo>
                  <a:lnTo>
                    <a:pt x="2838" y="2979"/>
                  </a:lnTo>
                  <a:lnTo>
                    <a:pt x="2847" y="2970"/>
                  </a:lnTo>
                  <a:lnTo>
                    <a:pt x="2847" y="2998"/>
                  </a:lnTo>
                  <a:lnTo>
                    <a:pt x="2936" y="2998"/>
                  </a:lnTo>
                  <a:lnTo>
                    <a:pt x="2936" y="2756"/>
                  </a:lnTo>
                  <a:lnTo>
                    <a:pt x="2936" y="2756"/>
                  </a:lnTo>
                  <a:lnTo>
                    <a:pt x="2936" y="2742"/>
                  </a:lnTo>
                  <a:lnTo>
                    <a:pt x="2934" y="2730"/>
                  </a:lnTo>
                  <a:lnTo>
                    <a:pt x="2931" y="2717"/>
                  </a:lnTo>
                  <a:lnTo>
                    <a:pt x="2927" y="2705"/>
                  </a:lnTo>
                  <a:lnTo>
                    <a:pt x="2920" y="2694"/>
                  </a:lnTo>
                  <a:lnTo>
                    <a:pt x="2915" y="2683"/>
                  </a:lnTo>
                  <a:lnTo>
                    <a:pt x="2906" y="2674"/>
                  </a:lnTo>
                  <a:lnTo>
                    <a:pt x="2897" y="2666"/>
                  </a:lnTo>
                  <a:lnTo>
                    <a:pt x="2888" y="2658"/>
                  </a:lnTo>
                  <a:lnTo>
                    <a:pt x="2877" y="2651"/>
                  </a:lnTo>
                  <a:lnTo>
                    <a:pt x="2865" y="2646"/>
                  </a:lnTo>
                  <a:lnTo>
                    <a:pt x="2853" y="2641"/>
                  </a:lnTo>
                  <a:lnTo>
                    <a:pt x="2838" y="2637"/>
                  </a:lnTo>
                  <a:lnTo>
                    <a:pt x="2824" y="2635"/>
                  </a:lnTo>
                  <a:lnTo>
                    <a:pt x="2808" y="2634"/>
                  </a:lnTo>
                  <a:lnTo>
                    <a:pt x="2792" y="2632"/>
                  </a:lnTo>
                  <a:lnTo>
                    <a:pt x="2792" y="2632"/>
                  </a:lnTo>
                  <a:lnTo>
                    <a:pt x="2773" y="2634"/>
                  </a:lnTo>
                  <a:lnTo>
                    <a:pt x="2757" y="2634"/>
                  </a:lnTo>
                  <a:lnTo>
                    <a:pt x="2739" y="2637"/>
                  </a:lnTo>
                  <a:lnTo>
                    <a:pt x="2721" y="2641"/>
                  </a:lnTo>
                  <a:lnTo>
                    <a:pt x="2705" y="2646"/>
                  </a:lnTo>
                  <a:lnTo>
                    <a:pt x="2689" y="2651"/>
                  </a:lnTo>
                  <a:lnTo>
                    <a:pt x="2673" y="2658"/>
                  </a:lnTo>
                  <a:lnTo>
                    <a:pt x="2657" y="2667"/>
                  </a:lnTo>
                  <a:lnTo>
                    <a:pt x="2693" y="2728"/>
                  </a:lnTo>
                  <a:close/>
                  <a:moveTo>
                    <a:pt x="2717" y="2879"/>
                  </a:moveTo>
                  <a:lnTo>
                    <a:pt x="2717" y="2879"/>
                  </a:lnTo>
                  <a:lnTo>
                    <a:pt x="2717" y="2868"/>
                  </a:lnTo>
                  <a:lnTo>
                    <a:pt x="2721" y="2858"/>
                  </a:lnTo>
                  <a:lnTo>
                    <a:pt x="2726" y="2849"/>
                  </a:lnTo>
                  <a:lnTo>
                    <a:pt x="2733" y="2842"/>
                  </a:lnTo>
                  <a:lnTo>
                    <a:pt x="2742" y="2836"/>
                  </a:lnTo>
                  <a:lnTo>
                    <a:pt x="2753" y="2833"/>
                  </a:lnTo>
                  <a:lnTo>
                    <a:pt x="2765" y="2829"/>
                  </a:lnTo>
                  <a:lnTo>
                    <a:pt x="2778" y="2829"/>
                  </a:lnTo>
                  <a:lnTo>
                    <a:pt x="2778" y="2829"/>
                  </a:lnTo>
                  <a:lnTo>
                    <a:pt x="2797" y="2829"/>
                  </a:lnTo>
                  <a:lnTo>
                    <a:pt x="2815" y="2833"/>
                  </a:lnTo>
                  <a:lnTo>
                    <a:pt x="2831" y="2838"/>
                  </a:lnTo>
                  <a:lnTo>
                    <a:pt x="2847" y="2847"/>
                  </a:lnTo>
                  <a:lnTo>
                    <a:pt x="2847" y="2895"/>
                  </a:lnTo>
                  <a:lnTo>
                    <a:pt x="2847" y="2895"/>
                  </a:lnTo>
                  <a:lnTo>
                    <a:pt x="2844" y="2902"/>
                  </a:lnTo>
                  <a:lnTo>
                    <a:pt x="2837" y="2909"/>
                  </a:lnTo>
                  <a:lnTo>
                    <a:pt x="2829" y="2916"/>
                  </a:lnTo>
                  <a:lnTo>
                    <a:pt x="2821" y="2922"/>
                  </a:lnTo>
                  <a:lnTo>
                    <a:pt x="2812" y="2927"/>
                  </a:lnTo>
                  <a:lnTo>
                    <a:pt x="2801" y="2931"/>
                  </a:lnTo>
                  <a:lnTo>
                    <a:pt x="2790" y="2932"/>
                  </a:lnTo>
                  <a:lnTo>
                    <a:pt x="2778" y="2934"/>
                  </a:lnTo>
                  <a:lnTo>
                    <a:pt x="2778" y="2934"/>
                  </a:lnTo>
                  <a:lnTo>
                    <a:pt x="2765" y="2932"/>
                  </a:lnTo>
                  <a:lnTo>
                    <a:pt x="2753" y="2929"/>
                  </a:lnTo>
                  <a:lnTo>
                    <a:pt x="2742" y="2925"/>
                  </a:lnTo>
                  <a:lnTo>
                    <a:pt x="2733" y="2918"/>
                  </a:lnTo>
                  <a:lnTo>
                    <a:pt x="2726" y="2911"/>
                  </a:lnTo>
                  <a:lnTo>
                    <a:pt x="2721" y="2902"/>
                  </a:lnTo>
                  <a:lnTo>
                    <a:pt x="2719" y="2891"/>
                  </a:lnTo>
                  <a:lnTo>
                    <a:pt x="2717" y="2879"/>
                  </a:lnTo>
                  <a:lnTo>
                    <a:pt x="2717" y="2879"/>
                  </a:lnTo>
                  <a:close/>
                  <a:moveTo>
                    <a:pt x="3760" y="2895"/>
                  </a:moveTo>
                  <a:lnTo>
                    <a:pt x="3760" y="2895"/>
                  </a:lnTo>
                  <a:lnTo>
                    <a:pt x="3747" y="2906"/>
                  </a:lnTo>
                  <a:lnTo>
                    <a:pt x="3731" y="2915"/>
                  </a:lnTo>
                  <a:lnTo>
                    <a:pt x="3722" y="2918"/>
                  </a:lnTo>
                  <a:lnTo>
                    <a:pt x="3712" y="2922"/>
                  </a:lnTo>
                  <a:lnTo>
                    <a:pt x="3701" y="2923"/>
                  </a:lnTo>
                  <a:lnTo>
                    <a:pt x="3690" y="2925"/>
                  </a:lnTo>
                  <a:lnTo>
                    <a:pt x="3690" y="2925"/>
                  </a:lnTo>
                  <a:lnTo>
                    <a:pt x="3681" y="2923"/>
                  </a:lnTo>
                  <a:lnTo>
                    <a:pt x="3671" y="2923"/>
                  </a:lnTo>
                  <a:lnTo>
                    <a:pt x="3658" y="2920"/>
                  </a:lnTo>
                  <a:lnTo>
                    <a:pt x="3644" y="2913"/>
                  </a:lnTo>
                  <a:lnTo>
                    <a:pt x="3632" y="2904"/>
                  </a:lnTo>
                  <a:lnTo>
                    <a:pt x="3626" y="2897"/>
                  </a:lnTo>
                  <a:lnTo>
                    <a:pt x="3621" y="2890"/>
                  </a:lnTo>
                  <a:lnTo>
                    <a:pt x="3617" y="2881"/>
                  </a:lnTo>
                  <a:lnTo>
                    <a:pt x="3614" y="2870"/>
                  </a:lnTo>
                  <a:lnTo>
                    <a:pt x="3612" y="2859"/>
                  </a:lnTo>
                  <a:lnTo>
                    <a:pt x="3610" y="2847"/>
                  </a:lnTo>
                  <a:lnTo>
                    <a:pt x="3829" y="2847"/>
                  </a:lnTo>
                  <a:lnTo>
                    <a:pt x="3829" y="2847"/>
                  </a:lnTo>
                  <a:lnTo>
                    <a:pt x="3831" y="2820"/>
                  </a:lnTo>
                  <a:lnTo>
                    <a:pt x="3831" y="2820"/>
                  </a:lnTo>
                  <a:lnTo>
                    <a:pt x="3831" y="2799"/>
                  </a:lnTo>
                  <a:lnTo>
                    <a:pt x="3827" y="2779"/>
                  </a:lnTo>
                  <a:lnTo>
                    <a:pt x="3825" y="2760"/>
                  </a:lnTo>
                  <a:lnTo>
                    <a:pt x="3820" y="2742"/>
                  </a:lnTo>
                  <a:lnTo>
                    <a:pt x="3815" y="2726"/>
                  </a:lnTo>
                  <a:lnTo>
                    <a:pt x="3808" y="2710"/>
                  </a:lnTo>
                  <a:lnTo>
                    <a:pt x="3799" y="2696"/>
                  </a:lnTo>
                  <a:lnTo>
                    <a:pt x="3790" y="2683"/>
                  </a:lnTo>
                  <a:lnTo>
                    <a:pt x="3779" y="2671"/>
                  </a:lnTo>
                  <a:lnTo>
                    <a:pt x="3768" y="2662"/>
                  </a:lnTo>
                  <a:lnTo>
                    <a:pt x="3756" y="2653"/>
                  </a:lnTo>
                  <a:lnTo>
                    <a:pt x="3742" y="2646"/>
                  </a:lnTo>
                  <a:lnTo>
                    <a:pt x="3728" y="2641"/>
                  </a:lnTo>
                  <a:lnTo>
                    <a:pt x="3713" y="2635"/>
                  </a:lnTo>
                  <a:lnTo>
                    <a:pt x="3697" y="2634"/>
                  </a:lnTo>
                  <a:lnTo>
                    <a:pt x="3680" y="2632"/>
                  </a:lnTo>
                  <a:lnTo>
                    <a:pt x="3680" y="2632"/>
                  </a:lnTo>
                  <a:lnTo>
                    <a:pt x="3664" y="2634"/>
                  </a:lnTo>
                  <a:lnTo>
                    <a:pt x="3648" y="2635"/>
                  </a:lnTo>
                  <a:lnTo>
                    <a:pt x="3632" y="2641"/>
                  </a:lnTo>
                  <a:lnTo>
                    <a:pt x="3616" y="2646"/>
                  </a:lnTo>
                  <a:lnTo>
                    <a:pt x="3601" y="2653"/>
                  </a:lnTo>
                  <a:lnTo>
                    <a:pt x="3589" y="2664"/>
                  </a:lnTo>
                  <a:lnTo>
                    <a:pt x="3576" y="2673"/>
                  </a:lnTo>
                  <a:lnTo>
                    <a:pt x="3566" y="2685"/>
                  </a:lnTo>
                  <a:lnTo>
                    <a:pt x="3555" y="2698"/>
                  </a:lnTo>
                  <a:lnTo>
                    <a:pt x="3546" y="2712"/>
                  </a:lnTo>
                  <a:lnTo>
                    <a:pt x="3539" y="2728"/>
                  </a:lnTo>
                  <a:lnTo>
                    <a:pt x="3532" y="2744"/>
                  </a:lnTo>
                  <a:lnTo>
                    <a:pt x="3527" y="2762"/>
                  </a:lnTo>
                  <a:lnTo>
                    <a:pt x="3523" y="2781"/>
                  </a:lnTo>
                  <a:lnTo>
                    <a:pt x="3521" y="2799"/>
                  </a:lnTo>
                  <a:lnTo>
                    <a:pt x="3519" y="2820"/>
                  </a:lnTo>
                  <a:lnTo>
                    <a:pt x="3519" y="2820"/>
                  </a:lnTo>
                  <a:lnTo>
                    <a:pt x="3521" y="2840"/>
                  </a:lnTo>
                  <a:lnTo>
                    <a:pt x="3523" y="2859"/>
                  </a:lnTo>
                  <a:lnTo>
                    <a:pt x="3527" y="2879"/>
                  </a:lnTo>
                  <a:lnTo>
                    <a:pt x="3532" y="2897"/>
                  </a:lnTo>
                  <a:lnTo>
                    <a:pt x="3539" y="2913"/>
                  </a:lnTo>
                  <a:lnTo>
                    <a:pt x="3546" y="2929"/>
                  </a:lnTo>
                  <a:lnTo>
                    <a:pt x="3555" y="2943"/>
                  </a:lnTo>
                  <a:lnTo>
                    <a:pt x="3566" y="2955"/>
                  </a:lnTo>
                  <a:lnTo>
                    <a:pt x="3578" y="2966"/>
                  </a:lnTo>
                  <a:lnTo>
                    <a:pt x="3591" y="2977"/>
                  </a:lnTo>
                  <a:lnTo>
                    <a:pt x="3605" y="2986"/>
                  </a:lnTo>
                  <a:lnTo>
                    <a:pt x="3619" y="2993"/>
                  </a:lnTo>
                  <a:lnTo>
                    <a:pt x="3635" y="2998"/>
                  </a:lnTo>
                  <a:lnTo>
                    <a:pt x="3653" y="3003"/>
                  </a:lnTo>
                  <a:lnTo>
                    <a:pt x="3671" y="3005"/>
                  </a:lnTo>
                  <a:lnTo>
                    <a:pt x="3690" y="3007"/>
                  </a:lnTo>
                  <a:lnTo>
                    <a:pt x="3690" y="3007"/>
                  </a:lnTo>
                  <a:lnTo>
                    <a:pt x="3708" y="3005"/>
                  </a:lnTo>
                  <a:lnTo>
                    <a:pt x="3724" y="3003"/>
                  </a:lnTo>
                  <a:lnTo>
                    <a:pt x="3742" y="2998"/>
                  </a:lnTo>
                  <a:lnTo>
                    <a:pt x="3758" y="2993"/>
                  </a:lnTo>
                  <a:lnTo>
                    <a:pt x="3774" y="2984"/>
                  </a:lnTo>
                  <a:lnTo>
                    <a:pt x="3788" y="2975"/>
                  </a:lnTo>
                  <a:lnTo>
                    <a:pt x="3802" y="2963"/>
                  </a:lnTo>
                  <a:lnTo>
                    <a:pt x="3816" y="2950"/>
                  </a:lnTo>
                  <a:lnTo>
                    <a:pt x="3760" y="2895"/>
                  </a:lnTo>
                  <a:close/>
                  <a:moveTo>
                    <a:pt x="3612" y="2781"/>
                  </a:moveTo>
                  <a:lnTo>
                    <a:pt x="3612" y="2781"/>
                  </a:lnTo>
                  <a:lnTo>
                    <a:pt x="3614" y="2765"/>
                  </a:lnTo>
                  <a:lnTo>
                    <a:pt x="3617" y="2751"/>
                  </a:lnTo>
                  <a:lnTo>
                    <a:pt x="3623" y="2738"/>
                  </a:lnTo>
                  <a:lnTo>
                    <a:pt x="3632" y="2728"/>
                  </a:lnTo>
                  <a:lnTo>
                    <a:pt x="3640" y="2719"/>
                  </a:lnTo>
                  <a:lnTo>
                    <a:pt x="3651" y="2714"/>
                  </a:lnTo>
                  <a:lnTo>
                    <a:pt x="3664" y="2708"/>
                  </a:lnTo>
                  <a:lnTo>
                    <a:pt x="3678" y="2708"/>
                  </a:lnTo>
                  <a:lnTo>
                    <a:pt x="3678" y="2708"/>
                  </a:lnTo>
                  <a:lnTo>
                    <a:pt x="3694" y="2710"/>
                  </a:lnTo>
                  <a:lnTo>
                    <a:pt x="3708" y="2714"/>
                  </a:lnTo>
                  <a:lnTo>
                    <a:pt x="3719" y="2721"/>
                  </a:lnTo>
                  <a:lnTo>
                    <a:pt x="3728" y="2731"/>
                  </a:lnTo>
                  <a:lnTo>
                    <a:pt x="3735" y="2742"/>
                  </a:lnTo>
                  <a:lnTo>
                    <a:pt x="3740" y="2754"/>
                  </a:lnTo>
                  <a:lnTo>
                    <a:pt x="3744" y="2769"/>
                  </a:lnTo>
                  <a:lnTo>
                    <a:pt x="3745" y="2781"/>
                  </a:lnTo>
                  <a:lnTo>
                    <a:pt x="3612" y="2781"/>
                  </a:lnTo>
                  <a:close/>
                  <a:moveTo>
                    <a:pt x="4615" y="2895"/>
                  </a:moveTo>
                  <a:lnTo>
                    <a:pt x="4615" y="2895"/>
                  </a:lnTo>
                  <a:lnTo>
                    <a:pt x="4601" y="2906"/>
                  </a:lnTo>
                  <a:lnTo>
                    <a:pt x="4587" y="2915"/>
                  </a:lnTo>
                  <a:lnTo>
                    <a:pt x="4576" y="2918"/>
                  </a:lnTo>
                  <a:lnTo>
                    <a:pt x="4567" y="2922"/>
                  </a:lnTo>
                  <a:lnTo>
                    <a:pt x="4556" y="2923"/>
                  </a:lnTo>
                  <a:lnTo>
                    <a:pt x="4544" y="2925"/>
                  </a:lnTo>
                  <a:lnTo>
                    <a:pt x="4544" y="2925"/>
                  </a:lnTo>
                  <a:lnTo>
                    <a:pt x="4535" y="2923"/>
                  </a:lnTo>
                  <a:lnTo>
                    <a:pt x="4524" y="2923"/>
                  </a:lnTo>
                  <a:lnTo>
                    <a:pt x="4512" y="2920"/>
                  </a:lnTo>
                  <a:lnTo>
                    <a:pt x="4499" y="2913"/>
                  </a:lnTo>
                  <a:lnTo>
                    <a:pt x="4487" y="2904"/>
                  </a:lnTo>
                  <a:lnTo>
                    <a:pt x="4482" y="2897"/>
                  </a:lnTo>
                  <a:lnTo>
                    <a:pt x="4476" y="2890"/>
                  </a:lnTo>
                  <a:lnTo>
                    <a:pt x="4473" y="2881"/>
                  </a:lnTo>
                  <a:lnTo>
                    <a:pt x="4469" y="2870"/>
                  </a:lnTo>
                  <a:lnTo>
                    <a:pt x="4466" y="2859"/>
                  </a:lnTo>
                  <a:lnTo>
                    <a:pt x="4464" y="2847"/>
                  </a:lnTo>
                  <a:lnTo>
                    <a:pt x="4684" y="2847"/>
                  </a:lnTo>
                  <a:lnTo>
                    <a:pt x="4684" y="2847"/>
                  </a:lnTo>
                  <a:lnTo>
                    <a:pt x="4686" y="2820"/>
                  </a:lnTo>
                  <a:lnTo>
                    <a:pt x="4686" y="2820"/>
                  </a:lnTo>
                  <a:lnTo>
                    <a:pt x="4684" y="2799"/>
                  </a:lnTo>
                  <a:lnTo>
                    <a:pt x="4683" y="2779"/>
                  </a:lnTo>
                  <a:lnTo>
                    <a:pt x="4679" y="2760"/>
                  </a:lnTo>
                  <a:lnTo>
                    <a:pt x="4675" y="2742"/>
                  </a:lnTo>
                  <a:lnTo>
                    <a:pt x="4668" y="2726"/>
                  </a:lnTo>
                  <a:lnTo>
                    <a:pt x="4661" y="2710"/>
                  </a:lnTo>
                  <a:lnTo>
                    <a:pt x="4654" y="2696"/>
                  </a:lnTo>
                  <a:lnTo>
                    <a:pt x="4645" y="2683"/>
                  </a:lnTo>
                  <a:lnTo>
                    <a:pt x="4635" y="2671"/>
                  </a:lnTo>
                  <a:lnTo>
                    <a:pt x="4622" y="2662"/>
                  </a:lnTo>
                  <a:lnTo>
                    <a:pt x="4610" y="2653"/>
                  </a:lnTo>
                  <a:lnTo>
                    <a:pt x="4597" y="2646"/>
                  </a:lnTo>
                  <a:lnTo>
                    <a:pt x="4583" y="2641"/>
                  </a:lnTo>
                  <a:lnTo>
                    <a:pt x="4567" y="2635"/>
                  </a:lnTo>
                  <a:lnTo>
                    <a:pt x="4551" y="2634"/>
                  </a:lnTo>
                  <a:lnTo>
                    <a:pt x="4535" y="2632"/>
                  </a:lnTo>
                  <a:lnTo>
                    <a:pt x="4535" y="2632"/>
                  </a:lnTo>
                  <a:lnTo>
                    <a:pt x="4517" y="2634"/>
                  </a:lnTo>
                  <a:lnTo>
                    <a:pt x="4501" y="2635"/>
                  </a:lnTo>
                  <a:lnTo>
                    <a:pt x="4485" y="2641"/>
                  </a:lnTo>
                  <a:lnTo>
                    <a:pt x="4471" y="2646"/>
                  </a:lnTo>
                  <a:lnTo>
                    <a:pt x="4457" y="2653"/>
                  </a:lnTo>
                  <a:lnTo>
                    <a:pt x="4442" y="2664"/>
                  </a:lnTo>
                  <a:lnTo>
                    <a:pt x="4432" y="2673"/>
                  </a:lnTo>
                  <a:lnTo>
                    <a:pt x="4419" y="2685"/>
                  </a:lnTo>
                  <a:lnTo>
                    <a:pt x="4409" y="2698"/>
                  </a:lnTo>
                  <a:lnTo>
                    <a:pt x="4400" y="2712"/>
                  </a:lnTo>
                  <a:lnTo>
                    <a:pt x="4393" y="2728"/>
                  </a:lnTo>
                  <a:lnTo>
                    <a:pt x="4386" y="2744"/>
                  </a:lnTo>
                  <a:lnTo>
                    <a:pt x="4382" y="2762"/>
                  </a:lnTo>
                  <a:lnTo>
                    <a:pt x="4377" y="2781"/>
                  </a:lnTo>
                  <a:lnTo>
                    <a:pt x="4375" y="2799"/>
                  </a:lnTo>
                  <a:lnTo>
                    <a:pt x="4375" y="2820"/>
                  </a:lnTo>
                  <a:lnTo>
                    <a:pt x="4375" y="2820"/>
                  </a:lnTo>
                  <a:lnTo>
                    <a:pt x="4375" y="2840"/>
                  </a:lnTo>
                  <a:lnTo>
                    <a:pt x="4377" y="2859"/>
                  </a:lnTo>
                  <a:lnTo>
                    <a:pt x="4380" y="2879"/>
                  </a:lnTo>
                  <a:lnTo>
                    <a:pt x="4386" y="2897"/>
                  </a:lnTo>
                  <a:lnTo>
                    <a:pt x="4393" y="2913"/>
                  </a:lnTo>
                  <a:lnTo>
                    <a:pt x="4402" y="2929"/>
                  </a:lnTo>
                  <a:lnTo>
                    <a:pt x="4410" y="2943"/>
                  </a:lnTo>
                  <a:lnTo>
                    <a:pt x="4421" y="2955"/>
                  </a:lnTo>
                  <a:lnTo>
                    <a:pt x="4432" y="2966"/>
                  </a:lnTo>
                  <a:lnTo>
                    <a:pt x="4444" y="2977"/>
                  </a:lnTo>
                  <a:lnTo>
                    <a:pt x="4458" y="2986"/>
                  </a:lnTo>
                  <a:lnTo>
                    <a:pt x="4474" y="2993"/>
                  </a:lnTo>
                  <a:lnTo>
                    <a:pt x="4490" y="2998"/>
                  </a:lnTo>
                  <a:lnTo>
                    <a:pt x="4506" y="3003"/>
                  </a:lnTo>
                  <a:lnTo>
                    <a:pt x="4526" y="3005"/>
                  </a:lnTo>
                  <a:lnTo>
                    <a:pt x="4544" y="3007"/>
                  </a:lnTo>
                  <a:lnTo>
                    <a:pt x="4544" y="3007"/>
                  </a:lnTo>
                  <a:lnTo>
                    <a:pt x="4562" y="3005"/>
                  </a:lnTo>
                  <a:lnTo>
                    <a:pt x="4579" y="3003"/>
                  </a:lnTo>
                  <a:lnTo>
                    <a:pt x="4595" y="2998"/>
                  </a:lnTo>
                  <a:lnTo>
                    <a:pt x="4611" y="2993"/>
                  </a:lnTo>
                  <a:lnTo>
                    <a:pt x="4627" y="2984"/>
                  </a:lnTo>
                  <a:lnTo>
                    <a:pt x="4643" y="2975"/>
                  </a:lnTo>
                  <a:lnTo>
                    <a:pt x="4658" y="2963"/>
                  </a:lnTo>
                  <a:lnTo>
                    <a:pt x="4670" y="2950"/>
                  </a:lnTo>
                  <a:lnTo>
                    <a:pt x="4615" y="2895"/>
                  </a:lnTo>
                  <a:close/>
                  <a:moveTo>
                    <a:pt x="4466" y="2781"/>
                  </a:moveTo>
                  <a:lnTo>
                    <a:pt x="4466" y="2781"/>
                  </a:lnTo>
                  <a:lnTo>
                    <a:pt x="4467" y="2765"/>
                  </a:lnTo>
                  <a:lnTo>
                    <a:pt x="4473" y="2751"/>
                  </a:lnTo>
                  <a:lnTo>
                    <a:pt x="4478" y="2738"/>
                  </a:lnTo>
                  <a:lnTo>
                    <a:pt x="4485" y="2728"/>
                  </a:lnTo>
                  <a:lnTo>
                    <a:pt x="4496" y="2719"/>
                  </a:lnTo>
                  <a:lnTo>
                    <a:pt x="4506" y="2714"/>
                  </a:lnTo>
                  <a:lnTo>
                    <a:pt x="4519" y="2708"/>
                  </a:lnTo>
                  <a:lnTo>
                    <a:pt x="4533" y="2708"/>
                  </a:lnTo>
                  <a:lnTo>
                    <a:pt x="4533" y="2708"/>
                  </a:lnTo>
                  <a:lnTo>
                    <a:pt x="4549" y="2710"/>
                  </a:lnTo>
                  <a:lnTo>
                    <a:pt x="4562" y="2714"/>
                  </a:lnTo>
                  <a:lnTo>
                    <a:pt x="4574" y="2721"/>
                  </a:lnTo>
                  <a:lnTo>
                    <a:pt x="4583" y="2731"/>
                  </a:lnTo>
                  <a:lnTo>
                    <a:pt x="4590" y="2742"/>
                  </a:lnTo>
                  <a:lnTo>
                    <a:pt x="4595" y="2754"/>
                  </a:lnTo>
                  <a:lnTo>
                    <a:pt x="4599" y="2769"/>
                  </a:lnTo>
                  <a:lnTo>
                    <a:pt x="4601" y="2781"/>
                  </a:lnTo>
                  <a:lnTo>
                    <a:pt x="4466" y="2781"/>
                  </a:lnTo>
                  <a:close/>
                  <a:moveTo>
                    <a:pt x="4252" y="2874"/>
                  </a:moveTo>
                  <a:lnTo>
                    <a:pt x="4252" y="2874"/>
                  </a:lnTo>
                  <a:lnTo>
                    <a:pt x="4252" y="2886"/>
                  </a:lnTo>
                  <a:lnTo>
                    <a:pt x="4254" y="2895"/>
                  </a:lnTo>
                  <a:lnTo>
                    <a:pt x="4258" y="2904"/>
                  </a:lnTo>
                  <a:lnTo>
                    <a:pt x="4261" y="2911"/>
                  </a:lnTo>
                  <a:lnTo>
                    <a:pt x="4266" y="2916"/>
                  </a:lnTo>
                  <a:lnTo>
                    <a:pt x="4274" y="2920"/>
                  </a:lnTo>
                  <a:lnTo>
                    <a:pt x="4281" y="2922"/>
                  </a:lnTo>
                  <a:lnTo>
                    <a:pt x="4291" y="2922"/>
                  </a:lnTo>
                  <a:lnTo>
                    <a:pt x="4291" y="2922"/>
                  </a:lnTo>
                  <a:lnTo>
                    <a:pt x="4304" y="2922"/>
                  </a:lnTo>
                  <a:lnTo>
                    <a:pt x="4318" y="2918"/>
                  </a:lnTo>
                  <a:lnTo>
                    <a:pt x="4332" y="2913"/>
                  </a:lnTo>
                  <a:lnTo>
                    <a:pt x="4345" y="2906"/>
                  </a:lnTo>
                  <a:lnTo>
                    <a:pt x="4334" y="2989"/>
                  </a:lnTo>
                  <a:lnTo>
                    <a:pt x="4334" y="2989"/>
                  </a:lnTo>
                  <a:lnTo>
                    <a:pt x="4318" y="2996"/>
                  </a:lnTo>
                  <a:lnTo>
                    <a:pt x="4298" y="3002"/>
                  </a:lnTo>
                  <a:lnTo>
                    <a:pt x="4279" y="3005"/>
                  </a:lnTo>
                  <a:lnTo>
                    <a:pt x="4259" y="3007"/>
                  </a:lnTo>
                  <a:lnTo>
                    <a:pt x="4259" y="3007"/>
                  </a:lnTo>
                  <a:lnTo>
                    <a:pt x="4247" y="3005"/>
                  </a:lnTo>
                  <a:lnTo>
                    <a:pt x="4234" y="3003"/>
                  </a:lnTo>
                  <a:lnTo>
                    <a:pt x="4224" y="3000"/>
                  </a:lnTo>
                  <a:lnTo>
                    <a:pt x="4215" y="2996"/>
                  </a:lnTo>
                  <a:lnTo>
                    <a:pt x="4206" y="2991"/>
                  </a:lnTo>
                  <a:lnTo>
                    <a:pt x="4197" y="2986"/>
                  </a:lnTo>
                  <a:lnTo>
                    <a:pt x="4192" y="2979"/>
                  </a:lnTo>
                  <a:lnTo>
                    <a:pt x="4185" y="2970"/>
                  </a:lnTo>
                  <a:lnTo>
                    <a:pt x="4176" y="2954"/>
                  </a:lnTo>
                  <a:lnTo>
                    <a:pt x="4169" y="2934"/>
                  </a:lnTo>
                  <a:lnTo>
                    <a:pt x="4165" y="2916"/>
                  </a:lnTo>
                  <a:lnTo>
                    <a:pt x="4163" y="2897"/>
                  </a:lnTo>
                  <a:lnTo>
                    <a:pt x="4163" y="2722"/>
                  </a:lnTo>
                  <a:lnTo>
                    <a:pt x="4108" y="2722"/>
                  </a:lnTo>
                  <a:lnTo>
                    <a:pt x="4108" y="2641"/>
                  </a:lnTo>
                  <a:lnTo>
                    <a:pt x="4163" y="2641"/>
                  </a:lnTo>
                  <a:lnTo>
                    <a:pt x="4163" y="2548"/>
                  </a:lnTo>
                  <a:lnTo>
                    <a:pt x="4252" y="2504"/>
                  </a:lnTo>
                  <a:lnTo>
                    <a:pt x="4252" y="2641"/>
                  </a:lnTo>
                  <a:lnTo>
                    <a:pt x="4332" y="2641"/>
                  </a:lnTo>
                  <a:lnTo>
                    <a:pt x="4332" y="2722"/>
                  </a:lnTo>
                  <a:lnTo>
                    <a:pt x="4252" y="2722"/>
                  </a:lnTo>
                  <a:lnTo>
                    <a:pt x="4252" y="2874"/>
                  </a:lnTo>
                  <a:close/>
                  <a:moveTo>
                    <a:pt x="4080" y="2989"/>
                  </a:moveTo>
                  <a:lnTo>
                    <a:pt x="4080" y="2989"/>
                  </a:lnTo>
                  <a:lnTo>
                    <a:pt x="4064" y="2996"/>
                  </a:lnTo>
                  <a:lnTo>
                    <a:pt x="4046" y="3002"/>
                  </a:lnTo>
                  <a:lnTo>
                    <a:pt x="4026" y="3005"/>
                  </a:lnTo>
                  <a:lnTo>
                    <a:pt x="4007" y="3007"/>
                  </a:lnTo>
                  <a:lnTo>
                    <a:pt x="4007" y="3007"/>
                  </a:lnTo>
                  <a:lnTo>
                    <a:pt x="3993" y="3005"/>
                  </a:lnTo>
                  <a:lnTo>
                    <a:pt x="3982" y="3003"/>
                  </a:lnTo>
                  <a:lnTo>
                    <a:pt x="3971" y="3000"/>
                  </a:lnTo>
                  <a:lnTo>
                    <a:pt x="3961" y="2996"/>
                  </a:lnTo>
                  <a:lnTo>
                    <a:pt x="3953" y="2991"/>
                  </a:lnTo>
                  <a:lnTo>
                    <a:pt x="3945" y="2986"/>
                  </a:lnTo>
                  <a:lnTo>
                    <a:pt x="3937" y="2979"/>
                  </a:lnTo>
                  <a:lnTo>
                    <a:pt x="3932" y="2970"/>
                  </a:lnTo>
                  <a:lnTo>
                    <a:pt x="3921" y="2954"/>
                  </a:lnTo>
                  <a:lnTo>
                    <a:pt x="3916" y="2934"/>
                  </a:lnTo>
                  <a:lnTo>
                    <a:pt x="3911" y="2916"/>
                  </a:lnTo>
                  <a:lnTo>
                    <a:pt x="3911" y="2897"/>
                  </a:lnTo>
                  <a:lnTo>
                    <a:pt x="3911" y="2722"/>
                  </a:lnTo>
                  <a:lnTo>
                    <a:pt x="3856" y="2722"/>
                  </a:lnTo>
                  <a:lnTo>
                    <a:pt x="3856" y="2641"/>
                  </a:lnTo>
                  <a:lnTo>
                    <a:pt x="3911" y="2641"/>
                  </a:lnTo>
                  <a:lnTo>
                    <a:pt x="3911" y="2548"/>
                  </a:lnTo>
                  <a:lnTo>
                    <a:pt x="4000" y="2504"/>
                  </a:lnTo>
                  <a:lnTo>
                    <a:pt x="4000" y="2641"/>
                  </a:lnTo>
                  <a:lnTo>
                    <a:pt x="4074" y="2641"/>
                  </a:lnTo>
                  <a:lnTo>
                    <a:pt x="4074" y="2722"/>
                  </a:lnTo>
                  <a:lnTo>
                    <a:pt x="4000" y="2722"/>
                  </a:lnTo>
                  <a:lnTo>
                    <a:pt x="4000" y="2874"/>
                  </a:lnTo>
                  <a:lnTo>
                    <a:pt x="4000" y="2874"/>
                  </a:lnTo>
                  <a:lnTo>
                    <a:pt x="4000" y="2886"/>
                  </a:lnTo>
                  <a:lnTo>
                    <a:pt x="4001" y="2895"/>
                  </a:lnTo>
                  <a:lnTo>
                    <a:pt x="4005" y="2904"/>
                  </a:lnTo>
                  <a:lnTo>
                    <a:pt x="4009" y="2911"/>
                  </a:lnTo>
                  <a:lnTo>
                    <a:pt x="4014" y="2916"/>
                  </a:lnTo>
                  <a:lnTo>
                    <a:pt x="4021" y="2920"/>
                  </a:lnTo>
                  <a:lnTo>
                    <a:pt x="4028" y="2922"/>
                  </a:lnTo>
                  <a:lnTo>
                    <a:pt x="4037" y="2922"/>
                  </a:lnTo>
                  <a:lnTo>
                    <a:pt x="4037" y="2922"/>
                  </a:lnTo>
                  <a:lnTo>
                    <a:pt x="4051" y="2922"/>
                  </a:lnTo>
                  <a:lnTo>
                    <a:pt x="4065" y="2918"/>
                  </a:lnTo>
                  <a:lnTo>
                    <a:pt x="4078" y="2913"/>
                  </a:lnTo>
                  <a:lnTo>
                    <a:pt x="4090" y="2906"/>
                  </a:lnTo>
                  <a:lnTo>
                    <a:pt x="4080" y="2989"/>
                  </a:lnTo>
                  <a:close/>
                  <a:moveTo>
                    <a:pt x="4953" y="2740"/>
                  </a:moveTo>
                  <a:lnTo>
                    <a:pt x="4953" y="2740"/>
                  </a:lnTo>
                  <a:lnTo>
                    <a:pt x="4940" y="2731"/>
                  </a:lnTo>
                  <a:lnTo>
                    <a:pt x="4926" y="2726"/>
                  </a:lnTo>
                  <a:lnTo>
                    <a:pt x="4910" y="2722"/>
                  </a:lnTo>
                  <a:lnTo>
                    <a:pt x="4894" y="2721"/>
                  </a:lnTo>
                  <a:lnTo>
                    <a:pt x="4894" y="2721"/>
                  </a:lnTo>
                  <a:lnTo>
                    <a:pt x="4880" y="2722"/>
                  </a:lnTo>
                  <a:lnTo>
                    <a:pt x="4866" y="2726"/>
                  </a:lnTo>
                  <a:lnTo>
                    <a:pt x="4855" y="2733"/>
                  </a:lnTo>
                  <a:lnTo>
                    <a:pt x="4846" y="2742"/>
                  </a:lnTo>
                  <a:lnTo>
                    <a:pt x="4839" y="2753"/>
                  </a:lnTo>
                  <a:lnTo>
                    <a:pt x="4836" y="2767"/>
                  </a:lnTo>
                  <a:lnTo>
                    <a:pt x="4832" y="2785"/>
                  </a:lnTo>
                  <a:lnTo>
                    <a:pt x="4830" y="2804"/>
                  </a:lnTo>
                  <a:lnTo>
                    <a:pt x="4830" y="2998"/>
                  </a:lnTo>
                  <a:lnTo>
                    <a:pt x="4743" y="2998"/>
                  </a:lnTo>
                  <a:lnTo>
                    <a:pt x="4743" y="2641"/>
                  </a:lnTo>
                  <a:lnTo>
                    <a:pt x="4830" y="2641"/>
                  </a:lnTo>
                  <a:lnTo>
                    <a:pt x="4830" y="2671"/>
                  </a:lnTo>
                  <a:lnTo>
                    <a:pt x="4830" y="2671"/>
                  </a:lnTo>
                  <a:lnTo>
                    <a:pt x="4839" y="2662"/>
                  </a:lnTo>
                  <a:lnTo>
                    <a:pt x="4848" y="2653"/>
                  </a:lnTo>
                  <a:lnTo>
                    <a:pt x="4857" y="2648"/>
                  </a:lnTo>
                  <a:lnTo>
                    <a:pt x="4868" y="2642"/>
                  </a:lnTo>
                  <a:lnTo>
                    <a:pt x="4876" y="2637"/>
                  </a:lnTo>
                  <a:lnTo>
                    <a:pt x="4887" y="2635"/>
                  </a:lnTo>
                  <a:lnTo>
                    <a:pt x="4898" y="2634"/>
                  </a:lnTo>
                  <a:lnTo>
                    <a:pt x="4910" y="2632"/>
                  </a:lnTo>
                  <a:lnTo>
                    <a:pt x="4910" y="2632"/>
                  </a:lnTo>
                  <a:lnTo>
                    <a:pt x="4928" y="2634"/>
                  </a:lnTo>
                  <a:lnTo>
                    <a:pt x="4946" y="2639"/>
                  </a:lnTo>
                  <a:lnTo>
                    <a:pt x="4962" y="2644"/>
                  </a:lnTo>
                  <a:lnTo>
                    <a:pt x="4976" y="2653"/>
                  </a:lnTo>
                  <a:lnTo>
                    <a:pt x="4953" y="2740"/>
                  </a:lnTo>
                  <a:close/>
                  <a:moveTo>
                    <a:pt x="955" y="2555"/>
                  </a:moveTo>
                  <a:lnTo>
                    <a:pt x="955" y="2589"/>
                  </a:lnTo>
                  <a:lnTo>
                    <a:pt x="866" y="2589"/>
                  </a:lnTo>
                  <a:lnTo>
                    <a:pt x="866" y="2500"/>
                  </a:lnTo>
                  <a:lnTo>
                    <a:pt x="955" y="2500"/>
                  </a:lnTo>
                  <a:lnTo>
                    <a:pt x="955" y="2555"/>
                  </a:lnTo>
                  <a:close/>
                  <a:moveTo>
                    <a:pt x="1570" y="2641"/>
                  </a:moveTo>
                  <a:lnTo>
                    <a:pt x="1659" y="2641"/>
                  </a:lnTo>
                  <a:lnTo>
                    <a:pt x="1659" y="2824"/>
                  </a:lnTo>
                  <a:lnTo>
                    <a:pt x="1659" y="2998"/>
                  </a:lnTo>
                  <a:lnTo>
                    <a:pt x="1570" y="2998"/>
                  </a:lnTo>
                  <a:lnTo>
                    <a:pt x="1570" y="2641"/>
                  </a:lnTo>
                  <a:close/>
                  <a:moveTo>
                    <a:pt x="1659" y="2545"/>
                  </a:moveTo>
                  <a:lnTo>
                    <a:pt x="1659" y="2589"/>
                  </a:lnTo>
                  <a:lnTo>
                    <a:pt x="1570" y="2589"/>
                  </a:lnTo>
                  <a:lnTo>
                    <a:pt x="1570" y="2500"/>
                  </a:lnTo>
                  <a:lnTo>
                    <a:pt x="1659" y="2500"/>
                  </a:lnTo>
                  <a:lnTo>
                    <a:pt x="1659" y="2545"/>
                  </a:lnTo>
                  <a:close/>
                  <a:moveTo>
                    <a:pt x="4092" y="3292"/>
                  </a:moveTo>
                  <a:lnTo>
                    <a:pt x="4092" y="3292"/>
                  </a:lnTo>
                  <a:lnTo>
                    <a:pt x="4083" y="3284"/>
                  </a:lnTo>
                  <a:lnTo>
                    <a:pt x="4074" y="3277"/>
                  </a:lnTo>
                  <a:lnTo>
                    <a:pt x="4065" y="3272"/>
                  </a:lnTo>
                  <a:lnTo>
                    <a:pt x="4055" y="3267"/>
                  </a:lnTo>
                  <a:lnTo>
                    <a:pt x="4046" y="3263"/>
                  </a:lnTo>
                  <a:lnTo>
                    <a:pt x="4035" y="3261"/>
                  </a:lnTo>
                  <a:lnTo>
                    <a:pt x="4012" y="3258"/>
                  </a:lnTo>
                  <a:lnTo>
                    <a:pt x="4012" y="3258"/>
                  </a:lnTo>
                  <a:lnTo>
                    <a:pt x="3996" y="3260"/>
                  </a:lnTo>
                  <a:lnTo>
                    <a:pt x="3982" y="3261"/>
                  </a:lnTo>
                  <a:lnTo>
                    <a:pt x="3968" y="3267"/>
                  </a:lnTo>
                  <a:lnTo>
                    <a:pt x="3953" y="3272"/>
                  </a:lnTo>
                  <a:lnTo>
                    <a:pt x="3941" y="3279"/>
                  </a:lnTo>
                  <a:lnTo>
                    <a:pt x="3930" y="3286"/>
                  </a:lnTo>
                  <a:lnTo>
                    <a:pt x="3920" y="3297"/>
                  </a:lnTo>
                  <a:lnTo>
                    <a:pt x="3909" y="3308"/>
                  </a:lnTo>
                  <a:lnTo>
                    <a:pt x="3902" y="3320"/>
                  </a:lnTo>
                  <a:lnTo>
                    <a:pt x="3893" y="3334"/>
                  </a:lnTo>
                  <a:lnTo>
                    <a:pt x="3888" y="3348"/>
                  </a:lnTo>
                  <a:lnTo>
                    <a:pt x="3882" y="3366"/>
                  </a:lnTo>
                  <a:lnTo>
                    <a:pt x="3877" y="3382"/>
                  </a:lnTo>
                  <a:lnTo>
                    <a:pt x="3875" y="3402"/>
                  </a:lnTo>
                  <a:lnTo>
                    <a:pt x="3873" y="3421"/>
                  </a:lnTo>
                  <a:lnTo>
                    <a:pt x="3872" y="3443"/>
                  </a:lnTo>
                  <a:lnTo>
                    <a:pt x="3872" y="3443"/>
                  </a:lnTo>
                  <a:lnTo>
                    <a:pt x="3873" y="3464"/>
                  </a:lnTo>
                  <a:lnTo>
                    <a:pt x="3875" y="3484"/>
                  </a:lnTo>
                  <a:lnTo>
                    <a:pt x="3877" y="3503"/>
                  </a:lnTo>
                  <a:lnTo>
                    <a:pt x="3882" y="3523"/>
                  </a:lnTo>
                  <a:lnTo>
                    <a:pt x="3886" y="3539"/>
                  </a:lnTo>
                  <a:lnTo>
                    <a:pt x="3893" y="3555"/>
                  </a:lnTo>
                  <a:lnTo>
                    <a:pt x="3900" y="3569"/>
                  </a:lnTo>
                  <a:lnTo>
                    <a:pt x="3909" y="3581"/>
                  </a:lnTo>
                  <a:lnTo>
                    <a:pt x="3918" y="3594"/>
                  </a:lnTo>
                  <a:lnTo>
                    <a:pt x="3929" y="3603"/>
                  </a:lnTo>
                  <a:lnTo>
                    <a:pt x="3939" y="3612"/>
                  </a:lnTo>
                  <a:lnTo>
                    <a:pt x="3952" y="3619"/>
                  </a:lnTo>
                  <a:lnTo>
                    <a:pt x="3966" y="3626"/>
                  </a:lnTo>
                  <a:lnTo>
                    <a:pt x="3980" y="3629"/>
                  </a:lnTo>
                  <a:lnTo>
                    <a:pt x="3994" y="3631"/>
                  </a:lnTo>
                  <a:lnTo>
                    <a:pt x="4010" y="3633"/>
                  </a:lnTo>
                  <a:lnTo>
                    <a:pt x="4010" y="3633"/>
                  </a:lnTo>
                  <a:lnTo>
                    <a:pt x="4021" y="3631"/>
                  </a:lnTo>
                  <a:lnTo>
                    <a:pt x="4033" y="3629"/>
                  </a:lnTo>
                  <a:lnTo>
                    <a:pt x="4044" y="3628"/>
                  </a:lnTo>
                  <a:lnTo>
                    <a:pt x="4053" y="3624"/>
                  </a:lnTo>
                  <a:lnTo>
                    <a:pt x="4064" y="3619"/>
                  </a:lnTo>
                  <a:lnTo>
                    <a:pt x="4074" y="3613"/>
                  </a:lnTo>
                  <a:lnTo>
                    <a:pt x="4083" y="3606"/>
                  </a:lnTo>
                  <a:lnTo>
                    <a:pt x="4092" y="3597"/>
                  </a:lnTo>
                  <a:lnTo>
                    <a:pt x="4092" y="3624"/>
                  </a:lnTo>
                  <a:lnTo>
                    <a:pt x="4181" y="3624"/>
                  </a:lnTo>
                  <a:lnTo>
                    <a:pt x="4181" y="3117"/>
                  </a:lnTo>
                  <a:lnTo>
                    <a:pt x="4092" y="3162"/>
                  </a:lnTo>
                  <a:lnTo>
                    <a:pt x="4092" y="3292"/>
                  </a:lnTo>
                  <a:close/>
                  <a:moveTo>
                    <a:pt x="4030" y="3551"/>
                  </a:moveTo>
                  <a:lnTo>
                    <a:pt x="4030" y="3551"/>
                  </a:lnTo>
                  <a:lnTo>
                    <a:pt x="4017" y="3549"/>
                  </a:lnTo>
                  <a:lnTo>
                    <a:pt x="4007" y="3546"/>
                  </a:lnTo>
                  <a:lnTo>
                    <a:pt x="3994" y="3541"/>
                  </a:lnTo>
                  <a:lnTo>
                    <a:pt x="3984" y="3530"/>
                  </a:lnTo>
                  <a:lnTo>
                    <a:pt x="3975" y="3516"/>
                  </a:lnTo>
                  <a:lnTo>
                    <a:pt x="3968" y="3496"/>
                  </a:lnTo>
                  <a:lnTo>
                    <a:pt x="3964" y="3471"/>
                  </a:lnTo>
                  <a:lnTo>
                    <a:pt x="3962" y="3439"/>
                  </a:lnTo>
                  <a:lnTo>
                    <a:pt x="3962" y="3439"/>
                  </a:lnTo>
                  <a:lnTo>
                    <a:pt x="3964" y="3413"/>
                  </a:lnTo>
                  <a:lnTo>
                    <a:pt x="3968" y="3389"/>
                  </a:lnTo>
                  <a:lnTo>
                    <a:pt x="3975" y="3372"/>
                  </a:lnTo>
                  <a:lnTo>
                    <a:pt x="3984" y="3359"/>
                  </a:lnTo>
                  <a:lnTo>
                    <a:pt x="3994" y="3350"/>
                  </a:lnTo>
                  <a:lnTo>
                    <a:pt x="4005" y="3343"/>
                  </a:lnTo>
                  <a:lnTo>
                    <a:pt x="4017" y="3341"/>
                  </a:lnTo>
                  <a:lnTo>
                    <a:pt x="4028" y="3340"/>
                  </a:lnTo>
                  <a:lnTo>
                    <a:pt x="4028" y="3340"/>
                  </a:lnTo>
                  <a:lnTo>
                    <a:pt x="4041" y="3341"/>
                  </a:lnTo>
                  <a:lnTo>
                    <a:pt x="4051" y="3343"/>
                  </a:lnTo>
                  <a:lnTo>
                    <a:pt x="4060" y="3347"/>
                  </a:lnTo>
                  <a:lnTo>
                    <a:pt x="4069" y="3352"/>
                  </a:lnTo>
                  <a:lnTo>
                    <a:pt x="4076" y="3357"/>
                  </a:lnTo>
                  <a:lnTo>
                    <a:pt x="4083" y="3363"/>
                  </a:lnTo>
                  <a:lnTo>
                    <a:pt x="4092" y="3375"/>
                  </a:lnTo>
                  <a:lnTo>
                    <a:pt x="4092" y="3516"/>
                  </a:lnTo>
                  <a:lnTo>
                    <a:pt x="4092" y="3516"/>
                  </a:lnTo>
                  <a:lnTo>
                    <a:pt x="4081" y="3528"/>
                  </a:lnTo>
                  <a:lnTo>
                    <a:pt x="4069" y="3539"/>
                  </a:lnTo>
                  <a:lnTo>
                    <a:pt x="4060" y="3544"/>
                  </a:lnTo>
                  <a:lnTo>
                    <a:pt x="4051" y="3548"/>
                  </a:lnTo>
                  <a:lnTo>
                    <a:pt x="4041" y="3549"/>
                  </a:lnTo>
                  <a:lnTo>
                    <a:pt x="4030" y="3551"/>
                  </a:lnTo>
                  <a:lnTo>
                    <a:pt x="4030" y="3551"/>
                  </a:lnTo>
                  <a:close/>
                  <a:moveTo>
                    <a:pt x="1083" y="3366"/>
                  </a:moveTo>
                  <a:lnTo>
                    <a:pt x="1083" y="3366"/>
                  </a:lnTo>
                  <a:lnTo>
                    <a:pt x="1071" y="3359"/>
                  </a:lnTo>
                  <a:lnTo>
                    <a:pt x="1056" y="3352"/>
                  </a:lnTo>
                  <a:lnTo>
                    <a:pt x="1040" y="3348"/>
                  </a:lnTo>
                  <a:lnTo>
                    <a:pt x="1024" y="3347"/>
                  </a:lnTo>
                  <a:lnTo>
                    <a:pt x="1024" y="3347"/>
                  </a:lnTo>
                  <a:lnTo>
                    <a:pt x="1010" y="3348"/>
                  </a:lnTo>
                  <a:lnTo>
                    <a:pt x="996" y="3352"/>
                  </a:lnTo>
                  <a:lnTo>
                    <a:pt x="985" y="3359"/>
                  </a:lnTo>
                  <a:lnTo>
                    <a:pt x="976" y="3368"/>
                  </a:lnTo>
                  <a:lnTo>
                    <a:pt x="969" y="3379"/>
                  </a:lnTo>
                  <a:lnTo>
                    <a:pt x="966" y="3393"/>
                  </a:lnTo>
                  <a:lnTo>
                    <a:pt x="962" y="3411"/>
                  </a:lnTo>
                  <a:lnTo>
                    <a:pt x="960" y="3430"/>
                  </a:lnTo>
                  <a:lnTo>
                    <a:pt x="960" y="3624"/>
                  </a:lnTo>
                  <a:lnTo>
                    <a:pt x="873" y="3624"/>
                  </a:lnTo>
                  <a:lnTo>
                    <a:pt x="873" y="3267"/>
                  </a:lnTo>
                  <a:lnTo>
                    <a:pt x="960" y="3267"/>
                  </a:lnTo>
                  <a:lnTo>
                    <a:pt x="960" y="3297"/>
                  </a:lnTo>
                  <a:lnTo>
                    <a:pt x="960" y="3297"/>
                  </a:lnTo>
                  <a:lnTo>
                    <a:pt x="969" y="3288"/>
                  </a:lnTo>
                  <a:lnTo>
                    <a:pt x="978" y="3279"/>
                  </a:lnTo>
                  <a:lnTo>
                    <a:pt x="987" y="3274"/>
                  </a:lnTo>
                  <a:lnTo>
                    <a:pt x="998" y="3268"/>
                  </a:lnTo>
                  <a:lnTo>
                    <a:pt x="1007" y="3263"/>
                  </a:lnTo>
                  <a:lnTo>
                    <a:pt x="1017" y="3261"/>
                  </a:lnTo>
                  <a:lnTo>
                    <a:pt x="1030" y="3260"/>
                  </a:lnTo>
                  <a:lnTo>
                    <a:pt x="1040" y="3258"/>
                  </a:lnTo>
                  <a:lnTo>
                    <a:pt x="1040" y="3258"/>
                  </a:lnTo>
                  <a:lnTo>
                    <a:pt x="1058" y="3260"/>
                  </a:lnTo>
                  <a:lnTo>
                    <a:pt x="1076" y="3265"/>
                  </a:lnTo>
                  <a:lnTo>
                    <a:pt x="1094" y="3272"/>
                  </a:lnTo>
                  <a:lnTo>
                    <a:pt x="1108" y="3281"/>
                  </a:lnTo>
                  <a:lnTo>
                    <a:pt x="1083" y="3366"/>
                  </a:lnTo>
                  <a:close/>
                  <a:moveTo>
                    <a:pt x="388" y="3267"/>
                  </a:moveTo>
                  <a:lnTo>
                    <a:pt x="475" y="3267"/>
                  </a:lnTo>
                  <a:lnTo>
                    <a:pt x="373" y="3624"/>
                  </a:lnTo>
                  <a:lnTo>
                    <a:pt x="297" y="3624"/>
                  </a:lnTo>
                  <a:lnTo>
                    <a:pt x="258" y="3477"/>
                  </a:lnTo>
                  <a:lnTo>
                    <a:pt x="258" y="3477"/>
                  </a:lnTo>
                  <a:lnTo>
                    <a:pt x="238" y="3398"/>
                  </a:lnTo>
                  <a:lnTo>
                    <a:pt x="238" y="3398"/>
                  </a:lnTo>
                  <a:lnTo>
                    <a:pt x="229" y="3436"/>
                  </a:lnTo>
                  <a:lnTo>
                    <a:pt x="219" y="3478"/>
                  </a:lnTo>
                  <a:lnTo>
                    <a:pt x="178" y="3624"/>
                  </a:lnTo>
                  <a:lnTo>
                    <a:pt x="101" y="3624"/>
                  </a:lnTo>
                  <a:lnTo>
                    <a:pt x="101" y="3622"/>
                  </a:lnTo>
                  <a:lnTo>
                    <a:pt x="0" y="3267"/>
                  </a:lnTo>
                  <a:lnTo>
                    <a:pt x="92" y="3267"/>
                  </a:lnTo>
                  <a:lnTo>
                    <a:pt x="124" y="3400"/>
                  </a:lnTo>
                  <a:lnTo>
                    <a:pt x="124" y="3400"/>
                  </a:lnTo>
                  <a:lnTo>
                    <a:pt x="133" y="3443"/>
                  </a:lnTo>
                  <a:lnTo>
                    <a:pt x="142" y="3487"/>
                  </a:lnTo>
                  <a:lnTo>
                    <a:pt x="142" y="3487"/>
                  </a:lnTo>
                  <a:lnTo>
                    <a:pt x="153" y="3443"/>
                  </a:lnTo>
                  <a:lnTo>
                    <a:pt x="164" y="3398"/>
                  </a:lnTo>
                  <a:lnTo>
                    <a:pt x="201" y="3267"/>
                  </a:lnTo>
                  <a:lnTo>
                    <a:pt x="277" y="3267"/>
                  </a:lnTo>
                  <a:lnTo>
                    <a:pt x="315" y="3398"/>
                  </a:lnTo>
                  <a:lnTo>
                    <a:pt x="315" y="3398"/>
                  </a:lnTo>
                  <a:lnTo>
                    <a:pt x="325" y="3441"/>
                  </a:lnTo>
                  <a:lnTo>
                    <a:pt x="336" y="3489"/>
                  </a:lnTo>
                  <a:lnTo>
                    <a:pt x="336" y="3489"/>
                  </a:lnTo>
                  <a:lnTo>
                    <a:pt x="343" y="3448"/>
                  </a:lnTo>
                  <a:lnTo>
                    <a:pt x="354" y="3398"/>
                  </a:lnTo>
                  <a:lnTo>
                    <a:pt x="388" y="3267"/>
                  </a:lnTo>
                  <a:close/>
                  <a:moveTo>
                    <a:pt x="654" y="3258"/>
                  </a:moveTo>
                  <a:lnTo>
                    <a:pt x="654" y="3258"/>
                  </a:lnTo>
                  <a:lnTo>
                    <a:pt x="638" y="3260"/>
                  </a:lnTo>
                  <a:lnTo>
                    <a:pt x="621" y="3261"/>
                  </a:lnTo>
                  <a:lnTo>
                    <a:pt x="605" y="3267"/>
                  </a:lnTo>
                  <a:lnTo>
                    <a:pt x="590" y="3272"/>
                  </a:lnTo>
                  <a:lnTo>
                    <a:pt x="576" y="3279"/>
                  </a:lnTo>
                  <a:lnTo>
                    <a:pt x="562" y="3288"/>
                  </a:lnTo>
                  <a:lnTo>
                    <a:pt x="550" y="3299"/>
                  </a:lnTo>
                  <a:lnTo>
                    <a:pt x="539" y="3311"/>
                  </a:lnTo>
                  <a:lnTo>
                    <a:pt x="528" y="3324"/>
                  </a:lnTo>
                  <a:lnTo>
                    <a:pt x="519" y="3338"/>
                  </a:lnTo>
                  <a:lnTo>
                    <a:pt x="510" y="3354"/>
                  </a:lnTo>
                  <a:lnTo>
                    <a:pt x="505" y="3370"/>
                  </a:lnTo>
                  <a:lnTo>
                    <a:pt x="500" y="3388"/>
                  </a:lnTo>
                  <a:lnTo>
                    <a:pt x="496" y="3405"/>
                  </a:lnTo>
                  <a:lnTo>
                    <a:pt x="493" y="3425"/>
                  </a:lnTo>
                  <a:lnTo>
                    <a:pt x="493" y="3446"/>
                  </a:lnTo>
                  <a:lnTo>
                    <a:pt x="493" y="3446"/>
                  </a:lnTo>
                  <a:lnTo>
                    <a:pt x="493" y="3466"/>
                  </a:lnTo>
                  <a:lnTo>
                    <a:pt x="496" y="3485"/>
                  </a:lnTo>
                  <a:lnTo>
                    <a:pt x="500" y="3503"/>
                  </a:lnTo>
                  <a:lnTo>
                    <a:pt x="505" y="3521"/>
                  </a:lnTo>
                  <a:lnTo>
                    <a:pt x="510" y="3537"/>
                  </a:lnTo>
                  <a:lnTo>
                    <a:pt x="519" y="3553"/>
                  </a:lnTo>
                  <a:lnTo>
                    <a:pt x="528" y="3567"/>
                  </a:lnTo>
                  <a:lnTo>
                    <a:pt x="539" y="3580"/>
                  </a:lnTo>
                  <a:lnTo>
                    <a:pt x="550" y="3592"/>
                  </a:lnTo>
                  <a:lnTo>
                    <a:pt x="562" y="3603"/>
                  </a:lnTo>
                  <a:lnTo>
                    <a:pt x="576" y="3612"/>
                  </a:lnTo>
                  <a:lnTo>
                    <a:pt x="590" y="3619"/>
                  </a:lnTo>
                  <a:lnTo>
                    <a:pt x="605" y="3624"/>
                  </a:lnTo>
                  <a:lnTo>
                    <a:pt x="621" y="3629"/>
                  </a:lnTo>
                  <a:lnTo>
                    <a:pt x="638" y="3631"/>
                  </a:lnTo>
                  <a:lnTo>
                    <a:pt x="654" y="3633"/>
                  </a:lnTo>
                  <a:lnTo>
                    <a:pt x="654" y="3633"/>
                  </a:lnTo>
                  <a:lnTo>
                    <a:pt x="672" y="3631"/>
                  </a:lnTo>
                  <a:lnTo>
                    <a:pt x="690" y="3629"/>
                  </a:lnTo>
                  <a:lnTo>
                    <a:pt x="706" y="3624"/>
                  </a:lnTo>
                  <a:lnTo>
                    <a:pt x="720" y="3619"/>
                  </a:lnTo>
                  <a:lnTo>
                    <a:pt x="734" y="3612"/>
                  </a:lnTo>
                  <a:lnTo>
                    <a:pt x="749" y="3603"/>
                  </a:lnTo>
                  <a:lnTo>
                    <a:pt x="761" y="3592"/>
                  </a:lnTo>
                  <a:lnTo>
                    <a:pt x="772" y="3580"/>
                  </a:lnTo>
                  <a:lnTo>
                    <a:pt x="783" y="3567"/>
                  </a:lnTo>
                  <a:lnTo>
                    <a:pt x="791" y="3553"/>
                  </a:lnTo>
                  <a:lnTo>
                    <a:pt x="799" y="3537"/>
                  </a:lnTo>
                  <a:lnTo>
                    <a:pt x="806" y="3521"/>
                  </a:lnTo>
                  <a:lnTo>
                    <a:pt x="811" y="3503"/>
                  </a:lnTo>
                  <a:lnTo>
                    <a:pt x="815" y="3485"/>
                  </a:lnTo>
                  <a:lnTo>
                    <a:pt x="818" y="3466"/>
                  </a:lnTo>
                  <a:lnTo>
                    <a:pt x="818" y="3446"/>
                  </a:lnTo>
                  <a:lnTo>
                    <a:pt x="818" y="3446"/>
                  </a:lnTo>
                  <a:lnTo>
                    <a:pt x="818" y="3425"/>
                  </a:lnTo>
                  <a:lnTo>
                    <a:pt x="815" y="3405"/>
                  </a:lnTo>
                  <a:lnTo>
                    <a:pt x="811" y="3388"/>
                  </a:lnTo>
                  <a:lnTo>
                    <a:pt x="806" y="3370"/>
                  </a:lnTo>
                  <a:lnTo>
                    <a:pt x="799" y="3354"/>
                  </a:lnTo>
                  <a:lnTo>
                    <a:pt x="791" y="3338"/>
                  </a:lnTo>
                  <a:lnTo>
                    <a:pt x="783" y="3324"/>
                  </a:lnTo>
                  <a:lnTo>
                    <a:pt x="772" y="3311"/>
                  </a:lnTo>
                  <a:lnTo>
                    <a:pt x="761" y="3299"/>
                  </a:lnTo>
                  <a:lnTo>
                    <a:pt x="749" y="3288"/>
                  </a:lnTo>
                  <a:lnTo>
                    <a:pt x="734" y="3279"/>
                  </a:lnTo>
                  <a:lnTo>
                    <a:pt x="720" y="3272"/>
                  </a:lnTo>
                  <a:lnTo>
                    <a:pt x="706" y="3267"/>
                  </a:lnTo>
                  <a:lnTo>
                    <a:pt x="690" y="3261"/>
                  </a:lnTo>
                  <a:lnTo>
                    <a:pt x="672" y="3260"/>
                  </a:lnTo>
                  <a:lnTo>
                    <a:pt x="654" y="3258"/>
                  </a:lnTo>
                  <a:lnTo>
                    <a:pt x="654" y="3258"/>
                  </a:lnTo>
                  <a:close/>
                  <a:moveTo>
                    <a:pt x="654" y="3549"/>
                  </a:moveTo>
                  <a:lnTo>
                    <a:pt x="654" y="3549"/>
                  </a:lnTo>
                  <a:lnTo>
                    <a:pt x="638" y="3548"/>
                  </a:lnTo>
                  <a:lnTo>
                    <a:pt x="624" y="3542"/>
                  </a:lnTo>
                  <a:lnTo>
                    <a:pt x="614" y="3533"/>
                  </a:lnTo>
                  <a:lnTo>
                    <a:pt x="603" y="3521"/>
                  </a:lnTo>
                  <a:lnTo>
                    <a:pt x="594" y="3507"/>
                  </a:lnTo>
                  <a:lnTo>
                    <a:pt x="587" y="3489"/>
                  </a:lnTo>
                  <a:lnTo>
                    <a:pt x="583" y="3468"/>
                  </a:lnTo>
                  <a:lnTo>
                    <a:pt x="583" y="3446"/>
                  </a:lnTo>
                  <a:lnTo>
                    <a:pt x="583" y="3446"/>
                  </a:lnTo>
                  <a:lnTo>
                    <a:pt x="583" y="3423"/>
                  </a:lnTo>
                  <a:lnTo>
                    <a:pt x="587" y="3402"/>
                  </a:lnTo>
                  <a:lnTo>
                    <a:pt x="594" y="3386"/>
                  </a:lnTo>
                  <a:lnTo>
                    <a:pt x="603" y="3370"/>
                  </a:lnTo>
                  <a:lnTo>
                    <a:pt x="614" y="3357"/>
                  </a:lnTo>
                  <a:lnTo>
                    <a:pt x="624" y="3348"/>
                  </a:lnTo>
                  <a:lnTo>
                    <a:pt x="638" y="3343"/>
                  </a:lnTo>
                  <a:lnTo>
                    <a:pt x="654" y="3341"/>
                  </a:lnTo>
                  <a:lnTo>
                    <a:pt x="654" y="3341"/>
                  </a:lnTo>
                  <a:lnTo>
                    <a:pt x="670" y="3343"/>
                  </a:lnTo>
                  <a:lnTo>
                    <a:pt x="685" y="3348"/>
                  </a:lnTo>
                  <a:lnTo>
                    <a:pt x="697" y="3357"/>
                  </a:lnTo>
                  <a:lnTo>
                    <a:pt x="708" y="3370"/>
                  </a:lnTo>
                  <a:lnTo>
                    <a:pt x="717" y="3386"/>
                  </a:lnTo>
                  <a:lnTo>
                    <a:pt x="722" y="3402"/>
                  </a:lnTo>
                  <a:lnTo>
                    <a:pt x="726" y="3423"/>
                  </a:lnTo>
                  <a:lnTo>
                    <a:pt x="727" y="3446"/>
                  </a:lnTo>
                  <a:lnTo>
                    <a:pt x="727" y="3446"/>
                  </a:lnTo>
                  <a:lnTo>
                    <a:pt x="726" y="3468"/>
                  </a:lnTo>
                  <a:lnTo>
                    <a:pt x="722" y="3489"/>
                  </a:lnTo>
                  <a:lnTo>
                    <a:pt x="717" y="3507"/>
                  </a:lnTo>
                  <a:lnTo>
                    <a:pt x="708" y="3521"/>
                  </a:lnTo>
                  <a:lnTo>
                    <a:pt x="697" y="3533"/>
                  </a:lnTo>
                  <a:lnTo>
                    <a:pt x="685" y="3542"/>
                  </a:lnTo>
                  <a:lnTo>
                    <a:pt x="670" y="3548"/>
                  </a:lnTo>
                  <a:lnTo>
                    <a:pt x="654" y="3549"/>
                  </a:lnTo>
                  <a:lnTo>
                    <a:pt x="654" y="3549"/>
                  </a:lnTo>
                  <a:close/>
                  <a:moveTo>
                    <a:pt x="3656" y="3366"/>
                  </a:moveTo>
                  <a:lnTo>
                    <a:pt x="3656" y="3366"/>
                  </a:lnTo>
                  <a:lnTo>
                    <a:pt x="3642" y="3359"/>
                  </a:lnTo>
                  <a:lnTo>
                    <a:pt x="3628" y="3352"/>
                  </a:lnTo>
                  <a:lnTo>
                    <a:pt x="3612" y="3348"/>
                  </a:lnTo>
                  <a:lnTo>
                    <a:pt x="3598" y="3347"/>
                  </a:lnTo>
                  <a:lnTo>
                    <a:pt x="3598" y="3347"/>
                  </a:lnTo>
                  <a:lnTo>
                    <a:pt x="3582" y="3348"/>
                  </a:lnTo>
                  <a:lnTo>
                    <a:pt x="3569" y="3352"/>
                  </a:lnTo>
                  <a:lnTo>
                    <a:pt x="3559" y="3359"/>
                  </a:lnTo>
                  <a:lnTo>
                    <a:pt x="3550" y="3368"/>
                  </a:lnTo>
                  <a:lnTo>
                    <a:pt x="3543" y="3379"/>
                  </a:lnTo>
                  <a:lnTo>
                    <a:pt x="3537" y="3393"/>
                  </a:lnTo>
                  <a:lnTo>
                    <a:pt x="3534" y="3411"/>
                  </a:lnTo>
                  <a:lnTo>
                    <a:pt x="3534" y="3430"/>
                  </a:lnTo>
                  <a:lnTo>
                    <a:pt x="3534" y="3624"/>
                  </a:lnTo>
                  <a:lnTo>
                    <a:pt x="3445" y="3624"/>
                  </a:lnTo>
                  <a:lnTo>
                    <a:pt x="3445" y="3267"/>
                  </a:lnTo>
                  <a:lnTo>
                    <a:pt x="3534" y="3267"/>
                  </a:lnTo>
                  <a:lnTo>
                    <a:pt x="3534" y="3297"/>
                  </a:lnTo>
                  <a:lnTo>
                    <a:pt x="3534" y="3297"/>
                  </a:lnTo>
                  <a:lnTo>
                    <a:pt x="3541" y="3288"/>
                  </a:lnTo>
                  <a:lnTo>
                    <a:pt x="3550" y="3279"/>
                  </a:lnTo>
                  <a:lnTo>
                    <a:pt x="3559" y="3274"/>
                  </a:lnTo>
                  <a:lnTo>
                    <a:pt x="3569" y="3268"/>
                  </a:lnTo>
                  <a:lnTo>
                    <a:pt x="3580" y="3263"/>
                  </a:lnTo>
                  <a:lnTo>
                    <a:pt x="3591" y="3261"/>
                  </a:lnTo>
                  <a:lnTo>
                    <a:pt x="3601" y="3260"/>
                  </a:lnTo>
                  <a:lnTo>
                    <a:pt x="3612" y="3258"/>
                  </a:lnTo>
                  <a:lnTo>
                    <a:pt x="3612" y="3258"/>
                  </a:lnTo>
                  <a:lnTo>
                    <a:pt x="3630" y="3260"/>
                  </a:lnTo>
                  <a:lnTo>
                    <a:pt x="3648" y="3265"/>
                  </a:lnTo>
                  <a:lnTo>
                    <a:pt x="3665" y="3272"/>
                  </a:lnTo>
                  <a:lnTo>
                    <a:pt x="3680" y="3281"/>
                  </a:lnTo>
                  <a:lnTo>
                    <a:pt x="3656" y="3366"/>
                  </a:lnTo>
                  <a:close/>
                  <a:moveTo>
                    <a:pt x="2959" y="3267"/>
                  </a:moveTo>
                  <a:lnTo>
                    <a:pt x="3046" y="3267"/>
                  </a:lnTo>
                  <a:lnTo>
                    <a:pt x="2945" y="3624"/>
                  </a:lnTo>
                  <a:lnTo>
                    <a:pt x="2869" y="3624"/>
                  </a:lnTo>
                  <a:lnTo>
                    <a:pt x="2829" y="3477"/>
                  </a:lnTo>
                  <a:lnTo>
                    <a:pt x="2829" y="3477"/>
                  </a:lnTo>
                  <a:lnTo>
                    <a:pt x="2810" y="3398"/>
                  </a:lnTo>
                  <a:lnTo>
                    <a:pt x="2810" y="3398"/>
                  </a:lnTo>
                  <a:lnTo>
                    <a:pt x="2801" y="3436"/>
                  </a:lnTo>
                  <a:lnTo>
                    <a:pt x="2790" y="3478"/>
                  </a:lnTo>
                  <a:lnTo>
                    <a:pt x="2751" y="3624"/>
                  </a:lnTo>
                  <a:lnTo>
                    <a:pt x="2675" y="3624"/>
                  </a:lnTo>
                  <a:lnTo>
                    <a:pt x="2673" y="3622"/>
                  </a:lnTo>
                  <a:lnTo>
                    <a:pt x="2573" y="3267"/>
                  </a:lnTo>
                  <a:lnTo>
                    <a:pt x="2664" y="3267"/>
                  </a:lnTo>
                  <a:lnTo>
                    <a:pt x="2698" y="3400"/>
                  </a:lnTo>
                  <a:lnTo>
                    <a:pt x="2698" y="3400"/>
                  </a:lnTo>
                  <a:lnTo>
                    <a:pt x="2707" y="3443"/>
                  </a:lnTo>
                  <a:lnTo>
                    <a:pt x="2716" y="3487"/>
                  </a:lnTo>
                  <a:lnTo>
                    <a:pt x="2716" y="3487"/>
                  </a:lnTo>
                  <a:lnTo>
                    <a:pt x="2725" y="3443"/>
                  </a:lnTo>
                  <a:lnTo>
                    <a:pt x="2737" y="3398"/>
                  </a:lnTo>
                  <a:lnTo>
                    <a:pt x="2774" y="3267"/>
                  </a:lnTo>
                  <a:lnTo>
                    <a:pt x="2849" y="3267"/>
                  </a:lnTo>
                  <a:lnTo>
                    <a:pt x="2886" y="3398"/>
                  </a:lnTo>
                  <a:lnTo>
                    <a:pt x="2886" y="3398"/>
                  </a:lnTo>
                  <a:lnTo>
                    <a:pt x="2897" y="3441"/>
                  </a:lnTo>
                  <a:lnTo>
                    <a:pt x="2908" y="3489"/>
                  </a:lnTo>
                  <a:lnTo>
                    <a:pt x="2908" y="3489"/>
                  </a:lnTo>
                  <a:lnTo>
                    <a:pt x="2917" y="3448"/>
                  </a:lnTo>
                  <a:lnTo>
                    <a:pt x="2927" y="3398"/>
                  </a:lnTo>
                  <a:lnTo>
                    <a:pt x="2959" y="3267"/>
                  </a:lnTo>
                  <a:close/>
                  <a:moveTo>
                    <a:pt x="3226" y="3258"/>
                  </a:moveTo>
                  <a:lnTo>
                    <a:pt x="3226" y="3258"/>
                  </a:lnTo>
                  <a:lnTo>
                    <a:pt x="3210" y="3260"/>
                  </a:lnTo>
                  <a:lnTo>
                    <a:pt x="3192" y="3261"/>
                  </a:lnTo>
                  <a:lnTo>
                    <a:pt x="3176" y="3267"/>
                  </a:lnTo>
                  <a:lnTo>
                    <a:pt x="3162" y="3272"/>
                  </a:lnTo>
                  <a:lnTo>
                    <a:pt x="3148" y="3279"/>
                  </a:lnTo>
                  <a:lnTo>
                    <a:pt x="3134" y="3290"/>
                  </a:lnTo>
                  <a:lnTo>
                    <a:pt x="3121" y="3299"/>
                  </a:lnTo>
                  <a:lnTo>
                    <a:pt x="3110" y="3311"/>
                  </a:lnTo>
                  <a:lnTo>
                    <a:pt x="3100" y="3324"/>
                  </a:lnTo>
                  <a:lnTo>
                    <a:pt x="3091" y="3338"/>
                  </a:lnTo>
                  <a:lnTo>
                    <a:pt x="3082" y="3354"/>
                  </a:lnTo>
                  <a:lnTo>
                    <a:pt x="3077" y="3370"/>
                  </a:lnTo>
                  <a:lnTo>
                    <a:pt x="3071" y="3388"/>
                  </a:lnTo>
                  <a:lnTo>
                    <a:pt x="3066" y="3407"/>
                  </a:lnTo>
                  <a:lnTo>
                    <a:pt x="3064" y="3425"/>
                  </a:lnTo>
                  <a:lnTo>
                    <a:pt x="3064" y="3446"/>
                  </a:lnTo>
                  <a:lnTo>
                    <a:pt x="3064" y="3446"/>
                  </a:lnTo>
                  <a:lnTo>
                    <a:pt x="3064" y="3466"/>
                  </a:lnTo>
                  <a:lnTo>
                    <a:pt x="3066" y="3485"/>
                  </a:lnTo>
                  <a:lnTo>
                    <a:pt x="3071" y="3503"/>
                  </a:lnTo>
                  <a:lnTo>
                    <a:pt x="3077" y="3521"/>
                  </a:lnTo>
                  <a:lnTo>
                    <a:pt x="3082" y="3537"/>
                  </a:lnTo>
                  <a:lnTo>
                    <a:pt x="3091" y="3553"/>
                  </a:lnTo>
                  <a:lnTo>
                    <a:pt x="3100" y="3567"/>
                  </a:lnTo>
                  <a:lnTo>
                    <a:pt x="3110" y="3580"/>
                  </a:lnTo>
                  <a:lnTo>
                    <a:pt x="3121" y="3592"/>
                  </a:lnTo>
                  <a:lnTo>
                    <a:pt x="3134" y="3603"/>
                  </a:lnTo>
                  <a:lnTo>
                    <a:pt x="3148" y="3612"/>
                  </a:lnTo>
                  <a:lnTo>
                    <a:pt x="3162" y="3619"/>
                  </a:lnTo>
                  <a:lnTo>
                    <a:pt x="3176" y="3624"/>
                  </a:lnTo>
                  <a:lnTo>
                    <a:pt x="3192" y="3629"/>
                  </a:lnTo>
                  <a:lnTo>
                    <a:pt x="3210" y="3631"/>
                  </a:lnTo>
                  <a:lnTo>
                    <a:pt x="3226" y="3633"/>
                  </a:lnTo>
                  <a:lnTo>
                    <a:pt x="3226" y="3633"/>
                  </a:lnTo>
                  <a:lnTo>
                    <a:pt x="3244" y="3631"/>
                  </a:lnTo>
                  <a:lnTo>
                    <a:pt x="3262" y="3629"/>
                  </a:lnTo>
                  <a:lnTo>
                    <a:pt x="3278" y="3624"/>
                  </a:lnTo>
                  <a:lnTo>
                    <a:pt x="3292" y="3619"/>
                  </a:lnTo>
                  <a:lnTo>
                    <a:pt x="3306" y="3612"/>
                  </a:lnTo>
                  <a:lnTo>
                    <a:pt x="3320" y="3603"/>
                  </a:lnTo>
                  <a:lnTo>
                    <a:pt x="3333" y="3592"/>
                  </a:lnTo>
                  <a:lnTo>
                    <a:pt x="3343" y="3580"/>
                  </a:lnTo>
                  <a:lnTo>
                    <a:pt x="3354" y="3567"/>
                  </a:lnTo>
                  <a:lnTo>
                    <a:pt x="3363" y="3553"/>
                  </a:lnTo>
                  <a:lnTo>
                    <a:pt x="3370" y="3537"/>
                  </a:lnTo>
                  <a:lnTo>
                    <a:pt x="3377" y="3521"/>
                  </a:lnTo>
                  <a:lnTo>
                    <a:pt x="3383" y="3503"/>
                  </a:lnTo>
                  <a:lnTo>
                    <a:pt x="3386" y="3485"/>
                  </a:lnTo>
                  <a:lnTo>
                    <a:pt x="3390" y="3466"/>
                  </a:lnTo>
                  <a:lnTo>
                    <a:pt x="3390" y="3446"/>
                  </a:lnTo>
                  <a:lnTo>
                    <a:pt x="3390" y="3446"/>
                  </a:lnTo>
                  <a:lnTo>
                    <a:pt x="3390" y="3425"/>
                  </a:lnTo>
                  <a:lnTo>
                    <a:pt x="3386" y="3407"/>
                  </a:lnTo>
                  <a:lnTo>
                    <a:pt x="3383" y="3388"/>
                  </a:lnTo>
                  <a:lnTo>
                    <a:pt x="3377" y="3370"/>
                  </a:lnTo>
                  <a:lnTo>
                    <a:pt x="3370" y="3354"/>
                  </a:lnTo>
                  <a:lnTo>
                    <a:pt x="3363" y="3338"/>
                  </a:lnTo>
                  <a:lnTo>
                    <a:pt x="3354" y="3324"/>
                  </a:lnTo>
                  <a:lnTo>
                    <a:pt x="3343" y="3311"/>
                  </a:lnTo>
                  <a:lnTo>
                    <a:pt x="3333" y="3299"/>
                  </a:lnTo>
                  <a:lnTo>
                    <a:pt x="3320" y="3290"/>
                  </a:lnTo>
                  <a:lnTo>
                    <a:pt x="3306" y="3279"/>
                  </a:lnTo>
                  <a:lnTo>
                    <a:pt x="3292" y="3272"/>
                  </a:lnTo>
                  <a:lnTo>
                    <a:pt x="3278" y="3267"/>
                  </a:lnTo>
                  <a:lnTo>
                    <a:pt x="3262" y="3261"/>
                  </a:lnTo>
                  <a:lnTo>
                    <a:pt x="3244" y="3260"/>
                  </a:lnTo>
                  <a:lnTo>
                    <a:pt x="3226" y="3258"/>
                  </a:lnTo>
                  <a:lnTo>
                    <a:pt x="3226" y="3258"/>
                  </a:lnTo>
                  <a:close/>
                  <a:moveTo>
                    <a:pt x="3226" y="3549"/>
                  </a:moveTo>
                  <a:lnTo>
                    <a:pt x="3226" y="3549"/>
                  </a:lnTo>
                  <a:lnTo>
                    <a:pt x="3210" y="3548"/>
                  </a:lnTo>
                  <a:lnTo>
                    <a:pt x="3198" y="3542"/>
                  </a:lnTo>
                  <a:lnTo>
                    <a:pt x="3185" y="3533"/>
                  </a:lnTo>
                  <a:lnTo>
                    <a:pt x="3174" y="3521"/>
                  </a:lnTo>
                  <a:lnTo>
                    <a:pt x="3166" y="3507"/>
                  </a:lnTo>
                  <a:lnTo>
                    <a:pt x="3158" y="3489"/>
                  </a:lnTo>
                  <a:lnTo>
                    <a:pt x="3155" y="3468"/>
                  </a:lnTo>
                  <a:lnTo>
                    <a:pt x="3155" y="3446"/>
                  </a:lnTo>
                  <a:lnTo>
                    <a:pt x="3155" y="3446"/>
                  </a:lnTo>
                  <a:lnTo>
                    <a:pt x="3155" y="3423"/>
                  </a:lnTo>
                  <a:lnTo>
                    <a:pt x="3158" y="3404"/>
                  </a:lnTo>
                  <a:lnTo>
                    <a:pt x="3166" y="3386"/>
                  </a:lnTo>
                  <a:lnTo>
                    <a:pt x="3174" y="3370"/>
                  </a:lnTo>
                  <a:lnTo>
                    <a:pt x="3185" y="3357"/>
                  </a:lnTo>
                  <a:lnTo>
                    <a:pt x="3198" y="3348"/>
                  </a:lnTo>
                  <a:lnTo>
                    <a:pt x="3210" y="3343"/>
                  </a:lnTo>
                  <a:lnTo>
                    <a:pt x="3226" y="3341"/>
                  </a:lnTo>
                  <a:lnTo>
                    <a:pt x="3226" y="3341"/>
                  </a:lnTo>
                  <a:lnTo>
                    <a:pt x="3242" y="3343"/>
                  </a:lnTo>
                  <a:lnTo>
                    <a:pt x="3256" y="3348"/>
                  </a:lnTo>
                  <a:lnTo>
                    <a:pt x="3269" y="3357"/>
                  </a:lnTo>
                  <a:lnTo>
                    <a:pt x="3279" y="3370"/>
                  </a:lnTo>
                  <a:lnTo>
                    <a:pt x="3288" y="3386"/>
                  </a:lnTo>
                  <a:lnTo>
                    <a:pt x="3294" y="3404"/>
                  </a:lnTo>
                  <a:lnTo>
                    <a:pt x="3297" y="3423"/>
                  </a:lnTo>
                  <a:lnTo>
                    <a:pt x="3299" y="3446"/>
                  </a:lnTo>
                  <a:lnTo>
                    <a:pt x="3299" y="3446"/>
                  </a:lnTo>
                  <a:lnTo>
                    <a:pt x="3297" y="3468"/>
                  </a:lnTo>
                  <a:lnTo>
                    <a:pt x="3294" y="3489"/>
                  </a:lnTo>
                  <a:lnTo>
                    <a:pt x="3288" y="3507"/>
                  </a:lnTo>
                  <a:lnTo>
                    <a:pt x="3279" y="3521"/>
                  </a:lnTo>
                  <a:lnTo>
                    <a:pt x="3269" y="3533"/>
                  </a:lnTo>
                  <a:lnTo>
                    <a:pt x="3256" y="3542"/>
                  </a:lnTo>
                  <a:lnTo>
                    <a:pt x="3242" y="3548"/>
                  </a:lnTo>
                  <a:lnTo>
                    <a:pt x="3226" y="3549"/>
                  </a:lnTo>
                  <a:lnTo>
                    <a:pt x="3226" y="3549"/>
                  </a:lnTo>
                  <a:close/>
                  <a:moveTo>
                    <a:pt x="1348" y="3384"/>
                  </a:moveTo>
                  <a:lnTo>
                    <a:pt x="1457" y="3624"/>
                  </a:lnTo>
                  <a:lnTo>
                    <a:pt x="1359" y="3624"/>
                  </a:lnTo>
                  <a:lnTo>
                    <a:pt x="1284" y="3459"/>
                  </a:lnTo>
                  <a:lnTo>
                    <a:pt x="1236" y="3517"/>
                  </a:lnTo>
                  <a:lnTo>
                    <a:pt x="1236" y="3624"/>
                  </a:lnTo>
                  <a:lnTo>
                    <a:pt x="1149" y="3624"/>
                  </a:lnTo>
                  <a:lnTo>
                    <a:pt x="1149" y="3162"/>
                  </a:lnTo>
                  <a:lnTo>
                    <a:pt x="1236" y="3117"/>
                  </a:lnTo>
                  <a:lnTo>
                    <a:pt x="1236" y="3404"/>
                  </a:lnTo>
                  <a:lnTo>
                    <a:pt x="1236" y="3404"/>
                  </a:lnTo>
                  <a:lnTo>
                    <a:pt x="1270" y="3357"/>
                  </a:lnTo>
                  <a:lnTo>
                    <a:pt x="1341" y="3267"/>
                  </a:lnTo>
                  <a:lnTo>
                    <a:pt x="1444" y="3267"/>
                  </a:lnTo>
                  <a:lnTo>
                    <a:pt x="1348" y="3384"/>
                  </a:lnTo>
                  <a:close/>
                  <a:moveTo>
                    <a:pt x="1768" y="3624"/>
                  </a:moveTo>
                  <a:lnTo>
                    <a:pt x="1679" y="3624"/>
                  </a:lnTo>
                  <a:lnTo>
                    <a:pt x="1679" y="3267"/>
                  </a:lnTo>
                  <a:lnTo>
                    <a:pt x="1768" y="3267"/>
                  </a:lnTo>
                  <a:lnTo>
                    <a:pt x="1768" y="3297"/>
                  </a:lnTo>
                  <a:lnTo>
                    <a:pt x="1768" y="3297"/>
                  </a:lnTo>
                  <a:lnTo>
                    <a:pt x="1777" y="3288"/>
                  </a:lnTo>
                  <a:lnTo>
                    <a:pt x="1786" y="3281"/>
                  </a:lnTo>
                  <a:lnTo>
                    <a:pt x="1796" y="3274"/>
                  </a:lnTo>
                  <a:lnTo>
                    <a:pt x="1807" y="3268"/>
                  </a:lnTo>
                  <a:lnTo>
                    <a:pt x="1819" y="3265"/>
                  </a:lnTo>
                  <a:lnTo>
                    <a:pt x="1832" y="3261"/>
                  </a:lnTo>
                  <a:lnTo>
                    <a:pt x="1844" y="3260"/>
                  </a:lnTo>
                  <a:lnTo>
                    <a:pt x="1858" y="3258"/>
                  </a:lnTo>
                  <a:lnTo>
                    <a:pt x="1858" y="3258"/>
                  </a:lnTo>
                  <a:lnTo>
                    <a:pt x="1874" y="3260"/>
                  </a:lnTo>
                  <a:lnTo>
                    <a:pt x="1889" y="3261"/>
                  </a:lnTo>
                  <a:lnTo>
                    <a:pt x="1901" y="3265"/>
                  </a:lnTo>
                  <a:lnTo>
                    <a:pt x="1915" y="3268"/>
                  </a:lnTo>
                  <a:lnTo>
                    <a:pt x="1926" y="3276"/>
                  </a:lnTo>
                  <a:lnTo>
                    <a:pt x="1937" y="3283"/>
                  </a:lnTo>
                  <a:lnTo>
                    <a:pt x="1947" y="3290"/>
                  </a:lnTo>
                  <a:lnTo>
                    <a:pt x="1956" y="3300"/>
                  </a:lnTo>
                  <a:lnTo>
                    <a:pt x="1963" y="3311"/>
                  </a:lnTo>
                  <a:lnTo>
                    <a:pt x="1970" y="3324"/>
                  </a:lnTo>
                  <a:lnTo>
                    <a:pt x="1976" y="3336"/>
                  </a:lnTo>
                  <a:lnTo>
                    <a:pt x="1981" y="3352"/>
                  </a:lnTo>
                  <a:lnTo>
                    <a:pt x="1985" y="3368"/>
                  </a:lnTo>
                  <a:lnTo>
                    <a:pt x="1986" y="3384"/>
                  </a:lnTo>
                  <a:lnTo>
                    <a:pt x="1988" y="3402"/>
                  </a:lnTo>
                  <a:lnTo>
                    <a:pt x="1990" y="3421"/>
                  </a:lnTo>
                  <a:lnTo>
                    <a:pt x="1990" y="3624"/>
                  </a:lnTo>
                  <a:lnTo>
                    <a:pt x="1901" y="3624"/>
                  </a:lnTo>
                  <a:lnTo>
                    <a:pt x="1901" y="3427"/>
                  </a:lnTo>
                  <a:lnTo>
                    <a:pt x="1901" y="3427"/>
                  </a:lnTo>
                  <a:lnTo>
                    <a:pt x="1899" y="3407"/>
                  </a:lnTo>
                  <a:lnTo>
                    <a:pt x="1898" y="3388"/>
                  </a:lnTo>
                  <a:lnTo>
                    <a:pt x="1892" y="3373"/>
                  </a:lnTo>
                  <a:lnTo>
                    <a:pt x="1885" y="3361"/>
                  </a:lnTo>
                  <a:lnTo>
                    <a:pt x="1876" y="3352"/>
                  </a:lnTo>
                  <a:lnTo>
                    <a:pt x="1866" y="3345"/>
                  </a:lnTo>
                  <a:lnTo>
                    <a:pt x="1851" y="3341"/>
                  </a:lnTo>
                  <a:lnTo>
                    <a:pt x="1835" y="3340"/>
                  </a:lnTo>
                  <a:lnTo>
                    <a:pt x="1835" y="3340"/>
                  </a:lnTo>
                  <a:lnTo>
                    <a:pt x="1821" y="3341"/>
                  </a:lnTo>
                  <a:lnTo>
                    <a:pt x="1807" y="3345"/>
                  </a:lnTo>
                  <a:lnTo>
                    <a:pt x="1794" y="3352"/>
                  </a:lnTo>
                  <a:lnTo>
                    <a:pt x="1786" y="3363"/>
                  </a:lnTo>
                  <a:lnTo>
                    <a:pt x="1778" y="3373"/>
                  </a:lnTo>
                  <a:lnTo>
                    <a:pt x="1773" y="3389"/>
                  </a:lnTo>
                  <a:lnTo>
                    <a:pt x="1770" y="3407"/>
                  </a:lnTo>
                  <a:lnTo>
                    <a:pt x="1768" y="3427"/>
                  </a:lnTo>
                  <a:lnTo>
                    <a:pt x="1768" y="3624"/>
                  </a:lnTo>
                  <a:close/>
                  <a:moveTo>
                    <a:pt x="2269" y="3292"/>
                  </a:moveTo>
                  <a:lnTo>
                    <a:pt x="2269" y="3292"/>
                  </a:lnTo>
                  <a:lnTo>
                    <a:pt x="2260" y="3284"/>
                  </a:lnTo>
                  <a:lnTo>
                    <a:pt x="2251" y="3277"/>
                  </a:lnTo>
                  <a:lnTo>
                    <a:pt x="2243" y="3272"/>
                  </a:lnTo>
                  <a:lnTo>
                    <a:pt x="2232" y="3267"/>
                  </a:lnTo>
                  <a:lnTo>
                    <a:pt x="2221" y="3263"/>
                  </a:lnTo>
                  <a:lnTo>
                    <a:pt x="2211" y="3261"/>
                  </a:lnTo>
                  <a:lnTo>
                    <a:pt x="2200" y="3260"/>
                  </a:lnTo>
                  <a:lnTo>
                    <a:pt x="2189" y="3258"/>
                  </a:lnTo>
                  <a:lnTo>
                    <a:pt x="2189" y="3258"/>
                  </a:lnTo>
                  <a:lnTo>
                    <a:pt x="2173" y="3260"/>
                  </a:lnTo>
                  <a:lnTo>
                    <a:pt x="2159" y="3261"/>
                  </a:lnTo>
                  <a:lnTo>
                    <a:pt x="2145" y="3265"/>
                  </a:lnTo>
                  <a:lnTo>
                    <a:pt x="2131" y="3272"/>
                  </a:lnTo>
                  <a:lnTo>
                    <a:pt x="2118" y="3277"/>
                  </a:lnTo>
                  <a:lnTo>
                    <a:pt x="2107" y="3286"/>
                  </a:lnTo>
                  <a:lnTo>
                    <a:pt x="2097" y="3297"/>
                  </a:lnTo>
                  <a:lnTo>
                    <a:pt x="2086" y="3308"/>
                  </a:lnTo>
                  <a:lnTo>
                    <a:pt x="2077" y="3320"/>
                  </a:lnTo>
                  <a:lnTo>
                    <a:pt x="2070" y="3334"/>
                  </a:lnTo>
                  <a:lnTo>
                    <a:pt x="2063" y="3348"/>
                  </a:lnTo>
                  <a:lnTo>
                    <a:pt x="2058" y="3366"/>
                  </a:lnTo>
                  <a:lnTo>
                    <a:pt x="2054" y="3382"/>
                  </a:lnTo>
                  <a:lnTo>
                    <a:pt x="2051" y="3402"/>
                  </a:lnTo>
                  <a:lnTo>
                    <a:pt x="2049" y="3421"/>
                  </a:lnTo>
                  <a:lnTo>
                    <a:pt x="2049" y="3441"/>
                  </a:lnTo>
                  <a:lnTo>
                    <a:pt x="2049" y="3441"/>
                  </a:lnTo>
                  <a:lnTo>
                    <a:pt x="2049" y="3464"/>
                  </a:lnTo>
                  <a:lnTo>
                    <a:pt x="2051" y="3484"/>
                  </a:lnTo>
                  <a:lnTo>
                    <a:pt x="2054" y="3503"/>
                  </a:lnTo>
                  <a:lnTo>
                    <a:pt x="2058" y="3523"/>
                  </a:lnTo>
                  <a:lnTo>
                    <a:pt x="2063" y="3539"/>
                  </a:lnTo>
                  <a:lnTo>
                    <a:pt x="2070" y="3555"/>
                  </a:lnTo>
                  <a:lnTo>
                    <a:pt x="2077" y="3569"/>
                  </a:lnTo>
                  <a:lnTo>
                    <a:pt x="2086" y="3581"/>
                  </a:lnTo>
                  <a:lnTo>
                    <a:pt x="2095" y="3594"/>
                  </a:lnTo>
                  <a:lnTo>
                    <a:pt x="2106" y="3603"/>
                  </a:lnTo>
                  <a:lnTo>
                    <a:pt x="2116" y="3612"/>
                  </a:lnTo>
                  <a:lnTo>
                    <a:pt x="2129" y="3619"/>
                  </a:lnTo>
                  <a:lnTo>
                    <a:pt x="2143" y="3624"/>
                  </a:lnTo>
                  <a:lnTo>
                    <a:pt x="2157" y="3629"/>
                  </a:lnTo>
                  <a:lnTo>
                    <a:pt x="2171" y="3631"/>
                  </a:lnTo>
                  <a:lnTo>
                    <a:pt x="2187" y="3633"/>
                  </a:lnTo>
                  <a:lnTo>
                    <a:pt x="2187" y="3633"/>
                  </a:lnTo>
                  <a:lnTo>
                    <a:pt x="2198" y="3631"/>
                  </a:lnTo>
                  <a:lnTo>
                    <a:pt x="2211" y="3629"/>
                  </a:lnTo>
                  <a:lnTo>
                    <a:pt x="2221" y="3628"/>
                  </a:lnTo>
                  <a:lnTo>
                    <a:pt x="2232" y="3624"/>
                  </a:lnTo>
                  <a:lnTo>
                    <a:pt x="2241" y="3619"/>
                  </a:lnTo>
                  <a:lnTo>
                    <a:pt x="2251" y="3613"/>
                  </a:lnTo>
                  <a:lnTo>
                    <a:pt x="2260" y="3606"/>
                  </a:lnTo>
                  <a:lnTo>
                    <a:pt x="2269" y="3597"/>
                  </a:lnTo>
                  <a:lnTo>
                    <a:pt x="2269" y="3606"/>
                  </a:lnTo>
                  <a:lnTo>
                    <a:pt x="2269" y="3606"/>
                  </a:lnTo>
                  <a:lnTo>
                    <a:pt x="2269" y="3621"/>
                  </a:lnTo>
                  <a:lnTo>
                    <a:pt x="2267" y="3637"/>
                  </a:lnTo>
                  <a:lnTo>
                    <a:pt x="2262" y="3653"/>
                  </a:lnTo>
                  <a:lnTo>
                    <a:pt x="2259" y="3660"/>
                  </a:lnTo>
                  <a:lnTo>
                    <a:pt x="2255" y="3667"/>
                  </a:lnTo>
                  <a:lnTo>
                    <a:pt x="2248" y="3674"/>
                  </a:lnTo>
                  <a:lnTo>
                    <a:pt x="2241" y="3681"/>
                  </a:lnTo>
                  <a:lnTo>
                    <a:pt x="2232" y="3686"/>
                  </a:lnTo>
                  <a:lnTo>
                    <a:pt x="2221" y="3692"/>
                  </a:lnTo>
                  <a:lnTo>
                    <a:pt x="2207" y="3695"/>
                  </a:lnTo>
                  <a:lnTo>
                    <a:pt x="2193" y="3699"/>
                  </a:lnTo>
                  <a:lnTo>
                    <a:pt x="2175" y="3701"/>
                  </a:lnTo>
                  <a:lnTo>
                    <a:pt x="2154" y="3701"/>
                  </a:lnTo>
                  <a:lnTo>
                    <a:pt x="2150" y="3701"/>
                  </a:lnTo>
                  <a:lnTo>
                    <a:pt x="2182" y="3770"/>
                  </a:lnTo>
                  <a:lnTo>
                    <a:pt x="2184" y="3770"/>
                  </a:lnTo>
                  <a:lnTo>
                    <a:pt x="2184" y="3770"/>
                  </a:lnTo>
                  <a:lnTo>
                    <a:pt x="2205" y="3770"/>
                  </a:lnTo>
                  <a:lnTo>
                    <a:pt x="2225" y="3768"/>
                  </a:lnTo>
                  <a:lnTo>
                    <a:pt x="2243" y="3763"/>
                  </a:lnTo>
                  <a:lnTo>
                    <a:pt x="2260" y="3759"/>
                  </a:lnTo>
                  <a:lnTo>
                    <a:pt x="2276" y="3752"/>
                  </a:lnTo>
                  <a:lnTo>
                    <a:pt x="2291" y="3745"/>
                  </a:lnTo>
                  <a:lnTo>
                    <a:pt x="2303" y="3736"/>
                  </a:lnTo>
                  <a:lnTo>
                    <a:pt x="2314" y="3726"/>
                  </a:lnTo>
                  <a:lnTo>
                    <a:pt x="2324" y="3713"/>
                  </a:lnTo>
                  <a:lnTo>
                    <a:pt x="2333" y="3701"/>
                  </a:lnTo>
                  <a:lnTo>
                    <a:pt x="2340" y="3685"/>
                  </a:lnTo>
                  <a:lnTo>
                    <a:pt x="2346" y="3669"/>
                  </a:lnTo>
                  <a:lnTo>
                    <a:pt x="2351" y="3653"/>
                  </a:lnTo>
                  <a:lnTo>
                    <a:pt x="2355" y="3633"/>
                  </a:lnTo>
                  <a:lnTo>
                    <a:pt x="2356" y="3613"/>
                  </a:lnTo>
                  <a:lnTo>
                    <a:pt x="2356" y="3592"/>
                  </a:lnTo>
                  <a:lnTo>
                    <a:pt x="2356" y="3267"/>
                  </a:lnTo>
                  <a:lnTo>
                    <a:pt x="2269" y="3267"/>
                  </a:lnTo>
                  <a:lnTo>
                    <a:pt x="2269" y="3292"/>
                  </a:lnTo>
                  <a:close/>
                  <a:moveTo>
                    <a:pt x="2269" y="3375"/>
                  </a:moveTo>
                  <a:lnTo>
                    <a:pt x="2269" y="3516"/>
                  </a:lnTo>
                  <a:lnTo>
                    <a:pt x="2269" y="3516"/>
                  </a:lnTo>
                  <a:lnTo>
                    <a:pt x="2257" y="3528"/>
                  </a:lnTo>
                  <a:lnTo>
                    <a:pt x="2244" y="3541"/>
                  </a:lnTo>
                  <a:lnTo>
                    <a:pt x="2235" y="3544"/>
                  </a:lnTo>
                  <a:lnTo>
                    <a:pt x="2227" y="3548"/>
                  </a:lnTo>
                  <a:lnTo>
                    <a:pt x="2218" y="3549"/>
                  </a:lnTo>
                  <a:lnTo>
                    <a:pt x="2205" y="3551"/>
                  </a:lnTo>
                  <a:lnTo>
                    <a:pt x="2205" y="3551"/>
                  </a:lnTo>
                  <a:lnTo>
                    <a:pt x="2195" y="3549"/>
                  </a:lnTo>
                  <a:lnTo>
                    <a:pt x="2182" y="3546"/>
                  </a:lnTo>
                  <a:lnTo>
                    <a:pt x="2171" y="3541"/>
                  </a:lnTo>
                  <a:lnTo>
                    <a:pt x="2161" y="3530"/>
                  </a:lnTo>
                  <a:lnTo>
                    <a:pt x="2152" y="3516"/>
                  </a:lnTo>
                  <a:lnTo>
                    <a:pt x="2145" y="3496"/>
                  </a:lnTo>
                  <a:lnTo>
                    <a:pt x="2141" y="3471"/>
                  </a:lnTo>
                  <a:lnTo>
                    <a:pt x="2139" y="3439"/>
                  </a:lnTo>
                  <a:lnTo>
                    <a:pt x="2139" y="3439"/>
                  </a:lnTo>
                  <a:lnTo>
                    <a:pt x="2141" y="3413"/>
                  </a:lnTo>
                  <a:lnTo>
                    <a:pt x="2145" y="3389"/>
                  </a:lnTo>
                  <a:lnTo>
                    <a:pt x="2152" y="3372"/>
                  </a:lnTo>
                  <a:lnTo>
                    <a:pt x="2161" y="3359"/>
                  </a:lnTo>
                  <a:lnTo>
                    <a:pt x="2171" y="3350"/>
                  </a:lnTo>
                  <a:lnTo>
                    <a:pt x="2182" y="3343"/>
                  </a:lnTo>
                  <a:lnTo>
                    <a:pt x="2195" y="3341"/>
                  </a:lnTo>
                  <a:lnTo>
                    <a:pt x="2205" y="3340"/>
                  </a:lnTo>
                  <a:lnTo>
                    <a:pt x="2205" y="3340"/>
                  </a:lnTo>
                  <a:lnTo>
                    <a:pt x="2218" y="3341"/>
                  </a:lnTo>
                  <a:lnTo>
                    <a:pt x="2228" y="3343"/>
                  </a:lnTo>
                  <a:lnTo>
                    <a:pt x="2237" y="3347"/>
                  </a:lnTo>
                  <a:lnTo>
                    <a:pt x="2246" y="3352"/>
                  </a:lnTo>
                  <a:lnTo>
                    <a:pt x="2253" y="3357"/>
                  </a:lnTo>
                  <a:lnTo>
                    <a:pt x="2259" y="3363"/>
                  </a:lnTo>
                  <a:lnTo>
                    <a:pt x="2269" y="3375"/>
                  </a:lnTo>
                  <a:lnTo>
                    <a:pt x="2269" y="3375"/>
                  </a:lnTo>
                  <a:close/>
                  <a:moveTo>
                    <a:pt x="1512" y="3267"/>
                  </a:moveTo>
                  <a:lnTo>
                    <a:pt x="1601" y="3267"/>
                  </a:lnTo>
                  <a:lnTo>
                    <a:pt x="1601" y="3425"/>
                  </a:lnTo>
                  <a:lnTo>
                    <a:pt x="1601" y="3624"/>
                  </a:lnTo>
                  <a:lnTo>
                    <a:pt x="1512" y="3624"/>
                  </a:lnTo>
                  <a:lnTo>
                    <a:pt x="1512" y="3267"/>
                  </a:lnTo>
                  <a:close/>
                  <a:moveTo>
                    <a:pt x="1601" y="3171"/>
                  </a:moveTo>
                  <a:lnTo>
                    <a:pt x="1601" y="3215"/>
                  </a:lnTo>
                  <a:lnTo>
                    <a:pt x="1512" y="3215"/>
                  </a:lnTo>
                  <a:lnTo>
                    <a:pt x="1512" y="3126"/>
                  </a:lnTo>
                  <a:lnTo>
                    <a:pt x="1601" y="3126"/>
                  </a:lnTo>
                  <a:lnTo>
                    <a:pt x="1601" y="3171"/>
                  </a:lnTo>
                  <a:close/>
                  <a:moveTo>
                    <a:pt x="3720" y="3162"/>
                  </a:moveTo>
                  <a:lnTo>
                    <a:pt x="3809" y="3117"/>
                  </a:lnTo>
                  <a:lnTo>
                    <a:pt x="3809" y="3441"/>
                  </a:lnTo>
                  <a:lnTo>
                    <a:pt x="3809" y="3624"/>
                  </a:lnTo>
                  <a:lnTo>
                    <a:pt x="3720" y="3624"/>
                  </a:lnTo>
                  <a:lnTo>
                    <a:pt x="3720" y="3162"/>
                  </a:lnTo>
                  <a:close/>
                  <a:moveTo>
                    <a:pt x="640" y="1220"/>
                  </a:moveTo>
                  <a:lnTo>
                    <a:pt x="1369" y="1220"/>
                  </a:lnTo>
                  <a:lnTo>
                    <a:pt x="1369" y="796"/>
                  </a:lnTo>
                  <a:lnTo>
                    <a:pt x="640" y="796"/>
                  </a:lnTo>
                  <a:lnTo>
                    <a:pt x="640" y="464"/>
                  </a:lnTo>
                  <a:lnTo>
                    <a:pt x="1448" y="464"/>
                  </a:lnTo>
                  <a:lnTo>
                    <a:pt x="1179" y="0"/>
                  </a:lnTo>
                  <a:lnTo>
                    <a:pt x="36" y="0"/>
                  </a:lnTo>
                  <a:lnTo>
                    <a:pt x="36" y="2016"/>
                  </a:lnTo>
                  <a:lnTo>
                    <a:pt x="1649" y="2016"/>
                  </a:lnTo>
                  <a:lnTo>
                    <a:pt x="1649" y="1552"/>
                  </a:lnTo>
                  <a:lnTo>
                    <a:pt x="640" y="1552"/>
                  </a:lnTo>
                  <a:lnTo>
                    <a:pt x="640" y="1220"/>
                  </a:lnTo>
                  <a:close/>
                  <a:moveTo>
                    <a:pt x="2723" y="0"/>
                  </a:moveTo>
                  <a:lnTo>
                    <a:pt x="2380" y="658"/>
                  </a:lnTo>
                  <a:lnTo>
                    <a:pt x="2038" y="0"/>
                  </a:lnTo>
                  <a:lnTo>
                    <a:pt x="1369" y="0"/>
                  </a:lnTo>
                  <a:lnTo>
                    <a:pt x="2074" y="1220"/>
                  </a:lnTo>
                  <a:lnTo>
                    <a:pt x="2074" y="2016"/>
                  </a:lnTo>
                  <a:lnTo>
                    <a:pt x="2677" y="2016"/>
                  </a:lnTo>
                  <a:lnTo>
                    <a:pt x="2677" y="1220"/>
                  </a:lnTo>
                  <a:lnTo>
                    <a:pt x="3383" y="0"/>
                  </a:lnTo>
                  <a:lnTo>
                    <a:pt x="27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600"/>
            </a:p>
          </p:txBody>
        </p:sp>
      </p:grpSp>
      <p:pic>
        <p:nvPicPr>
          <p:cNvPr id="31" name="Picture 30">
            <a:extLst>
              <a:ext uri="{FF2B5EF4-FFF2-40B4-BE49-F238E27FC236}">
                <a16:creationId xmlns:a16="http://schemas.microsoft.com/office/drawing/2014/main" id="{846C5BF7-8A8E-44D1-B295-7C9DC299002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4191" y="309952"/>
            <a:ext cx="2682303" cy="483693"/>
          </a:xfrm>
          <a:prstGeom prst="rect">
            <a:avLst/>
          </a:prstGeom>
        </p:spPr>
      </p:pic>
    </p:spTree>
    <p:extLst>
      <p:ext uri="{BB962C8B-B14F-4D97-AF65-F5344CB8AC3E}">
        <p14:creationId xmlns:p14="http://schemas.microsoft.com/office/powerpoint/2010/main" val="8447812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4_Standard">
    <p:spTree>
      <p:nvGrpSpPr>
        <p:cNvPr id="1" name=""/>
        <p:cNvGrpSpPr/>
        <p:nvPr/>
      </p:nvGrpSpPr>
      <p:grpSpPr>
        <a:xfrm>
          <a:off x="0" y="0"/>
          <a:ext cx="0" cy="0"/>
          <a:chOff x="0" y="0"/>
          <a:chExt cx="0" cy="0"/>
        </a:xfrm>
      </p:grpSpPr>
      <p:pic>
        <p:nvPicPr>
          <p:cNvPr id="17" name="Picture 5">
            <a:extLst>
              <a:ext uri="{FF2B5EF4-FFF2-40B4-BE49-F238E27FC236}">
                <a16:creationId xmlns:a16="http://schemas.microsoft.com/office/drawing/2014/main" id="{4C7BCABB-32D3-42EB-9E03-9DA2EF61030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92000" cy="6863840"/>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402019617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8" name="Rectangle 1">
            <a:extLst>
              <a:ext uri="{FF2B5EF4-FFF2-40B4-BE49-F238E27FC236}">
                <a16:creationId xmlns:a16="http://schemas.microsoft.com/office/drawing/2014/main" id="{718D1579-E3C4-443A-89CF-388267001CDE}"/>
              </a:ext>
            </a:extLst>
          </p:cNvPr>
          <p:cNvSpPr/>
          <p:nvPr userDrawn="1"/>
        </p:nvSpPr>
        <p:spPr>
          <a:xfrm flipH="1">
            <a:off x="0" y="0"/>
            <a:ext cx="12192001" cy="6858000"/>
          </a:xfrm>
          <a:prstGeom prst="rect">
            <a:avLst/>
          </a:prstGeom>
          <a:gradFill flip="none" rotWithShape="1">
            <a:gsLst>
              <a:gs pos="50000">
                <a:srgbClr val="000000">
                  <a:alpha val="35000"/>
                </a:srgbClr>
              </a:gs>
              <a:gs pos="100000">
                <a:srgbClr val="2E2E38">
                  <a:alpha val="0"/>
                  <a:lumMod val="100000"/>
                </a:srgbClr>
              </a:gs>
            </a:gsLst>
            <a:lin ang="810000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en-US" sz="1799" b="0" i="0" u="none" strike="noStrike" kern="0" cap="none" spc="0" normalizeH="0" baseline="0" noProof="0">
              <a:ln>
                <a:noFill/>
              </a:ln>
              <a:solidFill>
                <a:srgbClr val="2E2E38"/>
              </a:solidFill>
              <a:effectLst/>
              <a:uLnTx/>
              <a:uFillTx/>
            </a:endParaRPr>
          </a:p>
        </p:txBody>
      </p:sp>
      <p:grpSp>
        <p:nvGrpSpPr>
          <p:cNvPr id="9" name="Group 4">
            <a:extLst>
              <a:ext uri="{FF2B5EF4-FFF2-40B4-BE49-F238E27FC236}">
                <a16:creationId xmlns:a16="http://schemas.microsoft.com/office/drawing/2014/main" id="{1B1E4911-762E-4A14-B7E6-C8E2AADAC0C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BEC0C40A-F174-4133-BBFC-C328CC1F58F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6F465BC5-1F48-42E0-85DD-A3B37319B7A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FB37A6E2-CCA0-4796-8D75-E6205DFADB6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en-US"/>
              <a:t>Click to edit Master title style</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9" name="Line 10">
            <a:extLst>
              <a:ext uri="{FF2B5EF4-FFF2-40B4-BE49-F238E27FC236}">
                <a16:creationId xmlns:a16="http://schemas.microsoft.com/office/drawing/2014/main" id="{4FA71CD7-FAA8-4970-82AF-E318FDDDFD04}"/>
              </a:ext>
            </a:extLst>
          </p:cNvPr>
          <p:cNvSpPr>
            <a:spLocks noChangeShapeType="1"/>
          </p:cNvSpPr>
          <p:nvPr userDrawn="1"/>
        </p:nvSpPr>
        <p:spPr bwMode="auto">
          <a:xfrm>
            <a:off x="609600" y="9077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69169322"/>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a:t>Content EY Interstate Light, 16pt, Lorem ipsum dolor, 12pt, </a:t>
            </a:r>
            <a:r>
              <a:rPr lang="en-US" noProof="0" err="1"/>
              <a:t>Utinam</a:t>
            </a:r>
            <a:r>
              <a:rPr lang="en-US" noProof="0"/>
              <a:t> </a:t>
            </a:r>
            <a:r>
              <a:rPr lang="en-US" noProof="0" err="1"/>
              <a:t>nonumy</a:t>
            </a:r>
            <a:r>
              <a:rPr lang="en-US" noProof="0"/>
              <a:t> </a:t>
            </a:r>
            <a:r>
              <a:rPr lang="en-US" noProof="0" err="1"/>
              <a:t>abhorreant</a:t>
            </a:r>
            <a:r>
              <a:rPr lang="en-US" noProof="0"/>
              <a:t> </a:t>
            </a:r>
            <a:r>
              <a:rPr lang="en-US" noProof="0" err="1"/>
              <a:t>sead</a:t>
            </a:r>
            <a:r>
              <a:rPr lang="en-US" noProof="0"/>
              <a:t>. </a:t>
            </a:r>
            <a:r>
              <a:rPr lang="en-US" noProof="0" err="1"/>
              <a:t>Putant</a:t>
            </a:r>
            <a:r>
              <a:rPr lang="en-US" noProof="0"/>
              <a:t> </a:t>
            </a:r>
            <a:r>
              <a:rPr lang="en-US" noProof="0" err="1"/>
              <a:t>probatus</a:t>
            </a:r>
            <a:r>
              <a:rPr lang="en-US" noProof="0"/>
              <a:t> id vis, ad his </a:t>
            </a:r>
            <a:r>
              <a:rPr lang="en-US" noProof="0" err="1"/>
              <a:t>meis</a:t>
            </a:r>
            <a:r>
              <a:rPr lang="en-US" noProof="0"/>
              <a:t> </a:t>
            </a:r>
            <a:r>
              <a:rPr lang="en-US" noProof="0" err="1"/>
              <a:t>habemus</a:t>
            </a:r>
            <a:r>
              <a:rPr lang="en-US" noProof="0"/>
              <a:t> </a:t>
            </a:r>
            <a:r>
              <a:rPr lang="en-US" noProof="0" err="1"/>
              <a:t>repudiare</a:t>
            </a:r>
            <a:r>
              <a:rPr lang="en-US" noProof="0"/>
              <a:t>, has an </a:t>
            </a:r>
            <a:r>
              <a:rPr lang="en-US" noProof="0" err="1"/>
              <a:t>pericula</a:t>
            </a:r>
            <a:r>
              <a:rPr lang="en-US" noProof="0"/>
              <a:t> </a:t>
            </a:r>
            <a:r>
              <a:rPr lang="en-US" noProof="0" err="1"/>
              <a:t>tractatos</a:t>
            </a:r>
            <a:r>
              <a:rPr lang="en-US" noProof="0"/>
              <a:t>. </a:t>
            </a:r>
            <a:r>
              <a:rPr lang="en-US" noProof="0" err="1"/>
              <a:t>Nec</a:t>
            </a:r>
            <a:r>
              <a:rPr lang="en-US" noProof="0"/>
              <a:t> </a:t>
            </a:r>
            <a:r>
              <a:rPr lang="en-US" noProof="0" err="1"/>
              <a:t>debitis</a:t>
            </a:r>
            <a:r>
              <a:rPr lang="en-US" noProof="0"/>
              <a:t> </a:t>
            </a:r>
            <a:r>
              <a:rPr lang="en-US" noProof="0" err="1"/>
              <a:t>dissentias</a:t>
            </a:r>
            <a:r>
              <a:rPr lang="en-US" noProof="0"/>
              <a:t> ad. </a:t>
            </a:r>
            <a:r>
              <a:rPr lang="en-US" noProof="0" err="1"/>
              <a:t>Patrioque</a:t>
            </a:r>
            <a:r>
              <a:rPr lang="en-US" noProof="0"/>
              <a:t> </a:t>
            </a:r>
            <a:r>
              <a:rPr lang="en-US" noProof="0" err="1"/>
              <a:t>voluptatum</a:t>
            </a:r>
            <a:r>
              <a:rPr lang="en-US" noProof="0"/>
              <a:t> </a:t>
            </a:r>
            <a:r>
              <a:rPr lang="en-US" noProof="0" err="1"/>
              <a:t>sed</a:t>
            </a:r>
            <a:r>
              <a:rPr lang="en-US" noProof="0"/>
              <a:t> ex, id </a:t>
            </a:r>
            <a:r>
              <a:rPr lang="en-US" noProof="0" err="1"/>
              <a:t>admodum</a:t>
            </a:r>
            <a:r>
              <a:rPr lang="en-US" noProof="0"/>
              <a:t>.</a:t>
            </a:r>
          </a:p>
          <a:p>
            <a:pPr lvl="0"/>
            <a:endParaRPr lang="en-US" noProof="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0B0FC22C-51B8-4BBE-A811-8709A4736A15}" type="datetime3">
              <a:rPr lang="en-US" noProof="0" smtClean="0"/>
              <a:t>22 May 2024</a:t>
            </a:fld>
            <a:endParaRPr lang="en-US" noProof="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a:t>Page </a:t>
            </a:r>
            <a:fld id="{F1BC30E3-FFE5-4B91-AA19-87A149EBB9EE}" type="slidenum">
              <a:rPr lang="en-US" noProof="0" smtClean="0"/>
              <a:pPr/>
              <a:t>‹#›</a:t>
            </a:fld>
            <a:endParaRPr lang="en-US" noProof="0"/>
          </a:p>
        </p:txBody>
      </p:sp>
    </p:spTree>
    <p:extLst>
      <p:ext uri="{BB962C8B-B14F-4D97-AF65-F5344CB8AC3E}">
        <p14:creationId xmlns:p14="http://schemas.microsoft.com/office/powerpoint/2010/main" val="1614940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5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Grafik 8">
            <a:extLst>
              <a:ext uri="{FF2B5EF4-FFF2-40B4-BE49-F238E27FC236}">
                <a16:creationId xmlns:a16="http://schemas.microsoft.com/office/drawing/2014/main" id="{A7759E70-5D15-4411-8DED-F9D2BDD7B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78" y="0"/>
            <a:ext cx="12182044" cy="6858000"/>
          </a:xfrm>
          <a:prstGeom prst="rect">
            <a:avLst/>
          </a:prstGeom>
        </p:spPr>
      </p:pic>
      <p:sp>
        <p:nvSpPr>
          <p:cNvPr id="6" name="Rechteck 10">
            <a:extLst>
              <a:ext uri="{FF2B5EF4-FFF2-40B4-BE49-F238E27FC236}">
                <a16:creationId xmlns:a16="http://schemas.microsoft.com/office/drawing/2014/main" id="{B51D8BC7-BDA4-4E36-A3CE-F77554EE1A1A}"/>
              </a:ext>
            </a:extLst>
          </p:cNvPr>
          <p:cNvSpPr/>
          <p:nvPr userDrawn="1"/>
        </p:nvSpPr>
        <p:spPr>
          <a:xfrm>
            <a:off x="4978" y="3176"/>
            <a:ext cx="12162759" cy="6854824"/>
          </a:xfrm>
          <a:prstGeom prst="rect">
            <a:avLst/>
          </a:prstGeom>
          <a:gradFill flip="none" rotWithShape="1">
            <a:gsLst>
              <a:gs pos="16000">
                <a:schemeClr val="bg2"/>
              </a:gs>
              <a:gs pos="57000">
                <a:schemeClr val="bg2">
                  <a:alpha val="0"/>
                </a:schemeClr>
              </a:gs>
            </a:gsLst>
            <a:lin ang="19200000" scaled="0"/>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spTree>
    <p:extLst>
      <p:ext uri="{BB962C8B-B14F-4D97-AF65-F5344CB8AC3E}">
        <p14:creationId xmlns:p14="http://schemas.microsoft.com/office/powerpoint/2010/main" val="1077823358"/>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6" name="Objekt 45" hidden="1">
            <a:extLst>
              <a:ext uri="{FF2B5EF4-FFF2-40B4-BE49-F238E27FC236}">
                <a16:creationId xmlns:a16="http://schemas.microsoft.com/office/drawing/2014/main" id="{D39DD8B5-29D5-4255-8546-08AF2D6221F1}"/>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46" name="Objekt 45" hidden="1">
                        <a:extLst>
                          <a:ext uri="{FF2B5EF4-FFF2-40B4-BE49-F238E27FC236}">
                            <a16:creationId xmlns:a16="http://schemas.microsoft.com/office/drawing/2014/main" id="{D39DD8B5-29D5-4255-8546-08AF2D6221F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5" name="Rechteck 44" hidden="1">
            <a:extLst>
              <a:ext uri="{FF2B5EF4-FFF2-40B4-BE49-F238E27FC236}">
                <a16:creationId xmlns:a16="http://schemas.microsoft.com/office/drawing/2014/main" id="{D561E5CB-7648-4CCC-ADDC-A258EC914496}"/>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9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44" name="Grafik 43">
            <a:extLst>
              <a:ext uri="{FF2B5EF4-FFF2-40B4-BE49-F238E27FC236}">
                <a16:creationId xmlns:a16="http://schemas.microsoft.com/office/drawing/2014/main" id="{4A1B1425-4BE4-46EA-A15F-54E7A3B79F1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26" y="0"/>
            <a:ext cx="12201326"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a:p>
        </p:txBody>
      </p:sp>
      <p:sp>
        <p:nvSpPr>
          <p:cNvPr id="3" name="Title 1"/>
          <p:cNvSpPr>
            <a:spLocks noGrp="1"/>
          </p:cNvSpPr>
          <p:nvPr>
            <p:ph type="ctrTitle" hasCustomPrompt="1"/>
          </p:nvPr>
        </p:nvSpPr>
        <p:spPr>
          <a:xfrm>
            <a:off x="899861" y="1954221"/>
            <a:ext cx="3900670" cy="979702"/>
          </a:xfrm>
          <a:prstGeom prst="rect">
            <a:avLst/>
          </a:prstGeo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a:p>
          </p:txBody>
        </p:sp>
      </p:grpSp>
      <p:pic>
        <p:nvPicPr>
          <p:cNvPr id="48" name="Grafik 47">
            <a:extLst>
              <a:ext uri="{FF2B5EF4-FFF2-40B4-BE49-F238E27FC236}">
                <a16:creationId xmlns:a16="http://schemas.microsoft.com/office/drawing/2014/main" id="{CD8CFB81-0F8A-4957-9F71-2E5C7E4E72C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5868" t="30525" r="48266" b="26518"/>
          <a:stretch/>
        </p:blipFill>
        <p:spPr>
          <a:xfrm>
            <a:off x="4908487" y="1055364"/>
            <a:ext cx="2554953" cy="2511054"/>
          </a:xfrm>
          <a:prstGeom prst="rect">
            <a:avLst/>
          </a:prstGeom>
        </p:spPr>
      </p:pic>
    </p:spTree>
    <p:extLst>
      <p:ext uri="{BB962C8B-B14F-4D97-AF65-F5344CB8AC3E}">
        <p14:creationId xmlns:p14="http://schemas.microsoft.com/office/powerpoint/2010/main" val="309669150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Standar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7A84450B-E946-4307-A583-1AAA759C79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2" name="Rechteck 1">
            <a:extLst>
              <a:ext uri="{FF2B5EF4-FFF2-40B4-BE49-F238E27FC236}">
                <a16:creationId xmlns:a16="http://schemas.microsoft.com/office/drawing/2014/main" id="{DCD790D2-8CC5-4114-B48E-538D2707FFD8}"/>
              </a:ext>
            </a:extLst>
          </p:cNvPr>
          <p:cNvSpPr/>
          <p:nvPr userDrawn="1"/>
        </p:nvSpPr>
        <p:spPr>
          <a:xfrm>
            <a:off x="0" y="-4754"/>
            <a:ext cx="12192001" cy="6862754"/>
          </a:xfrm>
          <a:prstGeom prst="rect">
            <a:avLst/>
          </a:prstGeom>
          <a:gradFill flip="none" rotWithShape="1">
            <a:gsLst>
              <a:gs pos="3000">
                <a:schemeClr val="bg2">
                  <a:alpha val="91000"/>
                </a:schemeClr>
              </a:gs>
              <a:gs pos="100000">
                <a:schemeClr val="bg2">
                  <a:alpha val="29000"/>
                </a:schemeClr>
              </a:gs>
            </a:gsLst>
            <a:lin ang="0" scaled="1"/>
            <a:tileRect/>
          </a:gradFill>
          <a:ln w="12700" cap="sq" cmpd="sng" algn="ctr">
            <a:noFill/>
            <a:prstDash val="solid"/>
            <a:miter lim="800000"/>
            <a:tailEnd type="none"/>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indent="0" algn="ctr" defTabSz="913943" eaLnBrk="1" fontAlgn="auto" latinLnBrk="0" hangingPunct="1">
              <a:lnSpc>
                <a:spcPct val="100000"/>
              </a:lnSpc>
              <a:spcBef>
                <a:spcPts val="0"/>
              </a:spcBef>
              <a:spcAft>
                <a:spcPts val="0"/>
              </a:spcAft>
              <a:buClrTx/>
              <a:buSzTx/>
              <a:buFontTx/>
              <a:buNone/>
              <a:tabLst/>
            </a:pPr>
            <a:endParaRPr kumimoji="0" lang="de-DE" sz="1799" b="0" i="0" u="none" strike="noStrike" kern="0" cap="none" spc="0" normalizeH="0" baseline="0" noProof="0">
              <a:ln>
                <a:noFill/>
              </a:ln>
              <a:solidFill>
                <a:srgbClr val="2E2E38"/>
              </a:solidFill>
              <a:effectLst/>
              <a:uLnTx/>
              <a:uFillTx/>
            </a:endParaRPr>
          </a:p>
        </p:txBody>
      </p:sp>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5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449395"/>
            <a:ext cx="10972800" cy="4643430"/>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DAE7EFB-C88A-43E1-A427-D63FDF4976B7}"/>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6278C3FB-6A80-4CED-BA62-D3F753B7F4D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944B9BA2-3B2C-4961-9FA6-819D52D72DE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81994738-1B8E-43F6-93A8-E71956CE1E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78508630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1_Standard">
    <p:spTree>
      <p:nvGrpSpPr>
        <p:cNvPr id="1" name=""/>
        <p:cNvGrpSpPr/>
        <p:nvPr/>
      </p:nvGrpSpPr>
      <p:grpSpPr>
        <a:xfrm>
          <a:off x="0" y="0"/>
          <a:ext cx="0" cy="0"/>
          <a:chOff x="0" y="0"/>
          <a:chExt cx="0" cy="0"/>
        </a:xfrm>
      </p:grpSpPr>
      <p:pic>
        <p:nvPicPr>
          <p:cNvPr id="8" name="Picture 40">
            <a:extLst>
              <a:ext uri="{FF2B5EF4-FFF2-40B4-BE49-F238E27FC236}">
                <a16:creationId xmlns:a16="http://schemas.microsoft.com/office/drawing/2014/main" id="{97B9B08E-1FD8-40CD-BC4D-F95F6DE9343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154"/>
          <a:stretch/>
        </p:blipFill>
        <p:spPr>
          <a:xfrm>
            <a:off x="1589" y="0"/>
            <a:ext cx="12227780" cy="6865937"/>
          </a:xfrm>
          <a:prstGeom prst="rect">
            <a:avLst/>
          </a:prstGeom>
        </p:spPr>
      </p:pic>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52" imgH="318" progId="TCLayout.ActiveDocument.1">
                  <p:embed/>
                </p:oleObj>
              </mc:Choice>
              <mc:Fallback>
                <p:oleObj name="think-cell Slide" r:id="rId5"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en-US"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601" y="1047450"/>
            <a:ext cx="913606"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601" y="294200"/>
            <a:ext cx="10972800" cy="603422"/>
          </a:xfrm>
        </p:spPr>
        <p:txBody>
          <a:bodyPr/>
          <a:lstStyle>
            <a:lvl1pPr>
              <a:defRPr sz="2399">
                <a:solidFill>
                  <a:schemeClr val="bg1"/>
                </a:solidFill>
              </a:defRPr>
            </a:lvl1pPr>
          </a:lstStyle>
          <a:p>
            <a:r>
              <a:rPr lang="de-DE"/>
              <a:t>Mastertitelformat bearbeiten</a:t>
            </a:r>
            <a:endParaRPr lang="en-GB"/>
          </a:p>
        </p:txBody>
      </p:sp>
      <p:sp>
        <p:nvSpPr>
          <p:cNvPr id="15" name="Content Placeholder 2">
            <a:extLst>
              <a:ext uri="{FF2B5EF4-FFF2-40B4-BE49-F238E27FC236}">
                <a16:creationId xmlns:a16="http://schemas.microsoft.com/office/drawing/2014/main" id="{EA4146C4-1406-4248-9CE2-4F622C7CA9A3}"/>
              </a:ext>
            </a:extLst>
          </p:cNvPr>
          <p:cNvSpPr>
            <a:spLocks noGrp="1"/>
          </p:cNvSpPr>
          <p:nvPr>
            <p:ph idx="1" hasCustomPrompt="1"/>
          </p:nvPr>
        </p:nvSpPr>
        <p:spPr>
          <a:xfrm>
            <a:off x="609600" y="1137920"/>
            <a:ext cx="10972800" cy="4954905"/>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4">
            <a:extLst>
              <a:ext uri="{FF2B5EF4-FFF2-40B4-BE49-F238E27FC236}">
                <a16:creationId xmlns:a16="http://schemas.microsoft.com/office/drawing/2014/main" id="{CED84906-9648-4D76-BB68-F2B01DAF432B}"/>
              </a:ext>
            </a:extLst>
          </p:cNvPr>
          <p:cNvGrpSpPr>
            <a:grpSpLocks noChangeAspect="1"/>
          </p:cNvGrpSpPr>
          <p:nvPr userDrawn="1"/>
        </p:nvGrpSpPr>
        <p:grpSpPr bwMode="auto">
          <a:xfrm>
            <a:off x="11281250" y="6356350"/>
            <a:ext cx="303055" cy="311150"/>
            <a:chOff x="7110" y="4004"/>
            <a:chExt cx="191" cy="196"/>
          </a:xfrm>
        </p:grpSpPr>
        <p:sp>
          <p:nvSpPr>
            <p:cNvPr id="10" name="Freeform 5">
              <a:extLst>
                <a:ext uri="{FF2B5EF4-FFF2-40B4-BE49-F238E27FC236}">
                  <a16:creationId xmlns:a16="http://schemas.microsoft.com/office/drawing/2014/main" id="{57029777-8EBB-4BD8-A3B8-8DB4299BF7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20217048-E7A0-41D5-A963-8638A2E139A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7">
              <a:extLst>
                <a:ext uri="{FF2B5EF4-FFF2-40B4-BE49-F238E27FC236}">
                  <a16:creationId xmlns:a16="http://schemas.microsoft.com/office/drawing/2014/main" id="{CAF437BB-0074-4C46-BC23-B5D4F04B092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09735673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00368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1DEBBD0-ED69-42F7-AE02-53D61B52F7DB}" type="datetime3">
              <a:rPr lang="en-US" noProof="0" smtClean="0"/>
              <a:t>22 May 2024</a:t>
            </a:fld>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6724790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81344087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991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8" name="Title 1"/>
          <p:cNvSpPr>
            <a:spLocks noGrp="1"/>
          </p:cNvSpPr>
          <p:nvPr>
            <p:ph type="title"/>
          </p:nvPr>
        </p:nvSpPr>
        <p:spPr>
          <a:xfrm>
            <a:off x="371475" y="368300"/>
            <a:ext cx="11449050" cy="720725"/>
          </a:xfrm>
          <a:prstGeom prst="rect">
            <a:avLst/>
          </a:prstGeom>
        </p:spPr>
        <p:txBody>
          <a:bodyPr lIns="0" tIns="0" rIns="0" bIns="0" anchor="ctr" anchorCtr="0"/>
          <a:lstStyle>
            <a:lvl1pPr algn="r">
              <a:defRPr lang="en-US" sz="2400" b="0" kern="1200" dirty="0">
                <a:solidFill>
                  <a:schemeClr val="bg1"/>
                </a:solidFill>
                <a:latin typeface="EYInterstate" panose="02000503020000020004" pitchFamily="2" charset="0"/>
                <a:ea typeface="+mn-ea"/>
                <a:cs typeface="+mn-cs"/>
              </a:defRPr>
            </a:lvl1pPr>
          </a:lstStyle>
          <a:p>
            <a:r>
              <a:rPr lang="en-US"/>
              <a:t>Click to edit Master title style</a:t>
            </a:r>
          </a:p>
        </p:txBody>
      </p:sp>
      <p:sp>
        <p:nvSpPr>
          <p:cNvPr id="10" name="Text Placeholder 5">
            <a:extLst>
              <a:ext uri="{FF2B5EF4-FFF2-40B4-BE49-F238E27FC236}">
                <a16:creationId xmlns:a16="http://schemas.microsoft.com/office/drawing/2014/main" id="{7BFF6F91-2C64-4EA0-8305-5C732DCB5B91}"/>
              </a:ext>
            </a:extLst>
          </p:cNvPr>
          <p:cNvSpPr>
            <a:spLocks noGrp="1"/>
          </p:cNvSpPr>
          <p:nvPr>
            <p:ph type="body" sz="quarter" idx="10"/>
          </p:nvPr>
        </p:nvSpPr>
        <p:spPr>
          <a:xfrm>
            <a:off x="371475" y="1341438"/>
            <a:ext cx="11449050" cy="4535487"/>
          </a:xfrm>
          <a:prstGeom prst="rect">
            <a:avLst/>
          </a:prstGeom>
        </p:spPr>
        <p:txBody>
          <a:bodyPr lIns="0" tIns="0" rIns="0" bIns="0"/>
          <a:lstStyle>
            <a:lvl1pPr marL="0" indent="0">
              <a:lnSpc>
                <a:spcPct val="100000"/>
              </a:lnSpc>
              <a:spcBef>
                <a:spcPts val="1200"/>
              </a:spcBef>
              <a:spcAft>
                <a:spcPts val="0"/>
              </a:spcAft>
              <a:buFontTx/>
              <a:buNone/>
              <a:defRPr sz="1400">
                <a:solidFill>
                  <a:schemeClr val="bg1"/>
                </a:solidFill>
                <a:latin typeface="EYInterstate Light" panose="02000506000000020004" pitchFamily="2" charset="0"/>
              </a:defRPr>
            </a:lvl1pPr>
            <a:lvl2pPr marL="0" indent="0">
              <a:lnSpc>
                <a:spcPct val="100000"/>
              </a:lnSpc>
              <a:spcBef>
                <a:spcPts val="1200"/>
              </a:spcBef>
              <a:spcAft>
                <a:spcPts val="0"/>
              </a:spcAft>
              <a:buFontTx/>
              <a:buNone/>
              <a:defRPr sz="2000" b="1">
                <a:solidFill>
                  <a:srgbClr val="FFD200"/>
                </a:solidFill>
                <a:latin typeface="EYInterstate" panose="02000503020000020004" pitchFamily="2" charset="0"/>
              </a:defRPr>
            </a:lvl2pPr>
            <a:lvl3pPr marL="0" indent="0">
              <a:lnSpc>
                <a:spcPct val="100000"/>
              </a:lnSpc>
              <a:spcBef>
                <a:spcPts val="1200"/>
              </a:spcBef>
              <a:spcAft>
                <a:spcPts val="0"/>
              </a:spcAft>
              <a:buFontTx/>
              <a:buNone/>
              <a:defRPr sz="1600" b="0" i="1">
                <a:solidFill>
                  <a:schemeClr val="bg1">
                    <a:lumMod val="75000"/>
                  </a:schemeClr>
                </a:solidFill>
                <a:latin typeface="EYInterstate" panose="02000503020000020004" pitchFamily="2" charset="0"/>
              </a:defRPr>
            </a:lvl3pPr>
            <a:lvl4pPr marL="357188" indent="-357188">
              <a:lnSpc>
                <a:spcPct val="100000"/>
              </a:lnSpc>
              <a:spcBef>
                <a:spcPts val="1200"/>
              </a:spcBef>
              <a:spcAft>
                <a:spcPts val="0"/>
              </a:spcAft>
              <a:buClr>
                <a:srgbClr val="FFE600"/>
              </a:buClr>
              <a:buSzPct val="80000"/>
              <a:buFont typeface="Arial" panose="020B0604020202020204" pitchFamily="34" charset="0"/>
              <a:buChar char="►"/>
              <a:defRPr sz="1400">
                <a:solidFill>
                  <a:schemeClr val="bg1"/>
                </a:solidFill>
                <a:latin typeface="EYInterstate Light" panose="02000506000000020004" pitchFamily="2" charset="0"/>
              </a:defRPr>
            </a:lvl4pPr>
            <a:lvl5pPr marL="714375" indent="-357188">
              <a:lnSpc>
                <a:spcPct val="100000"/>
              </a:lnSpc>
              <a:spcBef>
                <a:spcPts val="1200"/>
              </a:spcBef>
              <a:spcAft>
                <a:spcPts val="0"/>
              </a:spcAft>
              <a:buClr>
                <a:schemeClr val="bg1">
                  <a:lumMod val="85000"/>
                </a:schemeClr>
              </a:buClr>
              <a:buSzPct val="80000"/>
              <a:buFont typeface="Arial" panose="020B0604020202020204" pitchFamily="34" charset="0"/>
              <a:buChar char="►"/>
              <a:defRPr sz="1400">
                <a:solidFill>
                  <a:schemeClr val="bg1"/>
                </a:solidFill>
                <a:latin typeface="EYInterstate Light" panose="0200050600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t-IT"/>
          </a:p>
        </p:txBody>
      </p:sp>
    </p:spTree>
    <p:extLst>
      <p:ext uri="{BB962C8B-B14F-4D97-AF65-F5344CB8AC3E}">
        <p14:creationId xmlns:p14="http://schemas.microsoft.com/office/powerpoint/2010/main" val="28891890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38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4.xml"/><Relationship Id="rId26" Type="http://schemas.openxmlformats.org/officeDocument/2006/relationships/tags" Target="../tags/tag12.xml"/><Relationship Id="rId3" Type="http://schemas.openxmlformats.org/officeDocument/2006/relationships/slideLayout" Target="../slideLayouts/slideLayout19.xml"/><Relationship Id="rId21" Type="http://schemas.openxmlformats.org/officeDocument/2006/relationships/tags" Target="../tags/tag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3.xml"/><Relationship Id="rId25" Type="http://schemas.openxmlformats.org/officeDocument/2006/relationships/tags" Target="../tags/tag11.xml"/><Relationship Id="rId2" Type="http://schemas.openxmlformats.org/officeDocument/2006/relationships/slideLayout" Target="../slideLayouts/slideLayout18.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image" Target="../media/image9.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0.xml"/><Relationship Id="rId5" Type="http://schemas.openxmlformats.org/officeDocument/2006/relationships/slideLayout" Target="../slideLayouts/slideLayout21.xml"/><Relationship Id="rId15" Type="http://schemas.openxmlformats.org/officeDocument/2006/relationships/theme" Target="../theme/theme3.xml"/><Relationship Id="rId23" Type="http://schemas.openxmlformats.org/officeDocument/2006/relationships/tags" Target="../tags/tag9.xml"/><Relationship Id="rId28" Type="http://schemas.openxmlformats.org/officeDocument/2006/relationships/oleObject" Target="../embeddings/oleObject2.bin"/><Relationship Id="rId10" Type="http://schemas.openxmlformats.org/officeDocument/2006/relationships/slideLayout" Target="../slideLayouts/slideLayout26.xml"/><Relationship Id="rId19" Type="http://schemas.openxmlformats.org/officeDocument/2006/relationships/tags" Target="../tags/tag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8.xml"/><Relationship Id="rId27" Type="http://schemas.openxmlformats.org/officeDocument/2006/relationships/tags" Target="../tags/tag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theme" Target="../theme/theme4.xml"/><Relationship Id="rId3" Type="http://schemas.openxmlformats.org/officeDocument/2006/relationships/slideLayout" Target="../slideLayouts/slideLayout33.xml"/><Relationship Id="rId21" Type="http://schemas.openxmlformats.org/officeDocument/2006/relationships/image" Target="../media/image20.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hyperlink" Target="https://sites.ey.com/sites/AdvisoryBMCsupport/Shared%20Documents/DS&amp;T01-flipbook/Digital%20Strategy%20&amp;%20Transformation%20%E2%80%93%20Global%20advisory%20sales%20toolkit-ppt.pptx?d=waf66a5b420db4f2ea18380673d9e08f9" TargetMode="Externa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oleObject" Target="../embeddings/oleObject10.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hyperlink" Target="https://sites.ey.com/sites/AdvisoryBMCsupport/Shared%20Documents/DS&amp;T01-flipbook/Digital%20Strategy%20&amp;%20Transformation%20%E2%80%93%20Global%20advisory%20sales%20toolkit-pdf.pdf" TargetMode="Externa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hyperlink" Target="https://sites.ey.com/sites/AdvisoryBMCsupport/Shared%20Documents/DS&amp;T01-flipbook/Digital%20Strategy%20&amp;%20Transformation%20%E2%80%93%20Global%20advisory%20sales%20toolkit.msg" TargetMode="External"/><Relationship Id="rId10" Type="http://schemas.openxmlformats.org/officeDocument/2006/relationships/slideLayout" Target="../slideLayouts/slideLayout40.xml"/><Relationship Id="rId19" Type="http://schemas.openxmlformats.org/officeDocument/2006/relationships/tags" Target="../tags/tag27.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hyperlink" Target="https://sites.ey.com/sites/AdvisoryBMCsupport/Shared%20Documents/DS&amp;T01-flipbook/Digital%20Strategy%20&amp;%20Transformation%20%E2%80%93%20Global%20advisory%20sales%20toolkit.zip"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slideLayout" Target="../slideLayouts/slideLayout50.xml"/><Relationship Id="rId21" Type="http://schemas.openxmlformats.org/officeDocument/2006/relationships/tags" Target="../tags/tag34.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ags" Target="../tags/tag30.xml"/><Relationship Id="rId25" Type="http://schemas.openxmlformats.org/officeDocument/2006/relationships/tags" Target="../tags/tag38.xml"/><Relationship Id="rId2" Type="http://schemas.openxmlformats.org/officeDocument/2006/relationships/slideLayout" Target="../slideLayouts/slideLayout49.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37.xml"/><Relationship Id="rId5" Type="http://schemas.openxmlformats.org/officeDocument/2006/relationships/slideLayout" Target="../slideLayouts/slideLayout52.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9.emf"/><Relationship Id="rId10" Type="http://schemas.openxmlformats.org/officeDocument/2006/relationships/slideLayout" Target="../slideLayouts/slideLayout57.xml"/><Relationship Id="rId19" Type="http://schemas.openxmlformats.org/officeDocument/2006/relationships/tags" Target="../tags/tag3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5.xml"/><Relationship Id="rId22" Type="http://schemas.openxmlformats.org/officeDocument/2006/relationships/tags" Target="../tags/tag35.xml"/><Relationship Id="rId27" Type="http://schemas.openxmlformats.org/officeDocument/2006/relationships/oleObject" Target="../embeddings/oleObject1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56.xml"/><Relationship Id="rId26" Type="http://schemas.openxmlformats.org/officeDocument/2006/relationships/tags" Target="../tags/tag64.xml"/><Relationship Id="rId3" Type="http://schemas.openxmlformats.org/officeDocument/2006/relationships/slideLayout" Target="../slideLayouts/slideLayout63.xml"/><Relationship Id="rId21" Type="http://schemas.openxmlformats.org/officeDocument/2006/relationships/tags" Target="../tags/tag59.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ags" Target="../tags/tag55.xml"/><Relationship Id="rId25" Type="http://schemas.openxmlformats.org/officeDocument/2006/relationships/tags" Target="../tags/tag63.xml"/><Relationship Id="rId2" Type="http://schemas.openxmlformats.org/officeDocument/2006/relationships/slideLayout" Target="../slideLayouts/slideLayout62.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image" Target="../media/image9.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ags" Target="../tags/tag62.xml"/><Relationship Id="rId5" Type="http://schemas.openxmlformats.org/officeDocument/2006/relationships/slideLayout" Target="../slideLayouts/slideLayout65.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oleObject" Target="../embeddings/oleObject19.bin"/><Relationship Id="rId10" Type="http://schemas.openxmlformats.org/officeDocument/2006/relationships/slideLayout" Target="../slideLayouts/slideLayout70.xml"/><Relationship Id="rId19" Type="http://schemas.openxmlformats.org/officeDocument/2006/relationships/tags" Target="../tags/tag57.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6.xml"/><Relationship Id="rId22" Type="http://schemas.openxmlformats.org/officeDocument/2006/relationships/tags" Target="../tags/tag60.xml"/><Relationship Id="rId27" Type="http://schemas.openxmlformats.org/officeDocument/2006/relationships/image" Target="../media/image44.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tags" Target="../tags/tag78.xml"/><Relationship Id="rId26" Type="http://schemas.openxmlformats.org/officeDocument/2006/relationships/tags" Target="../tags/tag86.xml"/><Relationship Id="rId3" Type="http://schemas.openxmlformats.org/officeDocument/2006/relationships/slideLayout" Target="../slideLayouts/slideLayout76.xml"/><Relationship Id="rId21" Type="http://schemas.openxmlformats.org/officeDocument/2006/relationships/tags" Target="../tags/tag81.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theme" Target="../theme/theme7.xml"/><Relationship Id="rId25" Type="http://schemas.openxmlformats.org/officeDocument/2006/relationships/tags" Target="../tags/tag85.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tags" Target="../tags/tag80.xml"/><Relationship Id="rId29" Type="http://schemas.openxmlformats.org/officeDocument/2006/relationships/tags" Target="../tags/tag8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ags" Target="../tags/tag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ags" Target="../tags/tag83.xml"/><Relationship Id="rId28" Type="http://schemas.openxmlformats.org/officeDocument/2006/relationships/tags" Target="../tags/tag88.xml"/><Relationship Id="rId10" Type="http://schemas.openxmlformats.org/officeDocument/2006/relationships/slideLayout" Target="../slideLayouts/slideLayout83.xml"/><Relationship Id="rId19" Type="http://schemas.openxmlformats.org/officeDocument/2006/relationships/tags" Target="../tags/tag79.xml"/><Relationship Id="rId31" Type="http://schemas.openxmlformats.org/officeDocument/2006/relationships/image" Target="../media/image9.emf"/><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oleObject" Target="../embeddings/oleObject27.bin"/></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1"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1"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4" name="Group 3">
            <a:extLst>
              <a:ext uri="{FF2B5EF4-FFF2-40B4-BE49-F238E27FC236}">
                <a16:creationId xmlns:a16="http://schemas.microsoft.com/office/drawing/2014/main" id="{7A5DE68D-F0DD-46BD-866C-DA847765128A}"/>
              </a:ext>
            </a:extLst>
          </p:cNvPr>
          <p:cNvGrpSpPr/>
          <p:nvPr userDrawn="1"/>
        </p:nvGrpSpPr>
        <p:grpSpPr bwMode="invGray">
          <a:xfrm>
            <a:off x="11281250" y="6356351"/>
            <a:ext cx="303055" cy="311150"/>
            <a:chOff x="12432878" y="7009642"/>
            <a:chExt cx="333992" cy="343129"/>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12432878" y="7009642"/>
              <a:ext cx="333992" cy="122546"/>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IN" sz="1796"/>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12434627" y="7182957"/>
              <a:ext cx="136395" cy="169814"/>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sz="1796"/>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12548289" y="7182957"/>
              <a:ext cx="167870" cy="169814"/>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IN" sz="1796"/>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799"/>
              <a:t>Page </a:t>
            </a:r>
            <a:fld id="{D5B76411-544C-4F9A-8EDE-9EEB2BD21F95}" type="slidenum">
              <a:rPr lang="en-IN" sz="799" smtClean="0"/>
              <a:t>‹#›</a:t>
            </a:fld>
            <a:endParaRPr sz="799"/>
          </a:p>
        </p:txBody>
      </p:sp>
      <p:cxnSp>
        <p:nvCxnSpPr>
          <p:cNvPr id="9" name="Straight Connector 8">
            <a:extLst>
              <a:ext uri="{FF2B5EF4-FFF2-40B4-BE49-F238E27FC236}">
                <a16:creationId xmlns:a16="http://schemas.microsoft.com/office/drawing/2014/main" id="{F190C052-B16B-40D4-90E1-9C92D80C4685}"/>
              </a:ext>
            </a:extLst>
          </p:cNvPr>
          <p:cNvCxnSpPr>
            <a:cxnSpLocks/>
          </p:cNvCxnSpPr>
          <p:nvPr userDrawn="1"/>
        </p:nvCxnSpPr>
        <p:spPr>
          <a:xfrm>
            <a:off x="589832" y="955035"/>
            <a:ext cx="537528" cy="0"/>
          </a:xfrm>
          <a:prstGeom prst="line">
            <a:avLst/>
          </a:prstGeom>
          <a:noFill/>
          <a:ln w="38100" cap="flat" cmpd="sng" algn="ctr">
            <a:solidFill>
              <a:srgbClr val="FFE600"/>
            </a:solidFill>
            <a:prstDash val="solid"/>
            <a:tailEnd type="none"/>
          </a:ln>
          <a:effectLst/>
        </p:spPr>
      </p:cxnSp>
    </p:spTree>
    <p:extLst>
      <p:ext uri="{BB962C8B-B14F-4D97-AF65-F5344CB8AC3E}">
        <p14:creationId xmlns:p14="http://schemas.microsoft.com/office/powerpoint/2010/main" val="339653226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725" r:id="rId7"/>
    <p:sldLayoutId id="2147483669" r:id="rId8"/>
    <p:sldLayoutId id="2147483670" r:id="rId9"/>
  </p:sldLayoutIdLst>
  <p:hf sldNum="0" hdr="0" dt="0"/>
  <p:txStyles>
    <p:titleStyle>
      <a:lvl1pPr algn="l" defTabSz="912634" rtl="0" eaLnBrk="1" latinLnBrk="0" hangingPunct="1">
        <a:lnSpc>
          <a:spcPct val="85000"/>
        </a:lnSpc>
        <a:spcBef>
          <a:spcPct val="0"/>
        </a:spcBef>
        <a:buNone/>
        <a:defRPr sz="2396" b="0" kern="1200">
          <a:solidFill>
            <a:schemeClr val="bg1"/>
          </a:solidFill>
          <a:latin typeface="EYInterstate Light" panose="02000506000000020004" pitchFamily="2" charset="0"/>
          <a:ea typeface="+mj-ea"/>
          <a:cs typeface="Arial" pitchFamily="34" charset="0"/>
        </a:defRPr>
      </a:lvl1pPr>
    </p:titleStyle>
    <p:bodyStyle>
      <a:lvl1pPr marL="355928" indent="-355928" algn="l" defTabSz="912634" rtl="0" eaLnBrk="1" latinLnBrk="0" hangingPunct="1">
        <a:spcBef>
          <a:spcPct val="20000"/>
        </a:spcBef>
        <a:buClr>
          <a:schemeClr val="tx2"/>
        </a:buClr>
        <a:buSzPct val="70000"/>
        <a:buFont typeface="Arial" pitchFamily="34" charset="0"/>
        <a:buChar char="►"/>
        <a:defRPr sz="1996" kern="1200">
          <a:solidFill>
            <a:schemeClr val="bg1"/>
          </a:solidFill>
          <a:latin typeface="EYInterstate Light" panose="02000506000000020004" pitchFamily="2" charset="0"/>
          <a:ea typeface="+mn-ea"/>
          <a:cs typeface="+mn-cs"/>
        </a:defRPr>
      </a:lvl1pPr>
      <a:lvl2pPr marL="711854" indent="-355928" algn="l" defTabSz="912634" rtl="0" eaLnBrk="1" latinLnBrk="0" hangingPunct="1">
        <a:spcBef>
          <a:spcPct val="20000"/>
        </a:spcBef>
        <a:buClr>
          <a:schemeClr val="tx2"/>
        </a:buClr>
        <a:buSzPct val="70000"/>
        <a:buFont typeface="Arial" pitchFamily="34" charset="0"/>
        <a:buChar char="►"/>
        <a:defRPr sz="1796" kern="1200">
          <a:solidFill>
            <a:schemeClr val="bg1"/>
          </a:solidFill>
          <a:latin typeface="EYInterstate Light" panose="02000506000000020004" pitchFamily="2" charset="0"/>
          <a:ea typeface="+mn-ea"/>
          <a:cs typeface="+mn-cs"/>
        </a:defRPr>
      </a:lvl2pPr>
      <a:lvl3pPr marL="1067781" indent="-355928" algn="l" defTabSz="912634" rtl="0" eaLnBrk="1" latinLnBrk="0" hangingPunct="1">
        <a:spcBef>
          <a:spcPct val="20000"/>
        </a:spcBef>
        <a:buClr>
          <a:schemeClr val="tx2"/>
        </a:buClr>
        <a:buSzPct val="70000"/>
        <a:buFont typeface="Arial" pitchFamily="34" charset="0"/>
        <a:buChar char="►"/>
        <a:defRPr sz="1597" kern="1200">
          <a:solidFill>
            <a:schemeClr val="bg1"/>
          </a:solidFill>
          <a:latin typeface="EYInterstate Light" panose="02000506000000020004" pitchFamily="2" charset="0"/>
          <a:ea typeface="+mn-ea"/>
          <a:cs typeface="+mn-cs"/>
        </a:defRPr>
      </a:lvl3pPr>
      <a:lvl4pPr marL="1423710" indent="-355928" algn="l" defTabSz="912634" rtl="0" eaLnBrk="1" latinLnBrk="0" hangingPunct="1">
        <a:spcBef>
          <a:spcPct val="20000"/>
        </a:spcBef>
        <a:buClr>
          <a:schemeClr val="tx2"/>
        </a:buClr>
        <a:buSzPct val="70000"/>
        <a:buFont typeface="Arial" pitchFamily="34" charset="0"/>
        <a:buChar char="►"/>
        <a:defRPr sz="1397" kern="1200">
          <a:solidFill>
            <a:schemeClr val="bg1"/>
          </a:solidFill>
          <a:latin typeface="EYInterstate Light" panose="02000506000000020004" pitchFamily="2" charset="0"/>
          <a:ea typeface="+mn-ea"/>
          <a:cs typeface="+mn-cs"/>
        </a:defRPr>
      </a:lvl4pPr>
      <a:lvl5pPr marL="1779636" indent="-355928" algn="l" defTabSz="912634" rtl="0" eaLnBrk="1" latinLnBrk="0" hangingPunct="1">
        <a:spcBef>
          <a:spcPct val="20000"/>
        </a:spcBef>
        <a:buClr>
          <a:schemeClr val="tx2"/>
        </a:buClr>
        <a:buSzPct val="70000"/>
        <a:buFont typeface="Arial" pitchFamily="34" charset="0"/>
        <a:buChar char="►"/>
        <a:defRPr sz="1197" kern="1200">
          <a:solidFill>
            <a:schemeClr val="bg1"/>
          </a:solidFill>
          <a:latin typeface="EYInterstate Light" panose="02000506000000020004" pitchFamily="2" charset="0"/>
          <a:ea typeface="+mn-ea"/>
          <a:cs typeface="+mn-cs"/>
        </a:defRPr>
      </a:lvl5pPr>
      <a:lvl6pPr marL="2509744"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6pPr>
      <a:lvl7pPr marL="2966061"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7pPr>
      <a:lvl8pPr marL="3422378"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8pPr>
      <a:lvl9pPr marL="3878696" indent="-228159" algn="l" defTabSz="912634" rtl="0" eaLnBrk="1" latinLnBrk="0" hangingPunct="1">
        <a:spcBef>
          <a:spcPct val="20000"/>
        </a:spcBef>
        <a:buFont typeface="Arial" pitchFamily="34" charset="0"/>
        <a:buChar char="•"/>
        <a:defRPr sz="1996" kern="1200">
          <a:solidFill>
            <a:schemeClr val="tx1"/>
          </a:solidFill>
          <a:latin typeface="+mn-lt"/>
          <a:ea typeface="+mn-ea"/>
          <a:cs typeface="+mn-cs"/>
        </a:defRPr>
      </a:lvl9pPr>
    </p:bodyStyle>
    <p:otherStyle>
      <a:defPPr>
        <a:defRPr lang="en-US"/>
      </a:defPPr>
      <a:lvl1pPr marL="0" algn="l" defTabSz="912634" rtl="0" eaLnBrk="1" latinLnBrk="0" hangingPunct="1">
        <a:defRPr sz="1796" kern="1200">
          <a:solidFill>
            <a:schemeClr val="tx1"/>
          </a:solidFill>
          <a:latin typeface="+mn-lt"/>
          <a:ea typeface="+mn-ea"/>
          <a:cs typeface="+mn-cs"/>
        </a:defRPr>
      </a:lvl1pPr>
      <a:lvl2pPr marL="456316" algn="l" defTabSz="912634" rtl="0" eaLnBrk="1" latinLnBrk="0" hangingPunct="1">
        <a:defRPr sz="1796" kern="1200">
          <a:solidFill>
            <a:schemeClr val="tx1"/>
          </a:solidFill>
          <a:latin typeface="+mn-lt"/>
          <a:ea typeface="+mn-ea"/>
          <a:cs typeface="+mn-cs"/>
        </a:defRPr>
      </a:lvl2pPr>
      <a:lvl3pPr marL="912634" algn="l" defTabSz="912634" rtl="0" eaLnBrk="1" latinLnBrk="0" hangingPunct="1">
        <a:defRPr sz="1796" kern="1200">
          <a:solidFill>
            <a:schemeClr val="tx1"/>
          </a:solidFill>
          <a:latin typeface="+mn-lt"/>
          <a:ea typeface="+mn-ea"/>
          <a:cs typeface="+mn-cs"/>
        </a:defRPr>
      </a:lvl3pPr>
      <a:lvl4pPr marL="1368951" algn="l" defTabSz="912634" rtl="0" eaLnBrk="1" latinLnBrk="0" hangingPunct="1">
        <a:defRPr sz="1796" kern="1200">
          <a:solidFill>
            <a:schemeClr val="tx1"/>
          </a:solidFill>
          <a:latin typeface="+mn-lt"/>
          <a:ea typeface="+mn-ea"/>
          <a:cs typeface="+mn-cs"/>
        </a:defRPr>
      </a:lvl4pPr>
      <a:lvl5pPr marL="1825269" algn="l" defTabSz="912634" rtl="0" eaLnBrk="1" latinLnBrk="0" hangingPunct="1">
        <a:defRPr sz="1796" kern="1200">
          <a:solidFill>
            <a:schemeClr val="tx1"/>
          </a:solidFill>
          <a:latin typeface="+mn-lt"/>
          <a:ea typeface="+mn-ea"/>
          <a:cs typeface="+mn-cs"/>
        </a:defRPr>
      </a:lvl5pPr>
      <a:lvl6pPr marL="2281586" algn="l" defTabSz="912634" rtl="0" eaLnBrk="1" latinLnBrk="0" hangingPunct="1">
        <a:defRPr sz="1796" kern="1200">
          <a:solidFill>
            <a:schemeClr val="tx1"/>
          </a:solidFill>
          <a:latin typeface="+mn-lt"/>
          <a:ea typeface="+mn-ea"/>
          <a:cs typeface="+mn-cs"/>
        </a:defRPr>
      </a:lvl6pPr>
      <a:lvl7pPr marL="2737902" algn="l" defTabSz="912634" rtl="0" eaLnBrk="1" latinLnBrk="0" hangingPunct="1">
        <a:defRPr sz="1796" kern="1200">
          <a:solidFill>
            <a:schemeClr val="tx1"/>
          </a:solidFill>
          <a:latin typeface="+mn-lt"/>
          <a:ea typeface="+mn-ea"/>
          <a:cs typeface="+mn-cs"/>
        </a:defRPr>
      </a:lvl7pPr>
      <a:lvl8pPr marL="3194220" algn="l" defTabSz="912634" rtl="0" eaLnBrk="1" latinLnBrk="0" hangingPunct="1">
        <a:defRPr sz="1796" kern="1200">
          <a:solidFill>
            <a:schemeClr val="tx1"/>
          </a:solidFill>
          <a:latin typeface="+mn-lt"/>
          <a:ea typeface="+mn-ea"/>
          <a:cs typeface="+mn-cs"/>
        </a:defRPr>
      </a:lvl8pPr>
      <a:lvl9pPr marL="3650536" algn="l" defTabSz="912634" rtl="0" eaLnBrk="1" latinLnBrk="0" hangingPunct="1">
        <a:defRPr sz="179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6791029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p:hf sldNum="0"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6"/>
            </p:custDataLst>
            <p:extLst>
              <p:ext uri="{D42A27DB-BD31-4B8C-83A1-F6EECF244321}">
                <p14:modId xmlns:p14="http://schemas.microsoft.com/office/powerpoint/2010/main" val="370478123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8" imgW="352" imgH="318" progId="TCLayout.ActiveDocument.1">
                  <p:embed/>
                </p:oleObj>
              </mc:Choice>
              <mc:Fallback>
                <p:oleObj name="think-cell Slide" r:id="rId28"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9"/>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7"/>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0919" lvl="2" indent="-233246"/>
            <a:r>
              <a:rPr lang="en-US" noProof="0"/>
              <a:t>Third level</a:t>
            </a:r>
          </a:p>
          <a:p>
            <a:pPr marL="745752" lvl="3" indent="-231659"/>
            <a:r>
              <a:rPr lang="en-US" noProof="0"/>
              <a:t>Fourth level</a:t>
            </a:r>
          </a:p>
          <a:p>
            <a:pPr marL="944091" lvl="4" indent="-201512">
              <a:buClr>
                <a:srgbClr val="FFE600"/>
              </a:buClr>
            </a:pPr>
            <a:r>
              <a:rPr lang="en-US" noProof="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8"/>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Tree>
    <p:extLst>
      <p:ext uri="{BB962C8B-B14F-4D97-AF65-F5344CB8AC3E}">
        <p14:creationId xmlns:p14="http://schemas.microsoft.com/office/powerpoint/2010/main" val="307575123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sldNum="0"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DF379C7-4126-4EF3-9174-8A7A4694EDA8}"/>
              </a:ext>
            </a:extLst>
          </p:cNvPr>
          <p:cNvGraphicFramePr>
            <a:graphicFrameLocks noChangeAspect="1"/>
          </p:cNvGraphicFramePr>
          <p:nvPr userDrawn="1">
            <p:custDataLst>
              <p:tags r:id="rId19"/>
            </p:custDataLst>
            <p:extLst>
              <p:ext uri="{D42A27DB-BD31-4B8C-83A1-F6EECF244321}">
                <p14:modId xmlns:p14="http://schemas.microsoft.com/office/powerpoint/2010/main" val="2870356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14" name="Object 13" hidden="1">
                        <a:extLst>
                          <a:ext uri="{FF2B5EF4-FFF2-40B4-BE49-F238E27FC236}">
                            <a16:creationId xmlns:a16="http://schemas.microsoft.com/office/drawing/2014/main" id="{1DF379C7-4126-4EF3-9174-8A7A4694EDA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1685674" y="333680"/>
            <a:ext cx="9896726" cy="8604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bwMode="gray">
          <a:xfrm>
            <a:off x="609601" y="1425600"/>
            <a:ext cx="10972799"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bwMode="gray">
          <a:xfrm>
            <a:off x="4744101" y="6419088"/>
            <a:ext cx="6541666" cy="201168"/>
          </a:xfrm>
          <a:prstGeom prst="rect">
            <a:avLst/>
          </a:prstGeom>
        </p:spPr>
        <p:txBody>
          <a:bodyPr vert="horz" lIns="0" tIns="0" rIns="0" bIns="0" rtlCol="0" anchor="ctr" anchorCtr="0">
            <a:noAutofit/>
          </a:bodyPr>
          <a:lstStyle>
            <a:lvl1pPr algn="r">
              <a:defRPr sz="1099">
                <a:solidFill>
                  <a:schemeClr val="bg2"/>
                </a:solidFill>
                <a:latin typeface="+mn-lt"/>
              </a:defRPr>
            </a:lvl1pPr>
          </a:lstStyle>
          <a:p>
            <a:r>
              <a:rPr lang="en-GB"/>
              <a:t>Daraft for Discussion</a:t>
            </a:r>
          </a:p>
        </p:txBody>
      </p:sp>
      <p:sp>
        <p:nvSpPr>
          <p:cNvPr id="7" name="TextBox 6"/>
          <p:cNvSpPr txBox="1"/>
          <p:nvPr/>
        </p:nvSpPr>
        <p:spPr bwMode="gray">
          <a:xfrm>
            <a:off x="11408183" y="6419088"/>
            <a:ext cx="202776" cy="201168"/>
          </a:xfrm>
          <a:prstGeom prst="rect">
            <a:avLst/>
          </a:prstGeom>
          <a:noFill/>
        </p:spPr>
        <p:txBody>
          <a:bodyPr wrap="square" lIns="0" tIns="0" rIns="0" bIns="0" rtlCol="0" anchor="ctr" anchorCtr="0">
            <a:noAutofit/>
          </a:bodyPr>
          <a:lstStyle/>
          <a:p>
            <a:fld id="{9AE4D82F-B047-469B-AC52-A46321747EAF}" type="slidenum">
              <a:rPr lang="en-GB" sz="1099" smtClean="0">
                <a:solidFill>
                  <a:schemeClr val="bg1"/>
                </a:solidFill>
                <a:latin typeface="+mn-lt"/>
              </a:rPr>
              <a:pPr/>
              <a:t>‹#›</a:t>
            </a:fld>
            <a:endParaRPr lang="en-GB" sz="1099">
              <a:solidFill>
                <a:schemeClr val="bg1"/>
              </a:solidFill>
              <a:latin typeface="+mn-lt"/>
            </a:endParaRPr>
          </a:p>
        </p:txBody>
      </p:sp>
      <p:sp>
        <p:nvSpPr>
          <p:cNvPr id="12" name="Date Placeholder 3"/>
          <p:cNvSpPr>
            <a:spLocks noGrp="1"/>
          </p:cNvSpPr>
          <p:nvPr>
            <p:ph type="dt" sz="half" idx="2"/>
          </p:nvPr>
        </p:nvSpPr>
        <p:spPr bwMode="gray">
          <a:xfrm>
            <a:off x="2180182" y="6519672"/>
            <a:ext cx="1370886" cy="201168"/>
          </a:xfrm>
          <a:prstGeom prst="rect">
            <a:avLst/>
          </a:prstGeom>
        </p:spPr>
        <p:txBody>
          <a:bodyPr vert="horz" wrap="none" lIns="0" tIns="0" rIns="0" bIns="0" rtlCol="0" anchor="t" anchorCtr="0"/>
          <a:lstStyle>
            <a:lvl1pPr algn="l">
              <a:defRPr sz="1099">
                <a:solidFill>
                  <a:schemeClr val="bg1"/>
                </a:solidFill>
                <a:latin typeface="+mn-lt"/>
              </a:defRPr>
            </a:lvl1pPr>
          </a:lstStyle>
          <a:p>
            <a:endParaRPr lang="en-US"/>
          </a:p>
        </p:txBody>
      </p:sp>
      <p:cxnSp>
        <p:nvCxnSpPr>
          <p:cNvPr id="8" name="Straight Connector 7"/>
          <p:cNvCxnSpPr/>
          <p:nvPr userDrawn="1"/>
        </p:nvCxnSpPr>
        <p:spPr bwMode="gray">
          <a:xfrm>
            <a:off x="11346974" y="6419088"/>
            <a:ext cx="0" cy="201168"/>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userDrawn="1"/>
        </p:nvSpPr>
        <p:spPr bwMode="gray">
          <a:xfrm>
            <a:off x="609600" y="6320765"/>
            <a:ext cx="2073784" cy="461665"/>
          </a:xfrm>
          <a:prstGeom prst="rect">
            <a:avLst/>
          </a:prstGeom>
        </p:spPr>
        <p:txBody>
          <a:bodyPr wrap="square" lIns="0">
            <a:spAutoFit/>
          </a:bodyPr>
          <a:lstStyle/>
          <a:p>
            <a:pPr>
              <a:spcBef>
                <a:spcPct val="0"/>
              </a:spcBef>
              <a:defRPr/>
            </a:pPr>
            <a:r>
              <a:rPr lang="en-IN" sz="1199" b="1">
                <a:solidFill>
                  <a:schemeClr val="bg1"/>
                </a:solidFill>
                <a:cs typeface="Arial" pitchFamily="34" charset="0"/>
              </a:rPr>
              <a:t>Confidential</a:t>
            </a:r>
          </a:p>
          <a:p>
            <a:pPr>
              <a:spcBef>
                <a:spcPct val="0"/>
              </a:spcBef>
              <a:defRPr/>
            </a:pPr>
            <a:r>
              <a:rPr lang="en-IN" sz="1199" b="1">
                <a:solidFill>
                  <a:schemeClr val="bg1"/>
                </a:solidFill>
                <a:cs typeface="Arial" pitchFamily="34" charset="0"/>
              </a:rPr>
              <a:t>Internal use only</a:t>
            </a:r>
          </a:p>
        </p:txBody>
      </p:sp>
      <p:sp>
        <p:nvSpPr>
          <p:cNvPr id="145" name="Freeform 144"/>
          <p:cNvSpPr/>
          <p:nvPr userDrawn="1"/>
        </p:nvSpPr>
        <p:spPr bwMode="gray">
          <a:xfrm>
            <a:off x="11675379" y="624728"/>
            <a:ext cx="516621" cy="1340841"/>
          </a:xfrm>
          <a:custGeom>
            <a:avLst/>
            <a:gdLst>
              <a:gd name="connsiteX0" fmla="*/ 54008 w 645866"/>
              <a:gd name="connsiteY0" fmla="*/ 0 h 1340841"/>
              <a:gd name="connsiteX1" fmla="*/ 118501 w 645866"/>
              <a:gd name="connsiteY1" fmla="*/ 0 h 1340841"/>
              <a:gd name="connsiteX2" fmla="*/ 489112 w 645866"/>
              <a:gd name="connsiteY2" fmla="*/ 0 h 1340841"/>
              <a:gd name="connsiteX3" fmla="*/ 645866 w 645866"/>
              <a:gd name="connsiteY3" fmla="*/ 0 h 1340841"/>
              <a:gd name="connsiteX4" fmla="*/ 645866 w 645866"/>
              <a:gd name="connsiteY4" fmla="*/ 161951 h 1340841"/>
              <a:gd name="connsiteX5" fmla="*/ 645866 w 645866"/>
              <a:gd name="connsiteY5" fmla="*/ 1178890 h 1340841"/>
              <a:gd name="connsiteX6" fmla="*/ 645866 w 645866"/>
              <a:gd name="connsiteY6" fmla="*/ 1340841 h 1340841"/>
              <a:gd name="connsiteX7" fmla="*/ 489112 w 645866"/>
              <a:gd name="connsiteY7" fmla="*/ 1340841 h 1340841"/>
              <a:gd name="connsiteX8" fmla="*/ 118501 w 645866"/>
              <a:gd name="connsiteY8" fmla="*/ 1340841 h 1340841"/>
              <a:gd name="connsiteX9" fmla="*/ 54008 w 645866"/>
              <a:gd name="connsiteY9" fmla="*/ 1340841 h 1340841"/>
              <a:gd name="connsiteX10" fmla="*/ 0 w 645866"/>
              <a:gd name="connsiteY10" fmla="*/ 1286833 h 1340841"/>
              <a:gd name="connsiteX11" fmla="*/ 0 w 645866"/>
              <a:gd name="connsiteY11" fmla="*/ 1124882 h 1340841"/>
              <a:gd name="connsiteX12" fmla="*/ 0 w 645866"/>
              <a:gd name="connsiteY12" fmla="*/ 215959 h 1340841"/>
              <a:gd name="connsiteX13" fmla="*/ 0 w 645866"/>
              <a:gd name="connsiteY13" fmla="*/ 54008 h 1340841"/>
              <a:gd name="connsiteX14" fmla="*/ 54008 w 645866"/>
              <a:gd name="connsiteY14" fmla="*/ 0 h 134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5866" h="1340841">
                <a:moveTo>
                  <a:pt x="54008" y="0"/>
                </a:moveTo>
                <a:lnTo>
                  <a:pt x="118501" y="0"/>
                </a:lnTo>
                <a:lnTo>
                  <a:pt x="489112" y="0"/>
                </a:lnTo>
                <a:lnTo>
                  <a:pt x="645866" y="0"/>
                </a:lnTo>
                <a:lnTo>
                  <a:pt x="645866" y="161951"/>
                </a:lnTo>
                <a:lnTo>
                  <a:pt x="645866" y="1178890"/>
                </a:lnTo>
                <a:lnTo>
                  <a:pt x="645866" y="1340841"/>
                </a:lnTo>
                <a:lnTo>
                  <a:pt x="489112" y="1340841"/>
                </a:lnTo>
                <a:lnTo>
                  <a:pt x="118501" y="1340841"/>
                </a:lnTo>
                <a:lnTo>
                  <a:pt x="54008" y="1340841"/>
                </a:lnTo>
                <a:cubicBezTo>
                  <a:pt x="24180" y="1340841"/>
                  <a:pt x="0" y="1316661"/>
                  <a:pt x="0" y="1286833"/>
                </a:cubicBezTo>
                <a:lnTo>
                  <a:pt x="0" y="1124882"/>
                </a:lnTo>
                <a:lnTo>
                  <a:pt x="0" y="215959"/>
                </a:lnTo>
                <a:lnTo>
                  <a:pt x="0" y="54008"/>
                </a:lnTo>
                <a:cubicBezTo>
                  <a:pt x="0" y="24180"/>
                  <a:pt x="24180" y="0"/>
                  <a:pt x="54008" y="0"/>
                </a:cubicBezTo>
                <a:close/>
              </a:path>
            </a:pathLst>
          </a:cu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IN" sz="1199">
              <a:solidFill>
                <a:schemeClr val="tx1"/>
              </a:solidFill>
            </a:endParaRPr>
          </a:p>
        </p:txBody>
      </p:sp>
      <p:grpSp>
        <p:nvGrpSpPr>
          <p:cNvPr id="59" name="Group 58"/>
          <p:cNvGrpSpPr>
            <a:grpSpLocks noChangeAspect="1"/>
          </p:cNvGrpSpPr>
          <p:nvPr userDrawn="1"/>
        </p:nvGrpSpPr>
        <p:grpSpPr bwMode="gray">
          <a:xfrm>
            <a:off x="11820165" y="1644808"/>
            <a:ext cx="219997" cy="210777"/>
            <a:chOff x="8434389" y="1882775"/>
            <a:chExt cx="3032126" cy="2903538"/>
          </a:xfrm>
        </p:grpSpPr>
        <p:sp>
          <p:nvSpPr>
            <p:cNvPr id="60" name="Freeform 33"/>
            <p:cNvSpPr>
              <a:spLocks noEditPoints="1"/>
            </p:cNvSpPr>
            <p:nvPr/>
          </p:nvSpPr>
          <p:spPr bwMode="gray">
            <a:xfrm>
              <a:off x="8434389" y="1882775"/>
              <a:ext cx="1738313" cy="2903538"/>
            </a:xfrm>
            <a:custGeom>
              <a:avLst/>
              <a:gdLst>
                <a:gd name="T0" fmla="*/ 462 w 462"/>
                <a:gd name="T1" fmla="*/ 772 h 772"/>
                <a:gd name="T2" fmla="*/ 0 w 462"/>
                <a:gd name="T3" fmla="*/ 694 h 772"/>
                <a:gd name="T4" fmla="*/ 0 w 462"/>
                <a:gd name="T5" fmla="*/ 79 h 772"/>
                <a:gd name="T6" fmla="*/ 462 w 462"/>
                <a:gd name="T7" fmla="*/ 0 h 772"/>
                <a:gd name="T8" fmla="*/ 462 w 462"/>
                <a:gd name="T9" fmla="*/ 772 h 772"/>
                <a:gd name="T10" fmla="*/ 210 w 462"/>
                <a:gd name="T11" fmla="*/ 430 h 772"/>
                <a:gd name="T12" fmla="*/ 225 w 462"/>
                <a:gd name="T13" fmla="*/ 430 h 772"/>
                <a:gd name="T14" fmla="*/ 316 w 462"/>
                <a:gd name="T15" fmla="*/ 344 h 772"/>
                <a:gd name="T16" fmla="*/ 257 w 462"/>
                <a:gd name="T17" fmla="*/ 257 h 772"/>
                <a:gd name="T18" fmla="*/ 168 w 462"/>
                <a:gd name="T19" fmla="*/ 257 h 772"/>
                <a:gd name="T20" fmla="*/ 168 w 462"/>
                <a:gd name="T21" fmla="*/ 517 h 772"/>
                <a:gd name="T22" fmla="*/ 210 w 462"/>
                <a:gd name="T23" fmla="*/ 517 h 772"/>
                <a:gd name="T24" fmla="*/ 210 w 462"/>
                <a:gd name="T25" fmla="*/ 43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2" h="772">
                  <a:moveTo>
                    <a:pt x="462" y="772"/>
                  </a:moveTo>
                  <a:cubicBezTo>
                    <a:pt x="307" y="746"/>
                    <a:pt x="154" y="720"/>
                    <a:pt x="0" y="694"/>
                  </a:cubicBezTo>
                  <a:cubicBezTo>
                    <a:pt x="0" y="489"/>
                    <a:pt x="0" y="285"/>
                    <a:pt x="0" y="79"/>
                  </a:cubicBezTo>
                  <a:cubicBezTo>
                    <a:pt x="153" y="53"/>
                    <a:pt x="307" y="27"/>
                    <a:pt x="462" y="0"/>
                  </a:cubicBezTo>
                  <a:cubicBezTo>
                    <a:pt x="462" y="258"/>
                    <a:pt x="462" y="513"/>
                    <a:pt x="462" y="772"/>
                  </a:cubicBezTo>
                  <a:close/>
                  <a:moveTo>
                    <a:pt x="210" y="430"/>
                  </a:moveTo>
                  <a:cubicBezTo>
                    <a:pt x="217" y="430"/>
                    <a:pt x="221" y="430"/>
                    <a:pt x="225" y="430"/>
                  </a:cubicBezTo>
                  <a:cubicBezTo>
                    <a:pt x="282" y="429"/>
                    <a:pt x="313" y="402"/>
                    <a:pt x="316" y="344"/>
                  </a:cubicBezTo>
                  <a:cubicBezTo>
                    <a:pt x="318" y="299"/>
                    <a:pt x="305" y="261"/>
                    <a:pt x="257" y="257"/>
                  </a:cubicBezTo>
                  <a:cubicBezTo>
                    <a:pt x="228" y="254"/>
                    <a:pt x="198" y="257"/>
                    <a:pt x="168" y="257"/>
                  </a:cubicBezTo>
                  <a:cubicBezTo>
                    <a:pt x="168" y="347"/>
                    <a:pt x="168" y="431"/>
                    <a:pt x="168" y="517"/>
                  </a:cubicBezTo>
                  <a:cubicBezTo>
                    <a:pt x="182" y="517"/>
                    <a:pt x="196" y="517"/>
                    <a:pt x="210" y="517"/>
                  </a:cubicBezTo>
                  <a:cubicBezTo>
                    <a:pt x="210" y="488"/>
                    <a:pt x="210" y="460"/>
                    <a:pt x="210" y="430"/>
                  </a:cubicBezTo>
                  <a:close/>
                </a:path>
              </a:pathLst>
            </a:custGeom>
            <a:no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61" name="Rectangle 60"/>
            <p:cNvSpPr/>
            <p:nvPr/>
          </p:nvSpPr>
          <p:spPr bwMode="gray">
            <a:xfrm>
              <a:off x="8936039" y="2751138"/>
              <a:ext cx="838200" cy="123507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62" name="Freeform 34"/>
            <p:cNvSpPr>
              <a:spLocks noEditPoints="1"/>
            </p:cNvSpPr>
            <p:nvPr/>
          </p:nvSpPr>
          <p:spPr bwMode="gray">
            <a:xfrm>
              <a:off x="10213977" y="2635250"/>
              <a:ext cx="1041400" cy="1590675"/>
            </a:xfrm>
            <a:custGeom>
              <a:avLst/>
              <a:gdLst>
                <a:gd name="T0" fmla="*/ 277 w 277"/>
                <a:gd name="T1" fmla="*/ 27 h 423"/>
                <a:gd name="T2" fmla="*/ 250 w 277"/>
                <a:gd name="T3" fmla="*/ 1 h 423"/>
                <a:gd name="T4" fmla="*/ 26 w 277"/>
                <a:gd name="T5" fmla="*/ 1 h 423"/>
                <a:gd name="T6" fmla="*/ 7 w 277"/>
                <a:gd name="T7" fmla="*/ 2 h 423"/>
                <a:gd name="T8" fmla="*/ 7 w 277"/>
                <a:gd name="T9" fmla="*/ 50 h 423"/>
                <a:gd name="T10" fmla="*/ 43 w 277"/>
                <a:gd name="T11" fmla="*/ 46 h 423"/>
                <a:gd name="T12" fmla="*/ 43 w 277"/>
                <a:gd name="T13" fmla="*/ 146 h 423"/>
                <a:gd name="T14" fmla="*/ 144 w 277"/>
                <a:gd name="T15" fmla="*/ 146 h 423"/>
                <a:gd name="T16" fmla="*/ 8 w 277"/>
                <a:gd name="T17" fmla="*/ 239 h 423"/>
                <a:gd name="T18" fmla="*/ 34 w 277"/>
                <a:gd name="T19" fmla="*/ 274 h 423"/>
                <a:gd name="T20" fmla="*/ 60 w 277"/>
                <a:gd name="T21" fmla="*/ 274 h 423"/>
                <a:gd name="T22" fmla="*/ 188 w 277"/>
                <a:gd name="T23" fmla="*/ 274 h 423"/>
                <a:gd name="T24" fmla="*/ 188 w 277"/>
                <a:gd name="T25" fmla="*/ 309 h 423"/>
                <a:gd name="T26" fmla="*/ 7 w 277"/>
                <a:gd name="T27" fmla="*/ 309 h 423"/>
                <a:gd name="T28" fmla="*/ 32 w 277"/>
                <a:gd name="T29" fmla="*/ 342 h 423"/>
                <a:gd name="T30" fmla="*/ 48 w 277"/>
                <a:gd name="T31" fmla="*/ 342 h 423"/>
                <a:gd name="T32" fmla="*/ 188 w 277"/>
                <a:gd name="T33" fmla="*/ 342 h 423"/>
                <a:gd name="T34" fmla="*/ 188 w 277"/>
                <a:gd name="T35" fmla="*/ 378 h 423"/>
                <a:gd name="T36" fmla="*/ 7 w 277"/>
                <a:gd name="T37" fmla="*/ 378 h 423"/>
                <a:gd name="T38" fmla="*/ 7 w 277"/>
                <a:gd name="T39" fmla="*/ 423 h 423"/>
                <a:gd name="T40" fmla="*/ 253 w 277"/>
                <a:gd name="T41" fmla="*/ 423 h 423"/>
                <a:gd name="T42" fmla="*/ 277 w 277"/>
                <a:gd name="T43" fmla="*/ 398 h 423"/>
                <a:gd name="T44" fmla="*/ 277 w 277"/>
                <a:gd name="T45" fmla="*/ 27 h 423"/>
                <a:gd name="T46" fmla="*/ 156 w 277"/>
                <a:gd name="T47" fmla="*/ 128 h 423"/>
                <a:gd name="T48" fmla="*/ 62 w 277"/>
                <a:gd name="T49" fmla="*/ 128 h 423"/>
                <a:gd name="T50" fmla="*/ 62 w 277"/>
                <a:gd name="T51" fmla="*/ 32 h 423"/>
                <a:gd name="T52" fmla="*/ 156 w 277"/>
                <a:gd name="T53" fmla="*/ 128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7" h="423">
                  <a:moveTo>
                    <a:pt x="277" y="27"/>
                  </a:moveTo>
                  <a:cubicBezTo>
                    <a:pt x="276" y="2"/>
                    <a:pt x="275" y="1"/>
                    <a:pt x="250" y="1"/>
                  </a:cubicBezTo>
                  <a:cubicBezTo>
                    <a:pt x="176" y="0"/>
                    <a:pt x="101" y="0"/>
                    <a:pt x="26" y="1"/>
                  </a:cubicBezTo>
                  <a:cubicBezTo>
                    <a:pt x="20" y="1"/>
                    <a:pt x="14" y="1"/>
                    <a:pt x="7" y="2"/>
                  </a:cubicBezTo>
                  <a:cubicBezTo>
                    <a:pt x="7" y="19"/>
                    <a:pt x="7" y="34"/>
                    <a:pt x="7" y="50"/>
                  </a:cubicBezTo>
                  <a:cubicBezTo>
                    <a:pt x="19" y="49"/>
                    <a:pt x="30" y="48"/>
                    <a:pt x="43" y="46"/>
                  </a:cubicBezTo>
                  <a:cubicBezTo>
                    <a:pt x="43" y="80"/>
                    <a:pt x="43" y="111"/>
                    <a:pt x="43" y="146"/>
                  </a:cubicBezTo>
                  <a:cubicBezTo>
                    <a:pt x="79" y="146"/>
                    <a:pt x="111" y="146"/>
                    <a:pt x="144" y="146"/>
                  </a:cubicBezTo>
                  <a:cubicBezTo>
                    <a:pt x="147" y="212"/>
                    <a:pt x="91" y="249"/>
                    <a:pt x="8" y="239"/>
                  </a:cubicBezTo>
                  <a:cubicBezTo>
                    <a:pt x="0" y="272"/>
                    <a:pt x="2" y="274"/>
                    <a:pt x="34" y="274"/>
                  </a:cubicBezTo>
                  <a:cubicBezTo>
                    <a:pt x="42" y="274"/>
                    <a:pt x="51" y="274"/>
                    <a:pt x="60" y="274"/>
                  </a:cubicBezTo>
                  <a:cubicBezTo>
                    <a:pt x="102" y="274"/>
                    <a:pt x="145" y="274"/>
                    <a:pt x="188" y="274"/>
                  </a:cubicBezTo>
                  <a:cubicBezTo>
                    <a:pt x="188" y="287"/>
                    <a:pt x="188" y="297"/>
                    <a:pt x="188" y="309"/>
                  </a:cubicBezTo>
                  <a:cubicBezTo>
                    <a:pt x="128" y="309"/>
                    <a:pt x="68" y="309"/>
                    <a:pt x="7" y="309"/>
                  </a:cubicBezTo>
                  <a:cubicBezTo>
                    <a:pt x="3" y="342"/>
                    <a:pt x="3" y="342"/>
                    <a:pt x="32" y="342"/>
                  </a:cubicBezTo>
                  <a:cubicBezTo>
                    <a:pt x="37" y="342"/>
                    <a:pt x="42" y="342"/>
                    <a:pt x="48" y="342"/>
                  </a:cubicBezTo>
                  <a:cubicBezTo>
                    <a:pt x="94" y="342"/>
                    <a:pt x="141" y="342"/>
                    <a:pt x="188" y="342"/>
                  </a:cubicBezTo>
                  <a:cubicBezTo>
                    <a:pt x="188" y="355"/>
                    <a:pt x="188" y="365"/>
                    <a:pt x="188" y="378"/>
                  </a:cubicBezTo>
                  <a:cubicBezTo>
                    <a:pt x="127" y="378"/>
                    <a:pt x="67" y="378"/>
                    <a:pt x="7" y="378"/>
                  </a:cubicBezTo>
                  <a:cubicBezTo>
                    <a:pt x="7" y="395"/>
                    <a:pt x="7" y="408"/>
                    <a:pt x="7" y="423"/>
                  </a:cubicBezTo>
                  <a:cubicBezTo>
                    <a:pt x="90" y="423"/>
                    <a:pt x="172" y="422"/>
                    <a:pt x="253" y="423"/>
                  </a:cubicBezTo>
                  <a:cubicBezTo>
                    <a:pt x="272" y="423"/>
                    <a:pt x="277" y="416"/>
                    <a:pt x="277" y="398"/>
                  </a:cubicBezTo>
                  <a:cubicBezTo>
                    <a:pt x="276" y="275"/>
                    <a:pt x="277" y="151"/>
                    <a:pt x="277" y="27"/>
                  </a:cubicBezTo>
                  <a:close/>
                  <a:moveTo>
                    <a:pt x="156" y="128"/>
                  </a:moveTo>
                  <a:cubicBezTo>
                    <a:pt x="125" y="128"/>
                    <a:pt x="94" y="128"/>
                    <a:pt x="62" y="128"/>
                  </a:cubicBezTo>
                  <a:cubicBezTo>
                    <a:pt x="62" y="96"/>
                    <a:pt x="62" y="65"/>
                    <a:pt x="62" y="32"/>
                  </a:cubicBezTo>
                  <a:cubicBezTo>
                    <a:pt x="115" y="31"/>
                    <a:pt x="160" y="77"/>
                    <a:pt x="156" y="128"/>
                  </a:cubicBezTo>
                  <a:close/>
                </a:path>
              </a:pathLst>
            </a:custGeom>
            <a:no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63" name="Freeform 35"/>
            <p:cNvSpPr>
              <a:spLocks/>
            </p:cNvSpPr>
            <p:nvPr/>
          </p:nvSpPr>
          <p:spPr bwMode="gray">
            <a:xfrm>
              <a:off x="10229852" y="2424113"/>
              <a:ext cx="1236663" cy="1466850"/>
            </a:xfrm>
            <a:custGeom>
              <a:avLst/>
              <a:gdLst>
                <a:gd name="T0" fmla="*/ 293 w 329"/>
                <a:gd name="T1" fmla="*/ 38 h 390"/>
                <a:gd name="T2" fmla="*/ 24 w 329"/>
                <a:gd name="T3" fmla="*/ 39 h 390"/>
                <a:gd name="T4" fmla="*/ 1 w 329"/>
                <a:gd name="T5" fmla="*/ 15 h 390"/>
                <a:gd name="T6" fmla="*/ 17 w 329"/>
                <a:gd name="T7" fmla="*/ 0 h 390"/>
                <a:gd name="T8" fmla="*/ 307 w 329"/>
                <a:gd name="T9" fmla="*/ 0 h 390"/>
                <a:gd name="T10" fmla="*/ 329 w 329"/>
                <a:gd name="T11" fmla="*/ 26 h 390"/>
                <a:gd name="T12" fmla="*/ 329 w 329"/>
                <a:gd name="T13" fmla="*/ 345 h 390"/>
                <a:gd name="T14" fmla="*/ 329 w 329"/>
                <a:gd name="T15" fmla="*/ 369 h 390"/>
                <a:gd name="T16" fmla="*/ 308 w 329"/>
                <a:gd name="T17" fmla="*/ 390 h 390"/>
                <a:gd name="T18" fmla="*/ 293 w 329"/>
                <a:gd name="T19" fmla="*/ 370 h 390"/>
                <a:gd name="T20" fmla="*/ 293 w 329"/>
                <a:gd name="T21" fmla="*/ 64 h 390"/>
                <a:gd name="T22" fmla="*/ 293 w 329"/>
                <a:gd name="T23" fmla="*/ 3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90">
                  <a:moveTo>
                    <a:pt x="293" y="38"/>
                  </a:moveTo>
                  <a:cubicBezTo>
                    <a:pt x="201" y="38"/>
                    <a:pt x="112" y="38"/>
                    <a:pt x="24" y="39"/>
                  </a:cubicBezTo>
                  <a:cubicBezTo>
                    <a:pt x="4" y="39"/>
                    <a:pt x="0" y="32"/>
                    <a:pt x="1" y="15"/>
                  </a:cubicBezTo>
                  <a:cubicBezTo>
                    <a:pt x="2" y="3"/>
                    <a:pt x="7" y="0"/>
                    <a:pt x="17" y="0"/>
                  </a:cubicBezTo>
                  <a:cubicBezTo>
                    <a:pt x="114" y="1"/>
                    <a:pt x="210" y="1"/>
                    <a:pt x="307" y="0"/>
                  </a:cubicBezTo>
                  <a:cubicBezTo>
                    <a:pt x="326" y="0"/>
                    <a:pt x="329" y="10"/>
                    <a:pt x="329" y="26"/>
                  </a:cubicBezTo>
                  <a:cubicBezTo>
                    <a:pt x="328" y="132"/>
                    <a:pt x="329" y="239"/>
                    <a:pt x="329" y="345"/>
                  </a:cubicBezTo>
                  <a:cubicBezTo>
                    <a:pt x="329" y="353"/>
                    <a:pt x="328" y="361"/>
                    <a:pt x="329" y="369"/>
                  </a:cubicBezTo>
                  <a:cubicBezTo>
                    <a:pt x="329" y="384"/>
                    <a:pt x="322" y="389"/>
                    <a:pt x="308" y="390"/>
                  </a:cubicBezTo>
                  <a:cubicBezTo>
                    <a:pt x="293" y="390"/>
                    <a:pt x="293" y="381"/>
                    <a:pt x="293" y="370"/>
                  </a:cubicBezTo>
                  <a:cubicBezTo>
                    <a:pt x="293" y="268"/>
                    <a:pt x="293" y="166"/>
                    <a:pt x="293" y="64"/>
                  </a:cubicBezTo>
                  <a:cubicBezTo>
                    <a:pt x="293" y="56"/>
                    <a:pt x="293" y="49"/>
                    <a:pt x="293" y="38"/>
                  </a:cubicBezTo>
                  <a:close/>
                </a:path>
              </a:pathLst>
            </a:custGeom>
            <a:noFill/>
            <a:ln w="6350">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64" name="Freeform 37"/>
            <p:cNvSpPr>
              <a:spLocks noEditPoints="1"/>
            </p:cNvSpPr>
            <p:nvPr/>
          </p:nvSpPr>
          <p:spPr bwMode="gray">
            <a:xfrm>
              <a:off x="9066214" y="2838450"/>
              <a:ext cx="565150" cy="989013"/>
            </a:xfrm>
            <a:custGeom>
              <a:avLst/>
              <a:gdLst>
                <a:gd name="T0" fmla="*/ 89 w 150"/>
                <a:gd name="T1" fmla="*/ 3 h 263"/>
                <a:gd name="T2" fmla="*/ 0 w 150"/>
                <a:gd name="T3" fmla="*/ 3 h 263"/>
                <a:gd name="T4" fmla="*/ 0 w 150"/>
                <a:gd name="T5" fmla="*/ 263 h 263"/>
                <a:gd name="T6" fmla="*/ 42 w 150"/>
                <a:gd name="T7" fmla="*/ 263 h 263"/>
                <a:gd name="T8" fmla="*/ 42 w 150"/>
                <a:gd name="T9" fmla="*/ 176 h 263"/>
                <a:gd name="T10" fmla="*/ 57 w 150"/>
                <a:gd name="T11" fmla="*/ 176 h 263"/>
                <a:gd name="T12" fmla="*/ 148 w 150"/>
                <a:gd name="T13" fmla="*/ 90 h 263"/>
                <a:gd name="T14" fmla="*/ 89 w 150"/>
                <a:gd name="T15" fmla="*/ 3 h 263"/>
                <a:gd name="T16" fmla="*/ 94 w 150"/>
                <a:gd name="T17" fmla="*/ 109 h 263"/>
                <a:gd name="T18" fmla="*/ 74 w 150"/>
                <a:gd name="T19" fmla="*/ 128 h 263"/>
                <a:gd name="T20" fmla="*/ 42 w 150"/>
                <a:gd name="T21" fmla="*/ 107 h 263"/>
                <a:gd name="T22" fmla="*/ 42 w 150"/>
                <a:gd name="T23" fmla="*/ 49 h 263"/>
                <a:gd name="T24" fmla="*/ 89 w 150"/>
                <a:gd name="T25" fmla="*/ 60 h 263"/>
                <a:gd name="T26" fmla="*/ 94 w 150"/>
                <a:gd name="T27" fmla="*/ 10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263">
                  <a:moveTo>
                    <a:pt x="89" y="3"/>
                  </a:moveTo>
                  <a:cubicBezTo>
                    <a:pt x="60" y="0"/>
                    <a:pt x="30" y="3"/>
                    <a:pt x="0" y="3"/>
                  </a:cubicBezTo>
                  <a:cubicBezTo>
                    <a:pt x="0" y="93"/>
                    <a:pt x="0" y="177"/>
                    <a:pt x="0" y="263"/>
                  </a:cubicBezTo>
                  <a:cubicBezTo>
                    <a:pt x="14" y="263"/>
                    <a:pt x="28" y="263"/>
                    <a:pt x="42" y="263"/>
                  </a:cubicBezTo>
                  <a:cubicBezTo>
                    <a:pt x="42" y="234"/>
                    <a:pt x="42" y="206"/>
                    <a:pt x="42" y="176"/>
                  </a:cubicBezTo>
                  <a:cubicBezTo>
                    <a:pt x="49" y="176"/>
                    <a:pt x="53" y="176"/>
                    <a:pt x="57" y="176"/>
                  </a:cubicBezTo>
                  <a:cubicBezTo>
                    <a:pt x="114" y="175"/>
                    <a:pt x="145" y="148"/>
                    <a:pt x="148" y="90"/>
                  </a:cubicBezTo>
                  <a:cubicBezTo>
                    <a:pt x="150" y="45"/>
                    <a:pt x="137" y="7"/>
                    <a:pt x="89" y="3"/>
                  </a:cubicBezTo>
                  <a:close/>
                  <a:moveTo>
                    <a:pt x="94" y="109"/>
                  </a:moveTo>
                  <a:cubicBezTo>
                    <a:pt x="93" y="116"/>
                    <a:pt x="82" y="125"/>
                    <a:pt x="74" y="128"/>
                  </a:cubicBezTo>
                  <a:cubicBezTo>
                    <a:pt x="49" y="138"/>
                    <a:pt x="42" y="132"/>
                    <a:pt x="42" y="107"/>
                  </a:cubicBezTo>
                  <a:cubicBezTo>
                    <a:pt x="42" y="88"/>
                    <a:pt x="42" y="70"/>
                    <a:pt x="42" y="49"/>
                  </a:cubicBezTo>
                  <a:cubicBezTo>
                    <a:pt x="61" y="47"/>
                    <a:pt x="81" y="43"/>
                    <a:pt x="89" y="60"/>
                  </a:cubicBezTo>
                  <a:cubicBezTo>
                    <a:pt x="96" y="74"/>
                    <a:pt x="95" y="93"/>
                    <a:pt x="94" y="109"/>
                  </a:cubicBezTo>
                  <a:close/>
                </a:path>
              </a:pathLst>
            </a:custGeom>
            <a:noFill/>
            <a:ln w="3175">
              <a:solidFill>
                <a:schemeClr val="accent2"/>
              </a:solidFill>
            </a:ln>
          </p:spPr>
          <p:txBody>
            <a:bodyPr vert="horz" wrap="square" lIns="91440" tIns="45720" rIns="91440" bIns="45720" numCol="1" anchor="t" anchorCtr="0" compatLnSpc="1">
              <a:prstTxWarp prst="textNoShape">
                <a:avLst/>
              </a:prstTxWarp>
            </a:bodyPr>
            <a:lstStyle/>
            <a:p>
              <a:endParaRPr lang="en-US" sz="1799"/>
            </a:p>
          </p:txBody>
        </p:sp>
      </p:grpSp>
      <p:grpSp>
        <p:nvGrpSpPr>
          <p:cNvPr id="50" name="Group 8"/>
          <p:cNvGrpSpPr>
            <a:grpSpLocks noChangeAspect="1"/>
          </p:cNvGrpSpPr>
          <p:nvPr userDrawn="1"/>
        </p:nvGrpSpPr>
        <p:grpSpPr bwMode="gray">
          <a:xfrm>
            <a:off x="11817407" y="710548"/>
            <a:ext cx="225513" cy="210777"/>
            <a:chOff x="2392" y="-1619"/>
            <a:chExt cx="4542" cy="4243"/>
          </a:xfrm>
          <a:solidFill>
            <a:schemeClr val="accent2"/>
          </a:solidFill>
        </p:grpSpPr>
        <p:sp>
          <p:nvSpPr>
            <p:cNvPr id="51" name="Freeform 9"/>
            <p:cNvSpPr>
              <a:spLocks noEditPoints="1"/>
            </p:cNvSpPr>
            <p:nvPr/>
          </p:nvSpPr>
          <p:spPr bwMode="gray">
            <a:xfrm>
              <a:off x="2392" y="-405"/>
              <a:ext cx="4542" cy="3029"/>
            </a:xfrm>
            <a:custGeom>
              <a:avLst/>
              <a:gdLst>
                <a:gd name="T0" fmla="*/ 0 w 1920"/>
                <a:gd name="T1" fmla="*/ 136 h 1280"/>
                <a:gd name="T2" fmla="*/ 50 w 1920"/>
                <a:gd name="T3" fmla="*/ 47 h 1280"/>
                <a:gd name="T4" fmla="*/ 165 w 1920"/>
                <a:gd name="T5" fmla="*/ 0 h 1280"/>
                <a:gd name="T6" fmla="*/ 1757 w 1920"/>
                <a:gd name="T7" fmla="*/ 0 h 1280"/>
                <a:gd name="T8" fmla="*/ 1915 w 1920"/>
                <a:gd name="T9" fmla="*/ 121 h 1280"/>
                <a:gd name="T10" fmla="*/ 1920 w 1920"/>
                <a:gd name="T11" fmla="*/ 136 h 1280"/>
                <a:gd name="T12" fmla="*/ 1920 w 1920"/>
                <a:gd name="T13" fmla="*/ 760 h 1280"/>
                <a:gd name="T14" fmla="*/ 1916 w 1920"/>
                <a:gd name="T15" fmla="*/ 771 h 1280"/>
                <a:gd name="T16" fmla="*/ 1753 w 1920"/>
                <a:gd name="T17" fmla="*/ 896 h 1280"/>
                <a:gd name="T18" fmla="*/ 1595 w 1920"/>
                <a:gd name="T19" fmla="*/ 896 h 1280"/>
                <a:gd name="T20" fmla="*/ 1536 w 1920"/>
                <a:gd name="T21" fmla="*/ 896 h 1280"/>
                <a:gd name="T22" fmla="*/ 1536 w 1920"/>
                <a:gd name="T23" fmla="*/ 920 h 1280"/>
                <a:gd name="T24" fmla="*/ 1536 w 1920"/>
                <a:gd name="T25" fmla="*/ 1234 h 1280"/>
                <a:gd name="T26" fmla="*/ 1516 w 1920"/>
                <a:gd name="T27" fmla="*/ 1280 h 1280"/>
                <a:gd name="T28" fmla="*/ 404 w 1920"/>
                <a:gd name="T29" fmla="*/ 1280 h 1280"/>
                <a:gd name="T30" fmla="*/ 384 w 1920"/>
                <a:gd name="T31" fmla="*/ 1236 h 1280"/>
                <a:gd name="T32" fmla="*/ 384 w 1920"/>
                <a:gd name="T33" fmla="*/ 920 h 1280"/>
                <a:gd name="T34" fmla="*/ 384 w 1920"/>
                <a:gd name="T35" fmla="*/ 896 h 1280"/>
                <a:gd name="T36" fmla="*/ 165 w 1920"/>
                <a:gd name="T37" fmla="*/ 896 h 1280"/>
                <a:gd name="T38" fmla="*/ 52 w 1920"/>
                <a:gd name="T39" fmla="*/ 850 h 1280"/>
                <a:gd name="T40" fmla="*/ 0 w 1920"/>
                <a:gd name="T41" fmla="*/ 760 h 1280"/>
                <a:gd name="T42" fmla="*/ 0 w 1920"/>
                <a:gd name="T43" fmla="*/ 136 h 1280"/>
                <a:gd name="T44" fmla="*/ 384 w 1920"/>
                <a:gd name="T45" fmla="*/ 832 h 1280"/>
                <a:gd name="T46" fmla="*/ 384 w 1920"/>
                <a:gd name="T47" fmla="*/ 618 h 1280"/>
                <a:gd name="T48" fmla="*/ 426 w 1920"/>
                <a:gd name="T49" fmla="*/ 576 h 1280"/>
                <a:gd name="T50" fmla="*/ 1496 w 1920"/>
                <a:gd name="T51" fmla="*/ 576 h 1280"/>
                <a:gd name="T52" fmla="*/ 1536 w 1920"/>
                <a:gd name="T53" fmla="*/ 616 h 1280"/>
                <a:gd name="T54" fmla="*/ 1536 w 1920"/>
                <a:gd name="T55" fmla="*/ 810 h 1280"/>
                <a:gd name="T56" fmla="*/ 1536 w 1920"/>
                <a:gd name="T57" fmla="*/ 832 h 1280"/>
                <a:gd name="T58" fmla="*/ 1752 w 1920"/>
                <a:gd name="T59" fmla="*/ 832 h 1280"/>
                <a:gd name="T60" fmla="*/ 1856 w 1920"/>
                <a:gd name="T61" fmla="*/ 728 h 1280"/>
                <a:gd name="T62" fmla="*/ 1856 w 1920"/>
                <a:gd name="T63" fmla="*/ 172 h 1280"/>
                <a:gd name="T64" fmla="*/ 1747 w 1920"/>
                <a:gd name="T65" fmla="*/ 64 h 1280"/>
                <a:gd name="T66" fmla="*/ 777 w 1920"/>
                <a:gd name="T67" fmla="*/ 64 h 1280"/>
                <a:gd name="T68" fmla="*/ 163 w 1920"/>
                <a:gd name="T69" fmla="*/ 64 h 1280"/>
                <a:gd name="T70" fmla="*/ 64 w 1920"/>
                <a:gd name="T71" fmla="*/ 154 h 1280"/>
                <a:gd name="T72" fmla="*/ 64 w 1920"/>
                <a:gd name="T73" fmla="*/ 742 h 1280"/>
                <a:gd name="T74" fmla="*/ 149 w 1920"/>
                <a:gd name="T75" fmla="*/ 831 h 1280"/>
                <a:gd name="T76" fmla="*/ 384 w 1920"/>
                <a:gd name="T77" fmla="*/ 832 h 1280"/>
                <a:gd name="T78" fmla="*/ 1471 w 1920"/>
                <a:gd name="T79" fmla="*/ 641 h 1280"/>
                <a:gd name="T80" fmla="*/ 450 w 1920"/>
                <a:gd name="T81" fmla="*/ 641 h 1280"/>
                <a:gd name="T82" fmla="*/ 450 w 1920"/>
                <a:gd name="T83" fmla="*/ 1215 h 1280"/>
                <a:gd name="T84" fmla="*/ 1471 w 1920"/>
                <a:gd name="T85" fmla="*/ 1215 h 1280"/>
                <a:gd name="T86" fmla="*/ 1471 w 1920"/>
                <a:gd name="T87" fmla="*/ 641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0" h="1280">
                  <a:moveTo>
                    <a:pt x="0" y="136"/>
                  </a:moveTo>
                  <a:cubicBezTo>
                    <a:pt x="10" y="103"/>
                    <a:pt x="24" y="72"/>
                    <a:pt x="50" y="47"/>
                  </a:cubicBezTo>
                  <a:cubicBezTo>
                    <a:pt x="83" y="16"/>
                    <a:pt x="120" y="0"/>
                    <a:pt x="165" y="0"/>
                  </a:cubicBezTo>
                  <a:cubicBezTo>
                    <a:pt x="696" y="0"/>
                    <a:pt x="1226" y="0"/>
                    <a:pt x="1757" y="0"/>
                  </a:cubicBezTo>
                  <a:cubicBezTo>
                    <a:pt x="1829" y="0"/>
                    <a:pt x="1894" y="50"/>
                    <a:pt x="1915" y="121"/>
                  </a:cubicBezTo>
                  <a:cubicBezTo>
                    <a:pt x="1916" y="126"/>
                    <a:pt x="1918" y="131"/>
                    <a:pt x="1920" y="136"/>
                  </a:cubicBezTo>
                  <a:cubicBezTo>
                    <a:pt x="1920" y="344"/>
                    <a:pt x="1920" y="552"/>
                    <a:pt x="1920" y="760"/>
                  </a:cubicBezTo>
                  <a:cubicBezTo>
                    <a:pt x="1919" y="764"/>
                    <a:pt x="1917" y="767"/>
                    <a:pt x="1916" y="771"/>
                  </a:cubicBezTo>
                  <a:cubicBezTo>
                    <a:pt x="1895" y="846"/>
                    <a:pt x="1831" y="896"/>
                    <a:pt x="1753" y="896"/>
                  </a:cubicBezTo>
                  <a:cubicBezTo>
                    <a:pt x="1700" y="896"/>
                    <a:pt x="1647" y="896"/>
                    <a:pt x="1595" y="896"/>
                  </a:cubicBezTo>
                  <a:cubicBezTo>
                    <a:pt x="1576" y="896"/>
                    <a:pt x="1557" y="896"/>
                    <a:pt x="1536" y="896"/>
                  </a:cubicBezTo>
                  <a:cubicBezTo>
                    <a:pt x="1536" y="906"/>
                    <a:pt x="1536" y="913"/>
                    <a:pt x="1536" y="920"/>
                  </a:cubicBezTo>
                  <a:cubicBezTo>
                    <a:pt x="1536" y="1025"/>
                    <a:pt x="1536" y="1129"/>
                    <a:pt x="1536" y="1234"/>
                  </a:cubicBezTo>
                  <a:cubicBezTo>
                    <a:pt x="1537" y="1253"/>
                    <a:pt x="1533" y="1269"/>
                    <a:pt x="1516" y="1280"/>
                  </a:cubicBezTo>
                  <a:cubicBezTo>
                    <a:pt x="1145" y="1280"/>
                    <a:pt x="775" y="1280"/>
                    <a:pt x="404" y="1280"/>
                  </a:cubicBezTo>
                  <a:cubicBezTo>
                    <a:pt x="388" y="1269"/>
                    <a:pt x="384" y="1255"/>
                    <a:pt x="384" y="1236"/>
                  </a:cubicBezTo>
                  <a:cubicBezTo>
                    <a:pt x="384" y="1130"/>
                    <a:pt x="384" y="1025"/>
                    <a:pt x="384" y="920"/>
                  </a:cubicBezTo>
                  <a:cubicBezTo>
                    <a:pt x="384" y="912"/>
                    <a:pt x="384" y="905"/>
                    <a:pt x="384" y="896"/>
                  </a:cubicBezTo>
                  <a:cubicBezTo>
                    <a:pt x="309" y="896"/>
                    <a:pt x="237" y="896"/>
                    <a:pt x="165" y="896"/>
                  </a:cubicBezTo>
                  <a:cubicBezTo>
                    <a:pt x="121" y="896"/>
                    <a:pt x="84" y="880"/>
                    <a:pt x="52" y="850"/>
                  </a:cubicBezTo>
                  <a:cubicBezTo>
                    <a:pt x="25" y="826"/>
                    <a:pt x="10" y="794"/>
                    <a:pt x="0" y="760"/>
                  </a:cubicBezTo>
                  <a:cubicBezTo>
                    <a:pt x="0" y="552"/>
                    <a:pt x="0" y="344"/>
                    <a:pt x="0" y="136"/>
                  </a:cubicBezTo>
                  <a:close/>
                  <a:moveTo>
                    <a:pt x="384" y="832"/>
                  </a:moveTo>
                  <a:cubicBezTo>
                    <a:pt x="384" y="759"/>
                    <a:pt x="384" y="688"/>
                    <a:pt x="384" y="618"/>
                  </a:cubicBezTo>
                  <a:cubicBezTo>
                    <a:pt x="384" y="586"/>
                    <a:pt x="395" y="576"/>
                    <a:pt x="426" y="576"/>
                  </a:cubicBezTo>
                  <a:cubicBezTo>
                    <a:pt x="783" y="576"/>
                    <a:pt x="1139" y="576"/>
                    <a:pt x="1496" y="576"/>
                  </a:cubicBezTo>
                  <a:cubicBezTo>
                    <a:pt x="1525" y="576"/>
                    <a:pt x="1536" y="587"/>
                    <a:pt x="1536" y="616"/>
                  </a:cubicBezTo>
                  <a:cubicBezTo>
                    <a:pt x="1536" y="680"/>
                    <a:pt x="1536" y="745"/>
                    <a:pt x="1536" y="810"/>
                  </a:cubicBezTo>
                  <a:cubicBezTo>
                    <a:pt x="1536" y="817"/>
                    <a:pt x="1536" y="824"/>
                    <a:pt x="1536" y="832"/>
                  </a:cubicBezTo>
                  <a:cubicBezTo>
                    <a:pt x="1610" y="832"/>
                    <a:pt x="1681" y="832"/>
                    <a:pt x="1752" y="832"/>
                  </a:cubicBezTo>
                  <a:cubicBezTo>
                    <a:pt x="1820" y="832"/>
                    <a:pt x="1856" y="796"/>
                    <a:pt x="1856" y="728"/>
                  </a:cubicBezTo>
                  <a:cubicBezTo>
                    <a:pt x="1856" y="543"/>
                    <a:pt x="1856" y="358"/>
                    <a:pt x="1856" y="172"/>
                  </a:cubicBezTo>
                  <a:cubicBezTo>
                    <a:pt x="1856" y="98"/>
                    <a:pt x="1822" y="64"/>
                    <a:pt x="1747" y="64"/>
                  </a:cubicBezTo>
                  <a:cubicBezTo>
                    <a:pt x="1424" y="64"/>
                    <a:pt x="1100" y="64"/>
                    <a:pt x="777" y="64"/>
                  </a:cubicBezTo>
                  <a:cubicBezTo>
                    <a:pt x="572" y="64"/>
                    <a:pt x="368" y="64"/>
                    <a:pt x="163" y="64"/>
                  </a:cubicBezTo>
                  <a:cubicBezTo>
                    <a:pt x="105" y="64"/>
                    <a:pt x="65" y="100"/>
                    <a:pt x="64" y="154"/>
                  </a:cubicBezTo>
                  <a:cubicBezTo>
                    <a:pt x="64" y="350"/>
                    <a:pt x="64" y="546"/>
                    <a:pt x="64" y="742"/>
                  </a:cubicBezTo>
                  <a:cubicBezTo>
                    <a:pt x="65" y="791"/>
                    <a:pt x="100" y="830"/>
                    <a:pt x="149" y="831"/>
                  </a:cubicBezTo>
                  <a:cubicBezTo>
                    <a:pt x="227" y="833"/>
                    <a:pt x="304" y="832"/>
                    <a:pt x="384" y="832"/>
                  </a:cubicBezTo>
                  <a:close/>
                  <a:moveTo>
                    <a:pt x="1471" y="641"/>
                  </a:moveTo>
                  <a:cubicBezTo>
                    <a:pt x="1129" y="641"/>
                    <a:pt x="789" y="641"/>
                    <a:pt x="450" y="641"/>
                  </a:cubicBezTo>
                  <a:cubicBezTo>
                    <a:pt x="450" y="834"/>
                    <a:pt x="450" y="1024"/>
                    <a:pt x="450" y="1215"/>
                  </a:cubicBezTo>
                  <a:cubicBezTo>
                    <a:pt x="791" y="1215"/>
                    <a:pt x="1130" y="1215"/>
                    <a:pt x="1471" y="1215"/>
                  </a:cubicBezTo>
                  <a:cubicBezTo>
                    <a:pt x="1471" y="1024"/>
                    <a:pt x="1471" y="833"/>
                    <a:pt x="1471" y="641"/>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52" name="Freeform 12"/>
            <p:cNvSpPr>
              <a:spLocks noEditPoints="1"/>
            </p:cNvSpPr>
            <p:nvPr/>
          </p:nvSpPr>
          <p:spPr bwMode="gray">
            <a:xfrm>
              <a:off x="3300" y="-1619"/>
              <a:ext cx="2728" cy="1063"/>
            </a:xfrm>
            <a:custGeom>
              <a:avLst/>
              <a:gdLst>
                <a:gd name="T0" fmla="*/ 64 w 1153"/>
                <a:gd name="T1" fmla="*/ 66 h 449"/>
                <a:gd name="T2" fmla="*/ 64 w 1153"/>
                <a:gd name="T3" fmla="*/ 370 h 449"/>
                <a:gd name="T4" fmla="*/ 64 w 1153"/>
                <a:gd name="T5" fmla="*/ 408 h 449"/>
                <a:gd name="T6" fmla="*/ 31 w 1153"/>
                <a:gd name="T7" fmla="*/ 449 h 449"/>
                <a:gd name="T8" fmla="*/ 0 w 1153"/>
                <a:gd name="T9" fmla="*/ 409 h 449"/>
                <a:gd name="T10" fmla="*/ 0 w 1153"/>
                <a:gd name="T11" fmla="*/ 89 h 449"/>
                <a:gd name="T12" fmla="*/ 0 w 1153"/>
                <a:gd name="T13" fmla="*/ 43 h 449"/>
                <a:gd name="T14" fmla="*/ 42 w 1153"/>
                <a:gd name="T15" fmla="*/ 1 h 449"/>
                <a:gd name="T16" fmla="*/ 742 w 1153"/>
                <a:gd name="T17" fmla="*/ 1 h 449"/>
                <a:gd name="T18" fmla="*/ 858 w 1153"/>
                <a:gd name="T19" fmla="*/ 2 h 449"/>
                <a:gd name="T20" fmla="*/ 891 w 1153"/>
                <a:gd name="T21" fmla="*/ 15 h 449"/>
                <a:gd name="T22" fmla="*/ 1139 w 1153"/>
                <a:gd name="T23" fmla="*/ 263 h 449"/>
                <a:gd name="T24" fmla="*/ 1151 w 1153"/>
                <a:gd name="T25" fmla="*/ 292 h 449"/>
                <a:gd name="T26" fmla="*/ 1152 w 1153"/>
                <a:gd name="T27" fmla="*/ 412 h 449"/>
                <a:gd name="T28" fmla="*/ 1119 w 1153"/>
                <a:gd name="T29" fmla="*/ 449 h 449"/>
                <a:gd name="T30" fmla="*/ 1088 w 1153"/>
                <a:gd name="T31" fmla="*/ 412 h 449"/>
                <a:gd name="T32" fmla="*/ 1088 w 1153"/>
                <a:gd name="T33" fmla="*/ 321 h 449"/>
                <a:gd name="T34" fmla="*/ 977 w 1153"/>
                <a:gd name="T35" fmla="*/ 321 h 449"/>
                <a:gd name="T36" fmla="*/ 873 w 1153"/>
                <a:gd name="T37" fmla="*/ 321 h 449"/>
                <a:gd name="T38" fmla="*/ 832 w 1153"/>
                <a:gd name="T39" fmla="*/ 280 h 449"/>
                <a:gd name="T40" fmla="*/ 832 w 1153"/>
                <a:gd name="T41" fmla="*/ 66 h 449"/>
                <a:gd name="T42" fmla="*/ 64 w 1153"/>
                <a:gd name="T43" fmla="*/ 66 h 449"/>
                <a:gd name="T44" fmla="*/ 897 w 1153"/>
                <a:gd name="T45" fmla="*/ 117 h 449"/>
                <a:gd name="T46" fmla="*/ 897 w 1153"/>
                <a:gd name="T47" fmla="*/ 255 h 449"/>
                <a:gd name="T48" fmla="*/ 1036 w 1153"/>
                <a:gd name="T49" fmla="*/ 255 h 449"/>
                <a:gd name="T50" fmla="*/ 897 w 1153"/>
                <a:gd name="T51" fmla="*/ 11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53" h="449">
                  <a:moveTo>
                    <a:pt x="64" y="66"/>
                  </a:moveTo>
                  <a:cubicBezTo>
                    <a:pt x="64" y="169"/>
                    <a:pt x="64" y="269"/>
                    <a:pt x="64" y="370"/>
                  </a:cubicBezTo>
                  <a:cubicBezTo>
                    <a:pt x="64" y="383"/>
                    <a:pt x="64" y="395"/>
                    <a:pt x="64" y="408"/>
                  </a:cubicBezTo>
                  <a:cubicBezTo>
                    <a:pt x="64" y="434"/>
                    <a:pt x="52" y="449"/>
                    <a:pt x="31" y="449"/>
                  </a:cubicBezTo>
                  <a:cubicBezTo>
                    <a:pt x="11" y="448"/>
                    <a:pt x="0" y="434"/>
                    <a:pt x="0" y="409"/>
                  </a:cubicBezTo>
                  <a:cubicBezTo>
                    <a:pt x="0" y="302"/>
                    <a:pt x="0" y="195"/>
                    <a:pt x="0" y="89"/>
                  </a:cubicBezTo>
                  <a:cubicBezTo>
                    <a:pt x="0" y="73"/>
                    <a:pt x="0" y="58"/>
                    <a:pt x="0" y="43"/>
                  </a:cubicBezTo>
                  <a:cubicBezTo>
                    <a:pt x="0" y="11"/>
                    <a:pt x="11" y="1"/>
                    <a:pt x="42" y="1"/>
                  </a:cubicBezTo>
                  <a:cubicBezTo>
                    <a:pt x="276" y="1"/>
                    <a:pt x="509" y="1"/>
                    <a:pt x="742" y="1"/>
                  </a:cubicBezTo>
                  <a:cubicBezTo>
                    <a:pt x="781" y="1"/>
                    <a:pt x="820" y="0"/>
                    <a:pt x="858" y="2"/>
                  </a:cubicBezTo>
                  <a:cubicBezTo>
                    <a:pt x="870" y="2"/>
                    <a:pt x="883" y="7"/>
                    <a:pt x="891" y="15"/>
                  </a:cubicBezTo>
                  <a:cubicBezTo>
                    <a:pt x="975" y="97"/>
                    <a:pt x="1057" y="179"/>
                    <a:pt x="1139" y="263"/>
                  </a:cubicBezTo>
                  <a:cubicBezTo>
                    <a:pt x="1146" y="270"/>
                    <a:pt x="1151" y="282"/>
                    <a:pt x="1151" y="292"/>
                  </a:cubicBezTo>
                  <a:cubicBezTo>
                    <a:pt x="1153" y="332"/>
                    <a:pt x="1152" y="372"/>
                    <a:pt x="1152" y="412"/>
                  </a:cubicBezTo>
                  <a:cubicBezTo>
                    <a:pt x="1152" y="435"/>
                    <a:pt x="1139" y="449"/>
                    <a:pt x="1119" y="449"/>
                  </a:cubicBezTo>
                  <a:cubicBezTo>
                    <a:pt x="1101" y="449"/>
                    <a:pt x="1088" y="435"/>
                    <a:pt x="1088" y="412"/>
                  </a:cubicBezTo>
                  <a:cubicBezTo>
                    <a:pt x="1088" y="383"/>
                    <a:pt x="1088" y="353"/>
                    <a:pt x="1088" y="321"/>
                  </a:cubicBezTo>
                  <a:cubicBezTo>
                    <a:pt x="1049" y="321"/>
                    <a:pt x="1013" y="321"/>
                    <a:pt x="977" y="321"/>
                  </a:cubicBezTo>
                  <a:cubicBezTo>
                    <a:pt x="942" y="321"/>
                    <a:pt x="907" y="321"/>
                    <a:pt x="873" y="321"/>
                  </a:cubicBezTo>
                  <a:cubicBezTo>
                    <a:pt x="843" y="321"/>
                    <a:pt x="832" y="310"/>
                    <a:pt x="832" y="280"/>
                  </a:cubicBezTo>
                  <a:cubicBezTo>
                    <a:pt x="832" y="209"/>
                    <a:pt x="832" y="138"/>
                    <a:pt x="832" y="66"/>
                  </a:cubicBezTo>
                  <a:cubicBezTo>
                    <a:pt x="576" y="66"/>
                    <a:pt x="321" y="66"/>
                    <a:pt x="64" y="66"/>
                  </a:cubicBezTo>
                  <a:close/>
                  <a:moveTo>
                    <a:pt x="897" y="117"/>
                  </a:moveTo>
                  <a:cubicBezTo>
                    <a:pt x="897" y="163"/>
                    <a:pt x="897" y="209"/>
                    <a:pt x="897" y="255"/>
                  </a:cubicBezTo>
                  <a:cubicBezTo>
                    <a:pt x="945" y="255"/>
                    <a:pt x="991" y="255"/>
                    <a:pt x="1036" y="255"/>
                  </a:cubicBezTo>
                  <a:cubicBezTo>
                    <a:pt x="990" y="209"/>
                    <a:pt x="944" y="163"/>
                    <a:pt x="897" y="117"/>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53" name="Freeform 14"/>
            <p:cNvSpPr>
              <a:spLocks noEditPoints="1"/>
            </p:cNvSpPr>
            <p:nvPr/>
          </p:nvSpPr>
          <p:spPr bwMode="gray">
            <a:xfrm>
              <a:off x="2694" y="-102"/>
              <a:ext cx="608" cy="608"/>
            </a:xfrm>
            <a:custGeom>
              <a:avLst/>
              <a:gdLst>
                <a:gd name="T0" fmla="*/ 129 w 257"/>
                <a:gd name="T1" fmla="*/ 0 h 257"/>
                <a:gd name="T2" fmla="*/ 256 w 257"/>
                <a:gd name="T3" fmla="*/ 129 h 257"/>
                <a:gd name="T4" fmla="*/ 126 w 257"/>
                <a:gd name="T5" fmla="*/ 256 h 257"/>
                <a:gd name="T6" fmla="*/ 0 w 257"/>
                <a:gd name="T7" fmla="*/ 128 h 257"/>
                <a:gd name="T8" fmla="*/ 129 w 257"/>
                <a:gd name="T9" fmla="*/ 0 h 257"/>
                <a:gd name="T10" fmla="*/ 192 w 257"/>
                <a:gd name="T11" fmla="*/ 129 h 257"/>
                <a:gd name="T12" fmla="*/ 129 w 257"/>
                <a:gd name="T13" fmla="*/ 64 h 257"/>
                <a:gd name="T14" fmla="*/ 64 w 257"/>
                <a:gd name="T15" fmla="*/ 128 h 257"/>
                <a:gd name="T16" fmla="*/ 128 w 257"/>
                <a:gd name="T17" fmla="*/ 192 h 257"/>
                <a:gd name="T18" fmla="*/ 192 w 257"/>
                <a:gd name="T19"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7" h="257">
                  <a:moveTo>
                    <a:pt x="129" y="0"/>
                  </a:moveTo>
                  <a:cubicBezTo>
                    <a:pt x="195" y="0"/>
                    <a:pt x="257" y="63"/>
                    <a:pt x="256" y="129"/>
                  </a:cubicBezTo>
                  <a:cubicBezTo>
                    <a:pt x="255" y="196"/>
                    <a:pt x="193" y="257"/>
                    <a:pt x="126" y="256"/>
                  </a:cubicBezTo>
                  <a:cubicBezTo>
                    <a:pt x="61" y="255"/>
                    <a:pt x="0" y="193"/>
                    <a:pt x="0" y="128"/>
                  </a:cubicBezTo>
                  <a:cubicBezTo>
                    <a:pt x="0" y="61"/>
                    <a:pt x="62" y="0"/>
                    <a:pt x="129" y="0"/>
                  </a:cubicBezTo>
                  <a:close/>
                  <a:moveTo>
                    <a:pt x="192" y="129"/>
                  </a:moveTo>
                  <a:cubicBezTo>
                    <a:pt x="192" y="89"/>
                    <a:pt x="168" y="64"/>
                    <a:pt x="129" y="64"/>
                  </a:cubicBezTo>
                  <a:cubicBezTo>
                    <a:pt x="89" y="64"/>
                    <a:pt x="64" y="88"/>
                    <a:pt x="64" y="128"/>
                  </a:cubicBezTo>
                  <a:cubicBezTo>
                    <a:pt x="64" y="168"/>
                    <a:pt x="88" y="192"/>
                    <a:pt x="128" y="192"/>
                  </a:cubicBezTo>
                  <a:cubicBezTo>
                    <a:pt x="167" y="192"/>
                    <a:pt x="192" y="168"/>
                    <a:pt x="192" y="129"/>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54" name="Freeform 15"/>
            <p:cNvSpPr>
              <a:spLocks/>
            </p:cNvSpPr>
            <p:nvPr/>
          </p:nvSpPr>
          <p:spPr bwMode="gray">
            <a:xfrm>
              <a:off x="3745" y="1412"/>
              <a:ext cx="1824" cy="152"/>
            </a:xfrm>
            <a:custGeom>
              <a:avLst/>
              <a:gdLst>
                <a:gd name="T0" fmla="*/ 388 w 771"/>
                <a:gd name="T1" fmla="*/ 64 h 64"/>
                <a:gd name="T2" fmla="*/ 44 w 771"/>
                <a:gd name="T3" fmla="*/ 64 h 64"/>
                <a:gd name="T4" fmla="*/ 5 w 771"/>
                <a:gd name="T5" fmla="*/ 38 h 64"/>
                <a:gd name="T6" fmla="*/ 41 w 771"/>
                <a:gd name="T7" fmla="*/ 0 h 64"/>
                <a:gd name="T8" fmla="*/ 261 w 771"/>
                <a:gd name="T9" fmla="*/ 0 h 64"/>
                <a:gd name="T10" fmla="*/ 731 w 771"/>
                <a:gd name="T11" fmla="*/ 0 h 64"/>
                <a:gd name="T12" fmla="*/ 763 w 771"/>
                <a:gd name="T13" fmla="*/ 11 h 64"/>
                <a:gd name="T14" fmla="*/ 769 w 771"/>
                <a:gd name="T15" fmla="*/ 44 h 64"/>
                <a:gd name="T16" fmla="*/ 736 w 771"/>
                <a:gd name="T17" fmla="*/ 64 h 64"/>
                <a:gd name="T18" fmla="*/ 506 w 771"/>
                <a:gd name="T19" fmla="*/ 64 h 64"/>
                <a:gd name="T20" fmla="*/ 388 w 771"/>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64">
                  <a:moveTo>
                    <a:pt x="388" y="64"/>
                  </a:moveTo>
                  <a:cubicBezTo>
                    <a:pt x="273" y="64"/>
                    <a:pt x="159" y="64"/>
                    <a:pt x="44" y="64"/>
                  </a:cubicBezTo>
                  <a:cubicBezTo>
                    <a:pt x="21" y="64"/>
                    <a:pt x="8" y="56"/>
                    <a:pt x="5" y="38"/>
                  </a:cubicBezTo>
                  <a:cubicBezTo>
                    <a:pt x="0" y="17"/>
                    <a:pt x="16" y="0"/>
                    <a:pt x="41" y="0"/>
                  </a:cubicBezTo>
                  <a:cubicBezTo>
                    <a:pt x="114" y="0"/>
                    <a:pt x="188" y="0"/>
                    <a:pt x="261" y="0"/>
                  </a:cubicBezTo>
                  <a:cubicBezTo>
                    <a:pt x="418" y="0"/>
                    <a:pt x="574" y="0"/>
                    <a:pt x="731" y="0"/>
                  </a:cubicBezTo>
                  <a:cubicBezTo>
                    <a:pt x="742" y="0"/>
                    <a:pt x="756" y="4"/>
                    <a:pt x="763" y="11"/>
                  </a:cubicBezTo>
                  <a:cubicBezTo>
                    <a:pt x="769" y="19"/>
                    <a:pt x="771" y="34"/>
                    <a:pt x="769" y="44"/>
                  </a:cubicBezTo>
                  <a:cubicBezTo>
                    <a:pt x="765" y="59"/>
                    <a:pt x="751" y="64"/>
                    <a:pt x="736" y="64"/>
                  </a:cubicBezTo>
                  <a:cubicBezTo>
                    <a:pt x="659" y="64"/>
                    <a:pt x="583" y="64"/>
                    <a:pt x="506" y="64"/>
                  </a:cubicBezTo>
                  <a:cubicBezTo>
                    <a:pt x="467" y="64"/>
                    <a:pt x="427" y="64"/>
                    <a:pt x="388" y="64"/>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55" name="Freeform 16"/>
            <p:cNvSpPr>
              <a:spLocks/>
            </p:cNvSpPr>
            <p:nvPr/>
          </p:nvSpPr>
          <p:spPr bwMode="gray">
            <a:xfrm>
              <a:off x="3745" y="1715"/>
              <a:ext cx="1824" cy="152"/>
            </a:xfrm>
            <a:custGeom>
              <a:avLst/>
              <a:gdLst>
                <a:gd name="T0" fmla="*/ 386 w 771"/>
                <a:gd name="T1" fmla="*/ 64 h 64"/>
                <a:gd name="T2" fmla="*/ 42 w 771"/>
                <a:gd name="T3" fmla="*/ 64 h 64"/>
                <a:gd name="T4" fmla="*/ 5 w 771"/>
                <a:gd name="T5" fmla="*/ 38 h 64"/>
                <a:gd name="T6" fmla="*/ 41 w 771"/>
                <a:gd name="T7" fmla="*/ 0 h 64"/>
                <a:gd name="T8" fmla="*/ 293 w 771"/>
                <a:gd name="T9" fmla="*/ 0 h 64"/>
                <a:gd name="T10" fmla="*/ 731 w 771"/>
                <a:gd name="T11" fmla="*/ 0 h 64"/>
                <a:gd name="T12" fmla="*/ 763 w 771"/>
                <a:gd name="T13" fmla="*/ 12 h 64"/>
                <a:gd name="T14" fmla="*/ 769 w 771"/>
                <a:gd name="T15" fmla="*/ 44 h 64"/>
                <a:gd name="T16" fmla="*/ 736 w 771"/>
                <a:gd name="T17" fmla="*/ 64 h 64"/>
                <a:gd name="T18" fmla="*/ 542 w 771"/>
                <a:gd name="T19" fmla="*/ 64 h 64"/>
                <a:gd name="T20" fmla="*/ 386 w 771"/>
                <a:gd name="T21" fmla="*/ 64 h 64"/>
                <a:gd name="T22" fmla="*/ 386 w 771"/>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1" h="64">
                  <a:moveTo>
                    <a:pt x="386" y="64"/>
                  </a:moveTo>
                  <a:cubicBezTo>
                    <a:pt x="271" y="64"/>
                    <a:pt x="157" y="64"/>
                    <a:pt x="42" y="64"/>
                  </a:cubicBezTo>
                  <a:cubicBezTo>
                    <a:pt x="23" y="64"/>
                    <a:pt x="9" y="57"/>
                    <a:pt x="5" y="38"/>
                  </a:cubicBezTo>
                  <a:cubicBezTo>
                    <a:pt x="0" y="17"/>
                    <a:pt x="16" y="0"/>
                    <a:pt x="41" y="0"/>
                  </a:cubicBezTo>
                  <a:cubicBezTo>
                    <a:pt x="125" y="0"/>
                    <a:pt x="209" y="0"/>
                    <a:pt x="293" y="0"/>
                  </a:cubicBezTo>
                  <a:cubicBezTo>
                    <a:pt x="439" y="0"/>
                    <a:pt x="585" y="0"/>
                    <a:pt x="731" y="0"/>
                  </a:cubicBezTo>
                  <a:cubicBezTo>
                    <a:pt x="742" y="1"/>
                    <a:pt x="756" y="4"/>
                    <a:pt x="763" y="12"/>
                  </a:cubicBezTo>
                  <a:cubicBezTo>
                    <a:pt x="769" y="19"/>
                    <a:pt x="771" y="34"/>
                    <a:pt x="769" y="44"/>
                  </a:cubicBezTo>
                  <a:cubicBezTo>
                    <a:pt x="765" y="59"/>
                    <a:pt x="751" y="64"/>
                    <a:pt x="736" y="64"/>
                  </a:cubicBezTo>
                  <a:cubicBezTo>
                    <a:pt x="671" y="64"/>
                    <a:pt x="606" y="64"/>
                    <a:pt x="542" y="64"/>
                  </a:cubicBezTo>
                  <a:cubicBezTo>
                    <a:pt x="490" y="64"/>
                    <a:pt x="438" y="64"/>
                    <a:pt x="386" y="64"/>
                  </a:cubicBezTo>
                  <a:cubicBezTo>
                    <a:pt x="386" y="64"/>
                    <a:pt x="386" y="64"/>
                    <a:pt x="386" y="64"/>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sz="1799"/>
            </a:p>
          </p:txBody>
        </p:sp>
        <p:sp>
          <p:nvSpPr>
            <p:cNvPr id="56" name="Freeform 17"/>
            <p:cNvSpPr>
              <a:spLocks/>
            </p:cNvSpPr>
            <p:nvPr/>
          </p:nvSpPr>
          <p:spPr bwMode="gray">
            <a:xfrm>
              <a:off x="3740" y="2018"/>
              <a:ext cx="1831" cy="152"/>
            </a:xfrm>
            <a:custGeom>
              <a:avLst/>
              <a:gdLst>
                <a:gd name="T0" fmla="*/ 388 w 774"/>
                <a:gd name="T1" fmla="*/ 64 h 64"/>
                <a:gd name="T2" fmla="*/ 46 w 774"/>
                <a:gd name="T3" fmla="*/ 64 h 64"/>
                <a:gd name="T4" fmla="*/ 8 w 774"/>
                <a:gd name="T5" fmla="*/ 42 h 64"/>
                <a:gd name="T6" fmla="*/ 44 w 774"/>
                <a:gd name="T7" fmla="*/ 0 h 64"/>
                <a:gd name="T8" fmla="*/ 251 w 774"/>
                <a:gd name="T9" fmla="*/ 0 h 64"/>
                <a:gd name="T10" fmla="*/ 727 w 774"/>
                <a:gd name="T11" fmla="*/ 0 h 64"/>
                <a:gd name="T12" fmla="*/ 735 w 774"/>
                <a:gd name="T13" fmla="*/ 0 h 64"/>
                <a:gd name="T14" fmla="*/ 774 w 774"/>
                <a:gd name="T15" fmla="*/ 33 h 64"/>
                <a:gd name="T16" fmla="*/ 736 w 774"/>
                <a:gd name="T17" fmla="*/ 64 h 64"/>
                <a:gd name="T18" fmla="*/ 578 w 774"/>
                <a:gd name="T19" fmla="*/ 64 h 64"/>
                <a:gd name="T20" fmla="*/ 388 w 774"/>
                <a:gd name="T21" fmla="*/ 64 h 64"/>
                <a:gd name="T22" fmla="*/ 388 w 774"/>
                <a:gd name="T2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4" h="64">
                  <a:moveTo>
                    <a:pt x="388" y="64"/>
                  </a:moveTo>
                  <a:cubicBezTo>
                    <a:pt x="274" y="64"/>
                    <a:pt x="160" y="64"/>
                    <a:pt x="46" y="64"/>
                  </a:cubicBezTo>
                  <a:cubicBezTo>
                    <a:pt x="28" y="64"/>
                    <a:pt x="14" y="60"/>
                    <a:pt x="8" y="42"/>
                  </a:cubicBezTo>
                  <a:cubicBezTo>
                    <a:pt x="0" y="20"/>
                    <a:pt x="16" y="0"/>
                    <a:pt x="44" y="0"/>
                  </a:cubicBezTo>
                  <a:cubicBezTo>
                    <a:pt x="113" y="0"/>
                    <a:pt x="182" y="0"/>
                    <a:pt x="251" y="0"/>
                  </a:cubicBezTo>
                  <a:cubicBezTo>
                    <a:pt x="410" y="0"/>
                    <a:pt x="568" y="0"/>
                    <a:pt x="727" y="0"/>
                  </a:cubicBezTo>
                  <a:cubicBezTo>
                    <a:pt x="730" y="0"/>
                    <a:pt x="732" y="0"/>
                    <a:pt x="735" y="0"/>
                  </a:cubicBezTo>
                  <a:cubicBezTo>
                    <a:pt x="760" y="0"/>
                    <a:pt x="774" y="13"/>
                    <a:pt x="774" y="33"/>
                  </a:cubicBezTo>
                  <a:cubicBezTo>
                    <a:pt x="774" y="52"/>
                    <a:pt x="759" y="64"/>
                    <a:pt x="736" y="64"/>
                  </a:cubicBezTo>
                  <a:cubicBezTo>
                    <a:pt x="683" y="64"/>
                    <a:pt x="630" y="64"/>
                    <a:pt x="578" y="64"/>
                  </a:cubicBezTo>
                  <a:cubicBezTo>
                    <a:pt x="514" y="64"/>
                    <a:pt x="451" y="64"/>
                    <a:pt x="388" y="64"/>
                  </a:cubicBezTo>
                  <a:cubicBezTo>
                    <a:pt x="388" y="64"/>
                    <a:pt x="388" y="64"/>
                    <a:pt x="388" y="64"/>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sz="1799"/>
            </a:p>
          </p:txBody>
        </p:sp>
      </p:grpSp>
      <p:sp>
        <p:nvSpPr>
          <p:cNvPr id="57" name="Freeform 47">
            <a:hlinkClick r:id="rId22"/>
          </p:cNvPr>
          <p:cNvSpPr>
            <a:spLocks noChangeAspect="1" noEditPoints="1"/>
          </p:cNvSpPr>
          <p:nvPr userDrawn="1"/>
        </p:nvSpPr>
        <p:spPr bwMode="gray">
          <a:xfrm>
            <a:off x="11824831" y="1021968"/>
            <a:ext cx="210667" cy="210777"/>
          </a:xfrm>
          <a:custGeom>
            <a:avLst/>
            <a:gdLst>
              <a:gd name="T0" fmla="*/ 125 w 128"/>
              <a:gd name="T1" fmla="*/ 92 h 128"/>
              <a:gd name="T2" fmla="*/ 105 w 128"/>
              <a:gd name="T3" fmla="*/ 92 h 128"/>
              <a:gd name="T4" fmla="*/ 103 w 128"/>
              <a:gd name="T5" fmla="*/ 92 h 128"/>
              <a:gd name="T6" fmla="*/ 89 w 128"/>
              <a:gd name="T7" fmla="*/ 102 h 128"/>
              <a:gd name="T8" fmla="*/ 39 w 128"/>
              <a:gd name="T9" fmla="*/ 102 h 128"/>
              <a:gd name="T10" fmla="*/ 25 w 128"/>
              <a:gd name="T11" fmla="*/ 92 h 128"/>
              <a:gd name="T12" fmla="*/ 23 w 128"/>
              <a:gd name="T13" fmla="*/ 92 h 128"/>
              <a:gd name="T14" fmla="*/ 3 w 128"/>
              <a:gd name="T15" fmla="*/ 92 h 128"/>
              <a:gd name="T16" fmla="*/ 0 w 128"/>
              <a:gd name="T17" fmla="*/ 95 h 128"/>
              <a:gd name="T18" fmla="*/ 0 w 128"/>
              <a:gd name="T19" fmla="*/ 125 h 128"/>
              <a:gd name="T20" fmla="*/ 3 w 128"/>
              <a:gd name="T21" fmla="*/ 128 h 128"/>
              <a:gd name="T22" fmla="*/ 125 w 128"/>
              <a:gd name="T23" fmla="*/ 128 h 128"/>
              <a:gd name="T24" fmla="*/ 128 w 128"/>
              <a:gd name="T25" fmla="*/ 125 h 128"/>
              <a:gd name="T26" fmla="*/ 128 w 128"/>
              <a:gd name="T27" fmla="*/ 95 h 128"/>
              <a:gd name="T28" fmla="*/ 125 w 128"/>
              <a:gd name="T29" fmla="*/ 92 h 128"/>
              <a:gd name="T30" fmla="*/ 62 w 128"/>
              <a:gd name="T31" fmla="*/ 86 h 128"/>
              <a:gd name="T32" fmla="*/ 64 w 128"/>
              <a:gd name="T33" fmla="*/ 87 h 128"/>
              <a:gd name="T34" fmla="*/ 66 w 128"/>
              <a:gd name="T35" fmla="*/ 86 h 128"/>
              <a:gd name="T36" fmla="*/ 96 w 128"/>
              <a:gd name="T37" fmla="*/ 56 h 128"/>
              <a:gd name="T38" fmla="*/ 97 w 128"/>
              <a:gd name="T39" fmla="*/ 53 h 128"/>
              <a:gd name="T40" fmla="*/ 95 w 128"/>
              <a:gd name="T41" fmla="*/ 51 h 128"/>
              <a:gd name="T42" fmla="*/ 82 w 128"/>
              <a:gd name="T43" fmla="*/ 51 h 128"/>
              <a:gd name="T44" fmla="*/ 82 w 128"/>
              <a:gd name="T45" fmla="*/ 3 h 128"/>
              <a:gd name="T46" fmla="*/ 79 w 128"/>
              <a:gd name="T47" fmla="*/ 0 h 128"/>
              <a:gd name="T48" fmla="*/ 49 w 128"/>
              <a:gd name="T49" fmla="*/ 0 h 128"/>
              <a:gd name="T50" fmla="*/ 46 w 128"/>
              <a:gd name="T51" fmla="*/ 3 h 128"/>
              <a:gd name="T52" fmla="*/ 46 w 128"/>
              <a:gd name="T53" fmla="*/ 51 h 128"/>
              <a:gd name="T54" fmla="*/ 33 w 128"/>
              <a:gd name="T55" fmla="*/ 51 h 128"/>
              <a:gd name="T56" fmla="*/ 31 w 128"/>
              <a:gd name="T57" fmla="*/ 53 h 128"/>
              <a:gd name="T58" fmla="*/ 32 w 128"/>
              <a:gd name="T59" fmla="*/ 56 h 128"/>
              <a:gd name="T60" fmla="*/ 62 w 128"/>
              <a:gd name="T61" fmla="*/ 8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128">
                <a:moveTo>
                  <a:pt x="125" y="92"/>
                </a:moveTo>
                <a:cubicBezTo>
                  <a:pt x="105" y="92"/>
                  <a:pt x="105" y="92"/>
                  <a:pt x="105" y="92"/>
                </a:cubicBezTo>
                <a:cubicBezTo>
                  <a:pt x="104" y="92"/>
                  <a:pt x="104" y="92"/>
                  <a:pt x="103" y="92"/>
                </a:cubicBezTo>
                <a:cubicBezTo>
                  <a:pt x="89" y="102"/>
                  <a:pt x="89" y="102"/>
                  <a:pt x="89" y="102"/>
                </a:cubicBezTo>
                <a:cubicBezTo>
                  <a:pt x="39" y="102"/>
                  <a:pt x="39" y="102"/>
                  <a:pt x="39" y="102"/>
                </a:cubicBezTo>
                <a:cubicBezTo>
                  <a:pt x="25" y="92"/>
                  <a:pt x="25" y="92"/>
                  <a:pt x="25" y="92"/>
                </a:cubicBezTo>
                <a:cubicBezTo>
                  <a:pt x="24" y="92"/>
                  <a:pt x="24" y="92"/>
                  <a:pt x="23" y="92"/>
                </a:cubicBezTo>
                <a:cubicBezTo>
                  <a:pt x="3" y="92"/>
                  <a:pt x="3" y="92"/>
                  <a:pt x="3" y="92"/>
                </a:cubicBezTo>
                <a:cubicBezTo>
                  <a:pt x="2" y="92"/>
                  <a:pt x="0" y="93"/>
                  <a:pt x="0" y="95"/>
                </a:cubicBezTo>
                <a:cubicBezTo>
                  <a:pt x="0" y="125"/>
                  <a:pt x="0" y="125"/>
                  <a:pt x="0" y="125"/>
                </a:cubicBezTo>
                <a:cubicBezTo>
                  <a:pt x="0" y="126"/>
                  <a:pt x="2" y="128"/>
                  <a:pt x="3" y="128"/>
                </a:cubicBezTo>
                <a:cubicBezTo>
                  <a:pt x="125" y="128"/>
                  <a:pt x="125" y="128"/>
                  <a:pt x="125" y="128"/>
                </a:cubicBezTo>
                <a:cubicBezTo>
                  <a:pt x="126" y="128"/>
                  <a:pt x="128" y="126"/>
                  <a:pt x="128" y="125"/>
                </a:cubicBezTo>
                <a:cubicBezTo>
                  <a:pt x="128" y="95"/>
                  <a:pt x="128" y="95"/>
                  <a:pt x="128" y="95"/>
                </a:cubicBezTo>
                <a:cubicBezTo>
                  <a:pt x="128" y="93"/>
                  <a:pt x="126" y="92"/>
                  <a:pt x="125" y="92"/>
                </a:cubicBezTo>
                <a:close/>
                <a:moveTo>
                  <a:pt x="62" y="86"/>
                </a:moveTo>
                <a:cubicBezTo>
                  <a:pt x="63" y="87"/>
                  <a:pt x="63" y="87"/>
                  <a:pt x="64" y="87"/>
                </a:cubicBezTo>
                <a:cubicBezTo>
                  <a:pt x="65" y="87"/>
                  <a:pt x="65" y="87"/>
                  <a:pt x="66" y="86"/>
                </a:cubicBezTo>
                <a:cubicBezTo>
                  <a:pt x="96" y="56"/>
                  <a:pt x="96" y="56"/>
                  <a:pt x="96" y="56"/>
                </a:cubicBezTo>
                <a:cubicBezTo>
                  <a:pt x="97" y="55"/>
                  <a:pt x="97" y="54"/>
                  <a:pt x="97" y="53"/>
                </a:cubicBezTo>
                <a:cubicBezTo>
                  <a:pt x="97" y="52"/>
                  <a:pt x="96" y="51"/>
                  <a:pt x="95" y="51"/>
                </a:cubicBezTo>
                <a:cubicBezTo>
                  <a:pt x="82" y="51"/>
                  <a:pt x="82" y="51"/>
                  <a:pt x="82" y="51"/>
                </a:cubicBezTo>
                <a:cubicBezTo>
                  <a:pt x="82" y="3"/>
                  <a:pt x="82" y="3"/>
                  <a:pt x="82" y="3"/>
                </a:cubicBezTo>
                <a:cubicBezTo>
                  <a:pt x="82" y="2"/>
                  <a:pt x="81" y="0"/>
                  <a:pt x="79" y="0"/>
                </a:cubicBezTo>
                <a:cubicBezTo>
                  <a:pt x="49" y="0"/>
                  <a:pt x="49" y="0"/>
                  <a:pt x="49" y="0"/>
                </a:cubicBezTo>
                <a:cubicBezTo>
                  <a:pt x="47" y="0"/>
                  <a:pt x="46" y="2"/>
                  <a:pt x="46" y="3"/>
                </a:cubicBezTo>
                <a:cubicBezTo>
                  <a:pt x="46" y="51"/>
                  <a:pt x="46" y="51"/>
                  <a:pt x="46" y="51"/>
                </a:cubicBezTo>
                <a:cubicBezTo>
                  <a:pt x="33" y="51"/>
                  <a:pt x="33" y="51"/>
                  <a:pt x="33" y="51"/>
                </a:cubicBezTo>
                <a:cubicBezTo>
                  <a:pt x="32" y="51"/>
                  <a:pt x="31" y="52"/>
                  <a:pt x="31" y="53"/>
                </a:cubicBezTo>
                <a:cubicBezTo>
                  <a:pt x="31" y="54"/>
                  <a:pt x="31" y="55"/>
                  <a:pt x="32" y="56"/>
                </a:cubicBezTo>
                <a:cubicBezTo>
                  <a:pt x="62" y="86"/>
                  <a:pt x="62" y="86"/>
                  <a:pt x="62" y="86"/>
                </a:cubicBezTo>
                <a:close/>
              </a:path>
            </a:pathLst>
          </a:custGeom>
          <a:noFill/>
          <a:ln w="12700" cap="flat">
            <a:solidFill>
              <a:schemeClr val="accent2"/>
            </a:solidFill>
            <a:prstDash val="solid"/>
            <a:miter lim="800000"/>
            <a:headEnd/>
            <a:tailEnd/>
          </a:ln>
        </p:spPr>
        <p:txBody>
          <a:bodyPr vert="horz" wrap="square" lIns="91392" tIns="45696" rIns="91392" bIns="45696" numCol="1" anchor="t" anchorCtr="0" compatLnSpc="1">
            <a:prstTxWarp prst="textNoShape">
              <a:avLst/>
            </a:prstTxWarp>
          </a:bodyPr>
          <a:lstStyle/>
          <a:p>
            <a:endParaRPr lang="en-US" sz="1799"/>
          </a:p>
        </p:txBody>
      </p:sp>
      <p:sp>
        <p:nvSpPr>
          <p:cNvPr id="58" name="Freeform 43">
            <a:hlinkClick r:id="rId23"/>
          </p:cNvPr>
          <p:cNvSpPr>
            <a:spLocks noChangeAspect="1" noEditPoints="1"/>
          </p:cNvSpPr>
          <p:nvPr userDrawn="1"/>
        </p:nvSpPr>
        <p:spPr bwMode="gray">
          <a:xfrm>
            <a:off x="11803711" y="1333388"/>
            <a:ext cx="252907" cy="210777"/>
          </a:xfrm>
          <a:custGeom>
            <a:avLst/>
            <a:gdLst>
              <a:gd name="T0" fmla="*/ 105 w 800"/>
              <a:gd name="T1" fmla="*/ 1 h 666"/>
              <a:gd name="T2" fmla="*/ 702 w 800"/>
              <a:gd name="T3" fmla="*/ 98 h 666"/>
              <a:gd name="T4" fmla="*/ 721 w 800"/>
              <a:gd name="T5" fmla="*/ 374 h 666"/>
              <a:gd name="T6" fmla="*/ 800 w 800"/>
              <a:gd name="T7" fmla="*/ 460 h 666"/>
              <a:gd name="T8" fmla="*/ 637 w 800"/>
              <a:gd name="T9" fmla="*/ 590 h 666"/>
              <a:gd name="T10" fmla="*/ 626 w 800"/>
              <a:gd name="T11" fmla="*/ 515 h 666"/>
              <a:gd name="T12" fmla="*/ 432 w 800"/>
              <a:gd name="T13" fmla="*/ 666 h 666"/>
              <a:gd name="T14" fmla="*/ 434 w 800"/>
              <a:gd name="T15" fmla="*/ 488 h 666"/>
              <a:gd name="T16" fmla="*/ 0 w 800"/>
              <a:gd name="T17" fmla="*/ 424 h 666"/>
              <a:gd name="T18" fmla="*/ 17 w 800"/>
              <a:gd name="T19" fmla="*/ 56 h 666"/>
              <a:gd name="T20" fmla="*/ 13 w 800"/>
              <a:gd name="T21" fmla="*/ 398 h 666"/>
              <a:gd name="T22" fmla="*/ 451 w 800"/>
              <a:gd name="T23" fmla="*/ 473 h 666"/>
              <a:gd name="T24" fmla="*/ 571 w 800"/>
              <a:gd name="T25" fmla="*/ 399 h 666"/>
              <a:gd name="T26" fmla="*/ 626 w 800"/>
              <a:gd name="T27" fmla="*/ 346 h 666"/>
              <a:gd name="T28" fmla="*/ 668 w 800"/>
              <a:gd name="T29" fmla="*/ 327 h 666"/>
              <a:gd name="T30" fmla="*/ 688 w 800"/>
              <a:gd name="T31" fmla="*/ 60 h 666"/>
              <a:gd name="T32" fmla="*/ 451 w 800"/>
              <a:gd name="T33" fmla="*/ 233 h 666"/>
              <a:gd name="T34" fmla="*/ 587 w 800"/>
              <a:gd name="T35" fmla="*/ 362 h 666"/>
              <a:gd name="T36" fmla="*/ 452 w 800"/>
              <a:gd name="T37" fmla="*/ 251 h 666"/>
              <a:gd name="T38" fmla="*/ 365 w 800"/>
              <a:gd name="T39" fmla="*/ 298 h 666"/>
              <a:gd name="T40" fmla="*/ 261 w 800"/>
              <a:gd name="T41" fmla="*/ 241 h 666"/>
              <a:gd name="T42" fmla="*/ 64 w 800"/>
              <a:gd name="T43" fmla="*/ 397 h 666"/>
              <a:gd name="T44" fmla="*/ 17 w 800"/>
              <a:gd name="T45" fmla="*/ 56 h 666"/>
              <a:gd name="T46" fmla="*/ 351 w 800"/>
              <a:gd name="T47" fmla="*/ 292 h 666"/>
              <a:gd name="T48" fmla="*/ 620 w 800"/>
              <a:gd name="T49" fmla="*/ 16 h 666"/>
              <a:gd name="T50" fmla="*/ 88 w 800"/>
              <a:gd name="T51" fmla="*/ 15 h 666"/>
              <a:gd name="T52" fmla="*/ 436 w 800"/>
              <a:gd name="T53" fmla="*/ 593 h 666"/>
              <a:gd name="T54" fmla="*/ 452 w 800"/>
              <a:gd name="T55" fmla="*/ 579 h 666"/>
              <a:gd name="T56" fmla="*/ 616 w 800"/>
              <a:gd name="T57" fmla="*/ 500 h 666"/>
              <a:gd name="T58" fmla="*/ 640 w 800"/>
              <a:gd name="T59" fmla="*/ 579 h 666"/>
              <a:gd name="T60" fmla="*/ 789 w 800"/>
              <a:gd name="T61" fmla="*/ 452 h 666"/>
              <a:gd name="T62" fmla="*/ 640 w 800"/>
              <a:gd name="T63" fmla="*/ 329 h 666"/>
              <a:gd name="T64" fmla="*/ 620 w 800"/>
              <a:gd name="T65" fmla="*/ 405 h 666"/>
              <a:gd name="T66" fmla="*/ 436 w 800"/>
              <a:gd name="T67" fmla="*/ 593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0" h="666">
                <a:moveTo>
                  <a:pt x="0" y="64"/>
                </a:moveTo>
                <a:cubicBezTo>
                  <a:pt x="19" y="15"/>
                  <a:pt x="55" y="1"/>
                  <a:pt x="105" y="1"/>
                </a:cubicBezTo>
                <a:cubicBezTo>
                  <a:pt x="272" y="3"/>
                  <a:pt x="438" y="3"/>
                  <a:pt x="605" y="1"/>
                </a:cubicBezTo>
                <a:cubicBezTo>
                  <a:pt x="665" y="0"/>
                  <a:pt x="704" y="37"/>
                  <a:pt x="702" y="98"/>
                </a:cubicBezTo>
                <a:cubicBezTo>
                  <a:pt x="699" y="175"/>
                  <a:pt x="702" y="253"/>
                  <a:pt x="700" y="330"/>
                </a:cubicBezTo>
                <a:cubicBezTo>
                  <a:pt x="700" y="350"/>
                  <a:pt x="707" y="362"/>
                  <a:pt x="721" y="374"/>
                </a:cubicBezTo>
                <a:cubicBezTo>
                  <a:pt x="748" y="396"/>
                  <a:pt x="774" y="421"/>
                  <a:pt x="800" y="444"/>
                </a:cubicBezTo>
                <a:cubicBezTo>
                  <a:pt x="800" y="449"/>
                  <a:pt x="800" y="455"/>
                  <a:pt x="800" y="460"/>
                </a:cubicBezTo>
                <a:cubicBezTo>
                  <a:pt x="754" y="502"/>
                  <a:pt x="707" y="544"/>
                  <a:pt x="660" y="586"/>
                </a:cubicBezTo>
                <a:cubicBezTo>
                  <a:pt x="655" y="590"/>
                  <a:pt x="644" y="593"/>
                  <a:pt x="637" y="590"/>
                </a:cubicBezTo>
                <a:cubicBezTo>
                  <a:pt x="632" y="588"/>
                  <a:pt x="627" y="578"/>
                  <a:pt x="627" y="571"/>
                </a:cubicBezTo>
                <a:cubicBezTo>
                  <a:pt x="625" y="553"/>
                  <a:pt x="626" y="536"/>
                  <a:pt x="626" y="515"/>
                </a:cubicBezTo>
                <a:cubicBezTo>
                  <a:pt x="578" y="515"/>
                  <a:pt x="532" y="514"/>
                  <a:pt x="494" y="546"/>
                </a:cubicBezTo>
                <a:cubicBezTo>
                  <a:pt x="459" y="576"/>
                  <a:pt x="449" y="622"/>
                  <a:pt x="432" y="666"/>
                </a:cubicBezTo>
                <a:cubicBezTo>
                  <a:pt x="417" y="639"/>
                  <a:pt x="424" y="596"/>
                  <a:pt x="456" y="488"/>
                </a:cubicBezTo>
                <a:cubicBezTo>
                  <a:pt x="448" y="488"/>
                  <a:pt x="441" y="488"/>
                  <a:pt x="434" y="488"/>
                </a:cubicBezTo>
                <a:cubicBezTo>
                  <a:pt x="324" y="488"/>
                  <a:pt x="213" y="486"/>
                  <a:pt x="102" y="488"/>
                </a:cubicBezTo>
                <a:cubicBezTo>
                  <a:pt x="53" y="489"/>
                  <a:pt x="17" y="472"/>
                  <a:pt x="0" y="424"/>
                </a:cubicBezTo>
                <a:cubicBezTo>
                  <a:pt x="0" y="304"/>
                  <a:pt x="0" y="184"/>
                  <a:pt x="0" y="64"/>
                </a:cubicBezTo>
                <a:close/>
                <a:moveTo>
                  <a:pt x="17" y="56"/>
                </a:moveTo>
                <a:cubicBezTo>
                  <a:pt x="15" y="71"/>
                  <a:pt x="13" y="80"/>
                  <a:pt x="13" y="90"/>
                </a:cubicBezTo>
                <a:cubicBezTo>
                  <a:pt x="13" y="193"/>
                  <a:pt x="13" y="295"/>
                  <a:pt x="13" y="398"/>
                </a:cubicBezTo>
                <a:cubicBezTo>
                  <a:pt x="13" y="447"/>
                  <a:pt x="40" y="474"/>
                  <a:pt x="89" y="474"/>
                </a:cubicBezTo>
                <a:cubicBezTo>
                  <a:pt x="209" y="474"/>
                  <a:pt x="330" y="474"/>
                  <a:pt x="451" y="473"/>
                </a:cubicBezTo>
                <a:cubicBezTo>
                  <a:pt x="459" y="473"/>
                  <a:pt x="471" y="467"/>
                  <a:pt x="476" y="460"/>
                </a:cubicBezTo>
                <a:cubicBezTo>
                  <a:pt x="502" y="430"/>
                  <a:pt x="532" y="409"/>
                  <a:pt x="571" y="399"/>
                </a:cubicBezTo>
                <a:cubicBezTo>
                  <a:pt x="588" y="395"/>
                  <a:pt x="606" y="393"/>
                  <a:pt x="626" y="389"/>
                </a:cubicBezTo>
                <a:cubicBezTo>
                  <a:pt x="626" y="375"/>
                  <a:pt x="625" y="360"/>
                  <a:pt x="626" y="346"/>
                </a:cubicBezTo>
                <a:cubicBezTo>
                  <a:pt x="628" y="335"/>
                  <a:pt x="634" y="325"/>
                  <a:pt x="637" y="315"/>
                </a:cubicBezTo>
                <a:cubicBezTo>
                  <a:pt x="648" y="319"/>
                  <a:pt x="658" y="322"/>
                  <a:pt x="668" y="327"/>
                </a:cubicBezTo>
                <a:cubicBezTo>
                  <a:pt x="675" y="330"/>
                  <a:pt x="680" y="336"/>
                  <a:pt x="688" y="344"/>
                </a:cubicBezTo>
                <a:cubicBezTo>
                  <a:pt x="688" y="246"/>
                  <a:pt x="688" y="153"/>
                  <a:pt x="688" y="60"/>
                </a:cubicBezTo>
                <a:cubicBezTo>
                  <a:pt x="685" y="60"/>
                  <a:pt x="683" y="59"/>
                  <a:pt x="680" y="59"/>
                </a:cubicBezTo>
                <a:cubicBezTo>
                  <a:pt x="604" y="117"/>
                  <a:pt x="528" y="174"/>
                  <a:pt x="451" y="233"/>
                </a:cubicBezTo>
                <a:cubicBezTo>
                  <a:pt x="500" y="274"/>
                  <a:pt x="546" y="314"/>
                  <a:pt x="592" y="354"/>
                </a:cubicBezTo>
                <a:cubicBezTo>
                  <a:pt x="591" y="357"/>
                  <a:pt x="589" y="359"/>
                  <a:pt x="587" y="362"/>
                </a:cubicBezTo>
                <a:cubicBezTo>
                  <a:pt x="581" y="358"/>
                  <a:pt x="574" y="356"/>
                  <a:pt x="569" y="352"/>
                </a:cubicBezTo>
                <a:cubicBezTo>
                  <a:pt x="530" y="318"/>
                  <a:pt x="491" y="285"/>
                  <a:pt x="452" y="251"/>
                </a:cubicBezTo>
                <a:cubicBezTo>
                  <a:pt x="443" y="243"/>
                  <a:pt x="437" y="242"/>
                  <a:pt x="427" y="250"/>
                </a:cubicBezTo>
                <a:cubicBezTo>
                  <a:pt x="407" y="267"/>
                  <a:pt x="385" y="281"/>
                  <a:pt x="365" y="298"/>
                </a:cubicBezTo>
                <a:cubicBezTo>
                  <a:pt x="355" y="307"/>
                  <a:pt x="347" y="307"/>
                  <a:pt x="336" y="298"/>
                </a:cubicBezTo>
                <a:cubicBezTo>
                  <a:pt x="312" y="279"/>
                  <a:pt x="287" y="260"/>
                  <a:pt x="261" y="241"/>
                </a:cubicBezTo>
                <a:cubicBezTo>
                  <a:pt x="196" y="297"/>
                  <a:pt x="133" y="351"/>
                  <a:pt x="68" y="407"/>
                </a:cubicBezTo>
                <a:cubicBezTo>
                  <a:pt x="65" y="401"/>
                  <a:pt x="63" y="398"/>
                  <a:pt x="64" y="397"/>
                </a:cubicBezTo>
                <a:cubicBezTo>
                  <a:pt x="125" y="342"/>
                  <a:pt x="186" y="288"/>
                  <a:pt x="249" y="232"/>
                </a:cubicBezTo>
                <a:cubicBezTo>
                  <a:pt x="173" y="174"/>
                  <a:pt x="97" y="116"/>
                  <a:pt x="17" y="56"/>
                </a:cubicBezTo>
                <a:close/>
                <a:moveTo>
                  <a:pt x="26" y="45"/>
                </a:moveTo>
                <a:cubicBezTo>
                  <a:pt x="135" y="128"/>
                  <a:pt x="242" y="210"/>
                  <a:pt x="351" y="292"/>
                </a:cubicBezTo>
                <a:cubicBezTo>
                  <a:pt x="459" y="209"/>
                  <a:pt x="567" y="128"/>
                  <a:pt x="676" y="45"/>
                </a:cubicBezTo>
                <a:cubicBezTo>
                  <a:pt x="662" y="25"/>
                  <a:pt x="643" y="16"/>
                  <a:pt x="620" y="16"/>
                </a:cubicBezTo>
                <a:cubicBezTo>
                  <a:pt x="572" y="16"/>
                  <a:pt x="524" y="16"/>
                  <a:pt x="476" y="16"/>
                </a:cubicBezTo>
                <a:cubicBezTo>
                  <a:pt x="346" y="16"/>
                  <a:pt x="217" y="16"/>
                  <a:pt x="88" y="15"/>
                </a:cubicBezTo>
                <a:cubicBezTo>
                  <a:pt x="63" y="15"/>
                  <a:pt x="42" y="22"/>
                  <a:pt x="26" y="45"/>
                </a:cubicBezTo>
                <a:close/>
                <a:moveTo>
                  <a:pt x="436" y="593"/>
                </a:moveTo>
                <a:cubicBezTo>
                  <a:pt x="438" y="594"/>
                  <a:pt x="440" y="595"/>
                  <a:pt x="443" y="596"/>
                </a:cubicBezTo>
                <a:cubicBezTo>
                  <a:pt x="446" y="590"/>
                  <a:pt x="449" y="584"/>
                  <a:pt x="452" y="579"/>
                </a:cubicBezTo>
                <a:cubicBezTo>
                  <a:pt x="474" y="535"/>
                  <a:pt x="509" y="511"/>
                  <a:pt x="557" y="505"/>
                </a:cubicBezTo>
                <a:cubicBezTo>
                  <a:pt x="576" y="502"/>
                  <a:pt x="596" y="502"/>
                  <a:pt x="616" y="500"/>
                </a:cubicBezTo>
                <a:cubicBezTo>
                  <a:pt x="634" y="498"/>
                  <a:pt x="642" y="504"/>
                  <a:pt x="640" y="523"/>
                </a:cubicBezTo>
                <a:cubicBezTo>
                  <a:pt x="638" y="542"/>
                  <a:pt x="640" y="561"/>
                  <a:pt x="640" y="579"/>
                </a:cubicBezTo>
                <a:cubicBezTo>
                  <a:pt x="642" y="580"/>
                  <a:pt x="644" y="581"/>
                  <a:pt x="646" y="581"/>
                </a:cubicBezTo>
                <a:cubicBezTo>
                  <a:pt x="693" y="539"/>
                  <a:pt x="740" y="497"/>
                  <a:pt x="789" y="452"/>
                </a:cubicBezTo>
                <a:cubicBezTo>
                  <a:pt x="740" y="408"/>
                  <a:pt x="693" y="366"/>
                  <a:pt x="646" y="325"/>
                </a:cubicBezTo>
                <a:cubicBezTo>
                  <a:pt x="644" y="326"/>
                  <a:pt x="642" y="327"/>
                  <a:pt x="640" y="329"/>
                </a:cubicBezTo>
                <a:cubicBezTo>
                  <a:pt x="640" y="347"/>
                  <a:pt x="639" y="365"/>
                  <a:pt x="640" y="384"/>
                </a:cubicBezTo>
                <a:cubicBezTo>
                  <a:pt x="641" y="399"/>
                  <a:pt x="637" y="404"/>
                  <a:pt x="620" y="405"/>
                </a:cubicBezTo>
                <a:cubicBezTo>
                  <a:pt x="556" y="408"/>
                  <a:pt x="502" y="434"/>
                  <a:pt x="472" y="493"/>
                </a:cubicBezTo>
                <a:cubicBezTo>
                  <a:pt x="456" y="525"/>
                  <a:pt x="448" y="560"/>
                  <a:pt x="436" y="593"/>
                </a:cubicBezTo>
                <a:close/>
              </a:path>
            </a:pathLst>
          </a:custGeom>
          <a:solidFill>
            <a:schemeClr val="accent2"/>
          </a:solidFill>
          <a:ln w="19050">
            <a:noFill/>
            <a:round/>
            <a:headEnd/>
            <a:tailEnd/>
          </a:ln>
        </p:spPr>
        <p:txBody>
          <a:bodyPr vert="horz" wrap="square" lIns="91392" tIns="45696" rIns="91392" bIns="45696" numCol="1" anchor="t" anchorCtr="0" compatLnSpc="1">
            <a:prstTxWarp prst="textNoShape">
              <a:avLst/>
            </a:prstTxWarp>
          </a:bodyPr>
          <a:lstStyle/>
          <a:p>
            <a:endParaRPr lang="en-US" sz="1799"/>
          </a:p>
        </p:txBody>
      </p:sp>
      <p:sp>
        <p:nvSpPr>
          <p:cNvPr id="4" name="Rectangle 3">
            <a:hlinkClick r:id="rId24"/>
            <a:extLst>
              <a:ext uri="{FF2B5EF4-FFF2-40B4-BE49-F238E27FC236}">
                <a16:creationId xmlns:a16="http://schemas.microsoft.com/office/drawing/2014/main" id="{185164D2-D966-4602-A871-AB08670AE432}"/>
              </a:ext>
            </a:extLst>
          </p:cNvPr>
          <p:cNvSpPr/>
          <p:nvPr userDrawn="1"/>
        </p:nvSpPr>
        <p:spPr>
          <a:xfrm>
            <a:off x="11803711" y="710548"/>
            <a:ext cx="252907" cy="210777"/>
          </a:xfrm>
          <a:prstGeom prst="rect">
            <a:avLst/>
          </a:prstGeom>
          <a:solidFill>
            <a:schemeClr val="accent2">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6" name="Rectangle 25">
            <a:hlinkClick r:id="rId25"/>
            <a:extLst>
              <a:ext uri="{FF2B5EF4-FFF2-40B4-BE49-F238E27FC236}">
                <a16:creationId xmlns:a16="http://schemas.microsoft.com/office/drawing/2014/main" id="{CEF2B731-621E-43A2-B48A-C651C0FB011B}"/>
              </a:ext>
            </a:extLst>
          </p:cNvPr>
          <p:cNvSpPr/>
          <p:nvPr userDrawn="1"/>
        </p:nvSpPr>
        <p:spPr>
          <a:xfrm>
            <a:off x="11803711" y="1634338"/>
            <a:ext cx="252907" cy="210777"/>
          </a:xfrm>
          <a:prstGeom prst="rect">
            <a:avLst/>
          </a:prstGeom>
          <a:solidFill>
            <a:schemeClr val="accent2">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Tree>
    <p:extLst>
      <p:ext uri="{BB962C8B-B14F-4D97-AF65-F5344CB8AC3E}">
        <p14:creationId xmlns:p14="http://schemas.microsoft.com/office/powerpoint/2010/main" val="95458829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Lst>
  <p:hf sldNum="0" hdr="0" dt="0"/>
  <p:txStyles>
    <p:titleStyle>
      <a:lvl1pPr algn="l" defTabSz="913943" rtl="0" eaLnBrk="1" latinLnBrk="0" hangingPunct="1">
        <a:lnSpc>
          <a:spcPct val="85000"/>
        </a:lnSpc>
        <a:spcBef>
          <a:spcPct val="0"/>
        </a:spcBef>
        <a:buNone/>
        <a:defRPr sz="23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3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5"/>
            </p:custDataLst>
            <p:extLst>
              <p:ext uri="{D42A27DB-BD31-4B8C-83A1-F6EECF244321}">
                <p14:modId xmlns:p14="http://schemas.microsoft.com/office/powerpoint/2010/main" val="370942358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7" imgW="352" imgH="318" progId="TCLayout.ActiveDocument.1">
                  <p:embed/>
                </p:oleObj>
              </mc:Choice>
              <mc:Fallback>
                <p:oleObj name="think-cell Slide" r:id="rId27"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8"/>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6"/>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0919" lvl="2" indent="-233246"/>
            <a:r>
              <a:rPr lang="en-US" noProof="0"/>
              <a:t>Third level</a:t>
            </a:r>
          </a:p>
          <a:p>
            <a:pPr marL="745752" lvl="3" indent="-231659"/>
            <a:r>
              <a:rPr lang="en-US" noProof="0"/>
              <a:t>Fourth level</a:t>
            </a:r>
          </a:p>
          <a:p>
            <a:pPr marL="944091" lvl="4" indent="-201512">
              <a:buClr>
                <a:srgbClr val="FFE600"/>
              </a:buClr>
            </a:pPr>
            <a:r>
              <a:rPr lang="en-US" noProof="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7"/>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Tree>
    <p:extLst>
      <p:ext uri="{BB962C8B-B14F-4D97-AF65-F5344CB8AC3E}">
        <p14:creationId xmlns:p14="http://schemas.microsoft.com/office/powerpoint/2010/main" val="144730820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Lst>
  <p:hf sldNum="0"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27" name="Immagine 26">
            <a:extLst>
              <a:ext uri="{FF2B5EF4-FFF2-40B4-BE49-F238E27FC236}">
                <a16:creationId xmlns:a16="http://schemas.microsoft.com/office/drawing/2014/main" id="{F5BB53CD-F959-4F25-872B-1CA47C4D4634}"/>
              </a:ext>
            </a:extLst>
          </p:cNvPr>
          <p:cNvPicPr>
            <a:picLocks noChangeAspect="1"/>
          </p:cNvPicPr>
          <p:nvPr userDrawn="1"/>
        </p:nvPicPr>
        <p:blipFill rotWithShape="1">
          <a:blip r:embed="rId27" cstate="print">
            <a:alphaModFix amt="70000"/>
            <a:extLst>
              <a:ext uri="{28A0092B-C50C-407E-A947-70E740481C1C}">
                <a14:useLocalDpi xmlns:a14="http://schemas.microsoft.com/office/drawing/2010/main" val="0"/>
              </a:ext>
            </a:extLst>
          </a:blip>
          <a:srcRect l="48462"/>
          <a:stretch/>
        </p:blipFill>
        <p:spPr>
          <a:xfrm>
            <a:off x="6878352" y="0"/>
            <a:ext cx="5301678" cy="6858000"/>
          </a:xfrm>
          <a:prstGeom prst="rect">
            <a:avLst/>
          </a:prstGeom>
        </p:spPr>
      </p:pic>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5"/>
            </p:custDataLst>
            <p:extLst>
              <p:ext uri="{D42A27DB-BD31-4B8C-83A1-F6EECF244321}">
                <p14:modId xmlns:p14="http://schemas.microsoft.com/office/powerpoint/2010/main" val="370942358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8" imgW="352" imgH="318" progId="TCLayout.ActiveDocument.1">
                  <p:embed/>
                </p:oleObj>
              </mc:Choice>
              <mc:Fallback>
                <p:oleObj name="think-cell Slide" r:id="rId28"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9"/>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6"/>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0919" lvl="2" indent="-233246"/>
            <a:r>
              <a:rPr lang="en-US" noProof="0"/>
              <a:t>Third level</a:t>
            </a:r>
          </a:p>
          <a:p>
            <a:pPr marL="745752" lvl="3" indent="-231659"/>
            <a:r>
              <a:rPr lang="en-US" noProof="0"/>
              <a:t>Fourth level</a:t>
            </a:r>
          </a:p>
          <a:p>
            <a:pPr marL="944091" lvl="4" indent="-201512">
              <a:buClr>
                <a:srgbClr val="FFE600"/>
              </a:buClr>
            </a:pPr>
            <a:r>
              <a:rPr lang="en-US" noProof="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7"/>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29" name="Rettangolo 28">
            <a:extLst>
              <a:ext uri="{FF2B5EF4-FFF2-40B4-BE49-F238E27FC236}">
                <a16:creationId xmlns:a16="http://schemas.microsoft.com/office/drawing/2014/main" id="{99260EA6-A8EC-4B2E-9164-465A3CEE3985}"/>
              </a:ext>
            </a:extLst>
          </p:cNvPr>
          <p:cNvSpPr/>
          <p:nvPr userDrawn="1"/>
        </p:nvSpPr>
        <p:spPr>
          <a:xfrm>
            <a:off x="6878352" y="0"/>
            <a:ext cx="5313648" cy="6858000"/>
          </a:xfrm>
          <a:prstGeom prst="rect">
            <a:avLst/>
          </a:prstGeom>
          <a:gradFill flip="none" rotWithShape="1">
            <a:gsLst>
              <a:gs pos="18000">
                <a:schemeClr val="tx1">
                  <a:alpha val="0"/>
                </a:schemeClr>
              </a:gs>
              <a:gs pos="100000">
                <a:srgbClr val="2E2E38"/>
              </a:gs>
              <a:gs pos="62000">
                <a:schemeClr val="tx1">
                  <a:alpha val="96000"/>
                </a:schemeClr>
              </a:gs>
              <a:gs pos="37000">
                <a:schemeClr val="tx1">
                  <a:alpha val="74000"/>
                </a:schemeClr>
              </a:gs>
            </a:gsLst>
            <a:lin ang="5400000" scaled="0"/>
            <a:tileRect/>
          </a:gra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just"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2834766400"/>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Lst>
  <p:hf sldNum="0"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18"/>
            </p:custDataLst>
            <p:extLst>
              <p:ext uri="{D42A27DB-BD31-4B8C-83A1-F6EECF244321}">
                <p14:modId xmlns:p14="http://schemas.microsoft.com/office/powerpoint/2010/main" val="2343016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Folie" r:id="rId30" imgW="352" imgH="318" progId="TCLayout.ActiveDocument.1">
                  <p:embed/>
                </p:oleObj>
              </mc:Choice>
              <mc:Fallback>
                <p:oleObj name="think-cell Folie" r:id="rId30"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31"/>
                      <a:stretch>
                        <a:fillRect/>
                      </a:stretch>
                    </p:blipFill>
                    <p:spPr>
                      <a:xfrm>
                        <a:off x="1587" y="1588"/>
                        <a:ext cx="1587"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9"/>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ts val="0"/>
              </a:spcBef>
              <a:spcAft>
                <a:spcPts val="0"/>
              </a:spcAft>
              <a:buClrTx/>
              <a:buSzTx/>
              <a:buFontTx/>
              <a:buNone/>
              <a:tabLst/>
            </a:pPr>
            <a:endParaRPr kumimoji="0" lang="de-DE" sz="2399"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a:t>Click to edit Master text styles</a:t>
            </a:r>
          </a:p>
          <a:p>
            <a:pPr lvl="1"/>
            <a:r>
              <a:rPr lang="en-US" noProof="0"/>
              <a:t>Second level</a:t>
            </a:r>
          </a:p>
          <a:p>
            <a:pPr marL="510919" lvl="2" indent="-233246"/>
            <a:r>
              <a:rPr lang="en-US" noProof="0"/>
              <a:t>Third level</a:t>
            </a:r>
          </a:p>
          <a:p>
            <a:pPr marL="745752" lvl="3" indent="-231659"/>
            <a:r>
              <a:rPr lang="en-US" noProof="0"/>
              <a:t>Fourth level</a:t>
            </a:r>
          </a:p>
          <a:p>
            <a:pPr marL="944091" lvl="4" indent="-201512">
              <a:buClr>
                <a:srgbClr val="FFE600"/>
              </a:buClr>
            </a:pPr>
            <a:r>
              <a:rPr lang="en-US" noProof="0"/>
              <a:t>Text</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de-DE" noProof="0"/>
              <a:t>Mastertitelformat bearbeiten</a:t>
            </a:r>
            <a:endParaRPr lang="en-US" noProof="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7897E68F-55AD-4C27-A3CB-53BD1BAD3598}" type="datetime3">
              <a:rPr lang="en-US" noProof="0" smtClean="0"/>
              <a:t>22 May 2024</a:t>
            </a:fld>
            <a:endParaRPr lang="en-US" noProof="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a:t>EY DE PPT Gallery</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a:t>Page </a:t>
            </a:r>
            <a:fld id="{F1BC30E3-FFE5-4B91-AA19-87A149EBB9EE}" type="slidenum">
              <a:rPr lang="en-US" noProof="0" smtClean="0"/>
              <a:pPr/>
              <a:t>‹#›</a:t>
            </a:fld>
            <a:endParaRPr lang="en-US" noProof="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20"/>
            </p:custDataLst>
          </p:nvPr>
        </p:nvGrpSpPr>
        <p:grpSpPr>
          <a:xfrm>
            <a:off x="12318934" y="0"/>
            <a:ext cx="292456"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2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Tree>
    <p:extLst>
      <p:ext uri="{BB962C8B-B14F-4D97-AF65-F5344CB8AC3E}">
        <p14:creationId xmlns:p14="http://schemas.microsoft.com/office/powerpoint/2010/main" val="414358747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Lst>
  <p:hf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9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324078"/>
      </p:ext>
    </p:extLst>
  </p:cSld>
  <p:clrMap bg1="lt1" tx1="dk1" bg2="lt2" tx2="dk2" accent1="accent1" accent2="accent2" accent3="accent3" accent4="accent4" accent5="accent5" accent6="accent6" hlink="hlink" folHlink="folHlink"/>
  <p:sldLayoutIdLst>
    <p:sldLayoutId id="2147483784" r:id="rId1"/>
  </p:sldLayoutIdLst>
  <p:txStyles>
    <p:titleStyle/>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xml"/><Relationship Id="rId1" Type="http://schemas.openxmlformats.org/officeDocument/2006/relationships/slideLayout" Target="../slideLayouts/slideLayout88.xml"/><Relationship Id="rId5" Type="http://schemas.openxmlformats.org/officeDocument/2006/relationships/image" Target="../media/image51.png"/><Relationship Id="rId4" Type="http://schemas.openxmlformats.org/officeDocument/2006/relationships/image" Target="../media/image50.png"/></Relationships>
</file>

<file path=ppt/slides/_rels/slide10.xml.rels><?xml version="1.0" encoding="UTF-8" standalone="yes"?>
<Relationships xmlns="http://schemas.openxmlformats.org/package/2006/relationships"><Relationship Id="rId8" Type="http://schemas.openxmlformats.org/officeDocument/2006/relationships/hyperlink" Target="https://www.apibas.it/wp-content/uploads/2024/04/5_304_305_307_1752.pdf" TargetMode="External"/><Relationship Id="rId13" Type="http://schemas.openxmlformats.org/officeDocument/2006/relationships/hyperlink" Target="https://www.apibas.it/wp-content/uploads/2024/04/7_310_304_312_313_885_887_447_449_306_886.pdf" TargetMode="External"/><Relationship Id="rId3" Type="http://schemas.openxmlformats.org/officeDocument/2006/relationships/image" Target="../media/image57.png"/><Relationship Id="rId7" Type="http://schemas.openxmlformats.org/officeDocument/2006/relationships/hyperlink" Target="https://www.apibas.it/wp-content/uploads/2024/04/4_751.pdf" TargetMode="External"/><Relationship Id="rId12" Type="http://schemas.openxmlformats.org/officeDocument/2006/relationships/hyperlink" Target="https://www.apibas.it/wp-content/uploads/2024/04/5_1800.pdf" TargetMode="External"/><Relationship Id="rId2" Type="http://schemas.openxmlformats.org/officeDocument/2006/relationships/hyperlink" Target="https://www.apibas.it/san-nicola-di-melfi/" TargetMode="External"/><Relationship Id="rId1" Type="http://schemas.openxmlformats.org/officeDocument/2006/relationships/slideLayout" Target="../slideLayouts/slideLayout90.xml"/><Relationship Id="rId6" Type="http://schemas.openxmlformats.org/officeDocument/2006/relationships/hyperlink" Target="https://www.apibas.it/wp-content/uploads/2024/04/4_736_734_726_725_1160_741_739.pdf" TargetMode="External"/><Relationship Id="rId11" Type="http://schemas.openxmlformats.org/officeDocument/2006/relationships/hyperlink" Target="https://www.apibas.it/wp-content/uploads/2024/04/5_1717_1797_1799.pdf" TargetMode="External"/><Relationship Id="rId5" Type="http://schemas.openxmlformats.org/officeDocument/2006/relationships/hyperlink" Target="https://www.apibas.it/wp-content/uploads/2024/04/4_462_468.pdf" TargetMode="External"/><Relationship Id="rId10" Type="http://schemas.openxmlformats.org/officeDocument/2006/relationships/hyperlink" Target="https://www.apibas.it/wp-content/uploads/2024/04/5_1227_1152.pdf" TargetMode="External"/><Relationship Id="rId4" Type="http://schemas.openxmlformats.org/officeDocument/2006/relationships/hyperlink" Target="https://www.apibas.it/wp-content/uploads/2024/04/9_665_661_1068.pdf" TargetMode="External"/><Relationship Id="rId9" Type="http://schemas.openxmlformats.org/officeDocument/2006/relationships/hyperlink" Target="https://www.apibas.it/wp-content/uploads/2024/04/5_1097.pdf" TargetMode="External"/><Relationship Id="rId1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www.apibas.it/wp-content/uploads/2023/12/norme_vvitalba.pdf" TargetMode="External"/><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openxmlformats.org/officeDocument/2006/relationships/hyperlink" Target="https://www.apibas.it/wp-content/uploads/2022/11/Vitalba.pdf" TargetMode="External"/><Relationship Id="rId2" Type="http://schemas.openxmlformats.org/officeDocument/2006/relationships/image" Target="../media/image58.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hyperlink" Target="https://www.apibas.it/wp-content/uploads/2022/11/Vitalba-Viabilita.pdf" TargetMode="External"/><Relationship Id="rId2" Type="http://schemas.openxmlformats.org/officeDocument/2006/relationships/image" Target="../media/image59.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hyperlink" Target="https://www.apibas.it/wp-content/uploads/2024/04/45_1074.pdf" TargetMode="External"/><Relationship Id="rId2" Type="http://schemas.openxmlformats.org/officeDocument/2006/relationships/hyperlink" Target="https://www.apibas.it/wp-content/uploads/2024/04/45_1012_1279.pdf" TargetMode="External"/><Relationship Id="rId1" Type="http://schemas.openxmlformats.org/officeDocument/2006/relationships/slideLayout" Target="../slideLayouts/slideLayout90.xml"/><Relationship Id="rId6" Type="http://schemas.openxmlformats.org/officeDocument/2006/relationships/image" Target="../media/image51.png"/><Relationship Id="rId5" Type="http://schemas.openxmlformats.org/officeDocument/2006/relationships/hyperlink" Target="https://www.apibas.it/valle-di-vitalba/" TargetMode="External"/><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3" Type="http://schemas.openxmlformats.org/officeDocument/2006/relationships/hyperlink" Target="https://www.apibas.it/wp-content/uploads/2022/10/Potenza-Story.pdf" TargetMode="External"/><Relationship Id="rId2" Type="http://schemas.openxmlformats.org/officeDocument/2006/relationships/hyperlink" Target="https://www.apibas.it/wp-content/uploads/2023/12/norme_potenza.pdf" TargetMode="External"/><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hyperlink" Target="https://www.apibas.it/wp-content/uploads/2022/11/Potenza.pdf" TargetMode="External"/><Relationship Id="rId2" Type="http://schemas.openxmlformats.org/officeDocument/2006/relationships/image" Target="../media/image61.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hyperlink" Target="https://www.apibas.it/wp-content/uploads/2022/11/Potenza_Viabilita.pdf" TargetMode="External"/><Relationship Id="rId2" Type="http://schemas.openxmlformats.org/officeDocument/2006/relationships/image" Target="../media/image62.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hyperlink" Target="https://www.apibas.it/wp-content/uploads/2024/04/50_1703.pdf" TargetMode="External"/><Relationship Id="rId2" Type="http://schemas.openxmlformats.org/officeDocument/2006/relationships/image" Target="../media/image63.png"/><Relationship Id="rId1" Type="http://schemas.openxmlformats.org/officeDocument/2006/relationships/slideLayout" Target="../slideLayouts/slideLayout90.xml"/><Relationship Id="rId5" Type="http://schemas.openxmlformats.org/officeDocument/2006/relationships/image" Target="../media/image51.png"/><Relationship Id="rId4" Type="http://schemas.openxmlformats.org/officeDocument/2006/relationships/hyperlink" Target="https://www.apibas.it/potenza/"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www.apibas.it/wp-content/uploads/2023/12/norme_tito.pdf" TargetMode="External"/><Relationship Id="rId1" Type="http://schemas.openxmlformats.org/officeDocument/2006/relationships/slideLayout" Target="../slideLayouts/slideLayout90.xml"/></Relationships>
</file>

<file path=ppt/slides/_rels/slide21.xml.rels><?xml version="1.0" encoding="UTF-8" standalone="yes"?>
<Relationships xmlns="http://schemas.openxmlformats.org/package/2006/relationships"><Relationship Id="rId3" Type="http://schemas.openxmlformats.org/officeDocument/2006/relationships/hyperlink" Target="https://www.apibas.it/wp-content/uploads/2022/11/Tito.pdf" TargetMode="External"/><Relationship Id="rId2" Type="http://schemas.openxmlformats.org/officeDocument/2006/relationships/image" Target="../media/image64.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hyperlink" Target="https://www.apibas.it/wp-content/uploads/2022/11/Tito_Viabilita.pdf" TargetMode="External"/><Relationship Id="rId2" Type="http://schemas.openxmlformats.org/officeDocument/2006/relationships/image" Target="../media/image65.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www.apibas.it/wp-content/uploads/2024/04/13_1256.pdf" TargetMode="External"/><Relationship Id="rId1" Type="http://schemas.openxmlformats.org/officeDocument/2006/relationships/slideLayout" Target="../slideLayouts/slideLayout90.xml"/><Relationship Id="rId5" Type="http://schemas.openxmlformats.org/officeDocument/2006/relationships/image" Target="../media/image51.png"/><Relationship Id="rId4" Type="http://schemas.openxmlformats.org/officeDocument/2006/relationships/hyperlink" Target="https://www.apibas.it/tito/"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0.xml"/></Relationships>
</file>

<file path=ppt/slides/_rels/slide25.xml.rels><?xml version="1.0" encoding="UTF-8" standalone="yes"?>
<Relationships xmlns="http://schemas.openxmlformats.org/package/2006/relationships"><Relationship Id="rId3" Type="http://schemas.openxmlformats.org/officeDocument/2006/relationships/hyperlink" Target="https://www.apibas.it/wp-content/uploads/2022/11/Baragiano.pdf" TargetMode="External"/><Relationship Id="rId2" Type="http://schemas.openxmlformats.org/officeDocument/2006/relationships/image" Target="../media/image67.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hyperlink" Target="https://www.apibas.it/wp-content/uploads/2022/11/Baragiano-Viabilita.pdf" TargetMode="External"/><Relationship Id="rId2" Type="http://schemas.openxmlformats.org/officeDocument/2006/relationships/image" Target="../media/image68.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www.apibas.it/wp-content/uploads/2024/04/5_181_285_BAR.pdf" TargetMode="External"/><Relationship Id="rId1" Type="http://schemas.openxmlformats.org/officeDocument/2006/relationships/slideLayout" Target="../slideLayouts/slideLayout90.xml"/><Relationship Id="rId5" Type="http://schemas.openxmlformats.org/officeDocument/2006/relationships/image" Target="../media/image51.png"/><Relationship Id="rId4" Type="http://schemas.openxmlformats.org/officeDocument/2006/relationships/hyperlink" Target="https://www.apibas.it/baragiano/"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apibas.it/balvano/" TargetMode="External"/><Relationship Id="rId2" Type="http://schemas.openxmlformats.org/officeDocument/2006/relationships/image" Target="../media/image70.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0.xml"/></Relationships>
</file>

<file path=ppt/slides/_rels/slide3.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xml"/><Relationship Id="rId1" Type="http://schemas.openxmlformats.org/officeDocument/2006/relationships/slideLayout" Target="../slideLayouts/slideLayout89.xml"/></Relationships>
</file>

<file path=ppt/slides/_rels/slide30.xml.rels><?xml version="1.0" encoding="UTF-8" standalone="yes"?>
<Relationships xmlns="http://schemas.openxmlformats.org/package/2006/relationships"><Relationship Id="rId3" Type="http://schemas.openxmlformats.org/officeDocument/2006/relationships/hyperlink" Target="https://www.apibas.it/wp-content/uploads/2022/11/Isca-Pantanelle.pdf" TargetMode="External"/><Relationship Id="rId2" Type="http://schemas.openxmlformats.org/officeDocument/2006/relationships/image" Target="../media/image71.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hyperlink" Target="https://www.apibas.it/wp-content/uploads/2022/11/Isca-Pantanelle-Viabilita.pdf" TargetMode="External"/><Relationship Id="rId2" Type="http://schemas.openxmlformats.org/officeDocument/2006/relationships/image" Target="../media/image72.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https://www.apibas.it/wp-content/uploads/2024/04/18_711_19_935_ISCA.pdf" TargetMode="External"/><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0.xml"/></Relationships>
</file>

<file path=ppt/slides/_rels/slide34.xml.rels><?xml version="1.0" encoding="UTF-8" standalone="yes"?>
<Relationships xmlns="http://schemas.openxmlformats.org/package/2006/relationships"><Relationship Id="rId3" Type="http://schemas.openxmlformats.org/officeDocument/2006/relationships/hyperlink" Target="mailto:m.vignola@confindustria.basilicata.it" TargetMode="External"/><Relationship Id="rId2" Type="http://schemas.openxmlformats.org/officeDocument/2006/relationships/hyperlink" Target="http://www.confindustria.basilicata.it/" TargetMode="External"/><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75.xml"/><Relationship Id="rId7" Type="http://schemas.openxmlformats.org/officeDocument/2006/relationships/image" Target="../media/image76.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emf"/><Relationship Id="rId10" Type="http://schemas.openxmlformats.org/officeDocument/2006/relationships/image" Target="../media/image79.png"/><Relationship Id="rId4" Type="http://schemas.openxmlformats.org/officeDocument/2006/relationships/oleObject" Target="../embeddings/oleObject35.bin"/><Relationship Id="rId9" Type="http://schemas.openxmlformats.org/officeDocument/2006/relationships/image" Target="../media/image78.svg"/></Relationships>
</file>

<file path=ppt/slides/_rels/slide37.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75.xml"/><Relationship Id="rId7" Type="http://schemas.openxmlformats.org/officeDocument/2006/relationships/image" Target="../media/image82.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81.png"/><Relationship Id="rId5" Type="http://schemas.openxmlformats.org/officeDocument/2006/relationships/image" Target="../media/image74.emf"/><Relationship Id="rId4" Type="http://schemas.openxmlformats.org/officeDocument/2006/relationships/oleObject" Target="../embeddings/oleObject36.bin"/><Relationship Id="rId9" Type="http://schemas.openxmlformats.org/officeDocument/2006/relationships/image" Target="../media/image78.svg"/></Relationships>
</file>

<file path=ppt/slides/_rels/slide38.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svg"/><Relationship Id="rId3" Type="http://schemas.openxmlformats.org/officeDocument/2006/relationships/slideLayout" Target="../slideLayouts/slideLayout75.xml"/><Relationship Id="rId7" Type="http://schemas.openxmlformats.org/officeDocument/2006/relationships/image" Target="../media/image84.svg"/><Relationship Id="rId12" Type="http://schemas.openxmlformats.org/officeDocument/2006/relationships/image" Target="../media/image89.png"/><Relationship Id="rId17" Type="http://schemas.openxmlformats.org/officeDocument/2006/relationships/image" Target="../media/image94.svg"/><Relationship Id="rId2" Type="http://schemas.openxmlformats.org/officeDocument/2006/relationships/tags" Target="../tags/tag108.xml"/><Relationship Id="rId16" Type="http://schemas.openxmlformats.org/officeDocument/2006/relationships/image" Target="../media/image93.png"/><Relationship Id="rId1" Type="http://schemas.openxmlformats.org/officeDocument/2006/relationships/tags" Target="../tags/tag107.xml"/><Relationship Id="rId6" Type="http://schemas.openxmlformats.org/officeDocument/2006/relationships/image" Target="../media/image83.png"/><Relationship Id="rId11" Type="http://schemas.openxmlformats.org/officeDocument/2006/relationships/image" Target="../media/image88.svg"/><Relationship Id="rId5" Type="http://schemas.openxmlformats.org/officeDocument/2006/relationships/image" Target="../media/image74.emf"/><Relationship Id="rId15" Type="http://schemas.openxmlformats.org/officeDocument/2006/relationships/image" Target="../media/image92.svg"/><Relationship Id="rId10" Type="http://schemas.openxmlformats.org/officeDocument/2006/relationships/image" Target="../media/image87.png"/><Relationship Id="rId4" Type="http://schemas.openxmlformats.org/officeDocument/2006/relationships/oleObject" Target="../embeddings/oleObject37.bin"/><Relationship Id="rId9" Type="http://schemas.openxmlformats.org/officeDocument/2006/relationships/image" Target="../media/image86.svg"/><Relationship Id="rId14" Type="http://schemas.openxmlformats.org/officeDocument/2006/relationships/image" Target="../media/image91.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74.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90.xml"/><Relationship Id="rId5" Type="http://schemas.openxmlformats.org/officeDocument/2006/relationships/image" Target="../media/image51.png"/><Relationship Id="rId4" Type="http://schemas.openxmlformats.org/officeDocument/2006/relationships/image" Target="../media/image54.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74.emf"/><Relationship Id="rId4" Type="http://schemas.openxmlformats.org/officeDocument/2006/relationships/oleObject" Target="../embeddings/oleObject3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74.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74.emf"/><Relationship Id="rId4" Type="http://schemas.openxmlformats.org/officeDocument/2006/relationships/oleObject" Target="../embeddings/oleObject4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74.emf"/><Relationship Id="rId4" Type="http://schemas.openxmlformats.org/officeDocument/2006/relationships/oleObject" Target="../embeddings/oleObject42.bin"/></Relationships>
</file>

<file path=ppt/slides/_rels/slide4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xml"/><Relationship Id="rId1" Type="http://schemas.openxmlformats.org/officeDocument/2006/relationships/slideLayout" Target="../slideLayouts/slideLayout88.xml"/><Relationship Id="rId6" Type="http://schemas.openxmlformats.org/officeDocument/2006/relationships/image" Target="../media/image95.png"/><Relationship Id="rId5" Type="http://schemas.openxmlformats.org/officeDocument/2006/relationships/image" Target="../media/image51.png"/><Relationship Id="rId4" Type="http://schemas.openxmlformats.org/officeDocument/2006/relationships/image" Target="../media/image50.png"/></Relationships>
</file>

<file path=ppt/slides/_rels/slide46.xml.rels><?xml version="1.0" encoding="UTF-8" standalone="yes"?>
<Relationships xmlns="http://schemas.openxmlformats.org/package/2006/relationships"><Relationship Id="rId3" Type="http://schemas.openxmlformats.org/officeDocument/2006/relationships/hyperlink" Target="mailto:Fabio.tentori@it.ey.com" TargetMode="External"/><Relationship Id="rId2" Type="http://schemas.openxmlformats.org/officeDocument/2006/relationships/image" Target="../media/image96.jpeg"/><Relationship Id="rId1" Type="http://schemas.openxmlformats.org/officeDocument/2006/relationships/slideLayout" Target="../slideLayouts/slideLayout65.xml"/><Relationship Id="rId5" Type="http://schemas.openxmlformats.org/officeDocument/2006/relationships/hyperlink" Target="mailto:Ilaria.Achilli@it.ey.com" TargetMode="External"/><Relationship Id="rId4" Type="http://schemas.openxmlformats.org/officeDocument/2006/relationships/hyperlink" Target="mailto:Giuseppe.Lorizzo@it.ey.com"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3" Type="http://schemas.openxmlformats.org/officeDocument/2006/relationships/hyperlink" Target="https://www.apibas.it/wp-content/uploads/2024/03/piano-particolareggiato_melfi.pdf" TargetMode="External"/><Relationship Id="rId2" Type="http://schemas.openxmlformats.org/officeDocument/2006/relationships/hyperlink" Target="https://www.apibas.it/wp-content/uploads/2023/12/norme_melfi.pdf" TargetMode="External"/><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hyperlink" Target="https://www.apibas.it/wp-content/uploads/2022/11/Melfi.pdf" TargetMode="External"/><Relationship Id="rId2" Type="http://schemas.openxmlformats.org/officeDocument/2006/relationships/image" Target="../media/image55.png"/><Relationship Id="rId1" Type="http://schemas.openxmlformats.org/officeDocument/2006/relationships/slideLayout" Target="../slideLayouts/slideLayout90.xml"/><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hyperlink" Target="https://www.apibas.it/wp-content/uploads/2022/11/Melfi_Viabilita.pdf" TargetMode="External"/><Relationship Id="rId2" Type="http://schemas.openxmlformats.org/officeDocument/2006/relationships/image" Target="../media/image56.png"/><Relationship Id="rId1" Type="http://schemas.openxmlformats.org/officeDocument/2006/relationships/slideLayout" Target="../slideLayouts/slideLayout90.xml"/><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town on a hill&#10;&#10;Description automatically generated">
            <a:extLst>
              <a:ext uri="{FF2B5EF4-FFF2-40B4-BE49-F238E27FC236}">
                <a16:creationId xmlns:a16="http://schemas.microsoft.com/office/drawing/2014/main" id="{9E542A3A-E453-3AAC-C48F-3CEAE10BFEAF}"/>
              </a:ext>
            </a:extLst>
          </p:cNvPr>
          <p:cNvPicPr>
            <a:picLocks noChangeAspect="1"/>
          </p:cNvPicPr>
          <p:nvPr/>
        </p:nvPicPr>
        <p:blipFill>
          <a:blip r:embed="rId3"/>
          <a:stretch>
            <a:fillRect/>
          </a:stretch>
        </p:blipFill>
        <p:spPr>
          <a:xfrm>
            <a:off x="0" y="0"/>
            <a:ext cx="12192000" cy="6858000"/>
          </a:xfrm>
          <a:prstGeom prst="rect">
            <a:avLst/>
          </a:prstGeom>
        </p:spPr>
      </p:pic>
      <p:sp>
        <p:nvSpPr>
          <p:cNvPr id="11" name="Rettangolo 13">
            <a:extLst>
              <a:ext uri="{FF2B5EF4-FFF2-40B4-BE49-F238E27FC236}">
                <a16:creationId xmlns:a16="http://schemas.microsoft.com/office/drawing/2014/main" id="{BC5262A4-42B6-5EFB-8E8D-FB38FC4044C8}"/>
              </a:ext>
            </a:extLst>
          </p:cNvPr>
          <p:cNvSpPr/>
          <p:nvPr/>
        </p:nvSpPr>
        <p:spPr>
          <a:xfrm>
            <a:off x="0" y="3570"/>
            <a:ext cx="12192000" cy="6854430"/>
          </a:xfrm>
          <a:prstGeom prst="rect">
            <a:avLst/>
          </a:prstGeom>
          <a:solidFill>
            <a:srgbClr val="000000">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it-IT" sz="1199" dirty="0">
              <a:solidFill>
                <a:srgbClr val="2E2E38"/>
              </a:solidFill>
              <a:latin typeface="EYInterstate Light"/>
            </a:endParaRPr>
          </a:p>
        </p:txBody>
      </p:sp>
      <p:sp>
        <p:nvSpPr>
          <p:cNvPr id="8" name="Freeform 56">
            <a:extLst>
              <a:ext uri="{FF2B5EF4-FFF2-40B4-BE49-F238E27FC236}">
                <a16:creationId xmlns:a16="http://schemas.microsoft.com/office/drawing/2014/main" id="{E57CDEBE-3B5E-4081-BBBC-468CAB95C23C}"/>
              </a:ext>
            </a:extLst>
          </p:cNvPr>
          <p:cNvSpPr/>
          <p:nvPr/>
        </p:nvSpPr>
        <p:spPr>
          <a:xfrm>
            <a:off x="1250212" y="1613975"/>
            <a:ext cx="5660747" cy="3905112"/>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6" name="Title 1"/>
          <p:cNvSpPr>
            <a:spLocks noGrp="1"/>
          </p:cNvSpPr>
          <p:nvPr>
            <p:ph type="ctrTitle"/>
          </p:nvPr>
        </p:nvSpPr>
        <p:spPr>
          <a:xfrm>
            <a:off x="1602421" y="2940715"/>
            <a:ext cx="5071937" cy="489596"/>
          </a:xfrm>
        </p:spPr>
        <p:txBody>
          <a:bodyPr>
            <a:noAutofit/>
          </a:bodyPr>
          <a:lstStyle/>
          <a:p>
            <a:pPr>
              <a:lnSpc>
                <a:spcPct val="130000"/>
              </a:lnSpc>
            </a:pPr>
            <a:r>
              <a:rPr lang="it-IT" sz="1800" b="1" dirty="0">
                <a:solidFill>
                  <a:schemeClr val="tx1"/>
                </a:solidFill>
                <a:latin typeface="EYInterstate "/>
              </a:rPr>
              <a:t>EY Smart Funding e Confindustria Basilicata</a:t>
            </a:r>
            <a:br>
              <a:rPr lang="it-IT" sz="2000" b="1" dirty="0">
                <a:solidFill>
                  <a:schemeClr val="tx1"/>
                </a:solidFill>
                <a:latin typeface="EYInterstate "/>
              </a:rPr>
            </a:br>
            <a:r>
              <a:rPr lang="it-IT" sz="2400" b="1" dirty="0">
                <a:solidFill>
                  <a:srgbClr val="2E2E38"/>
                </a:solidFill>
                <a:latin typeface="EYInterstate "/>
              </a:rPr>
              <a:t>Bando</a:t>
            </a:r>
            <a:r>
              <a:rPr lang="it-IT" sz="2400" b="1" dirty="0">
                <a:solidFill>
                  <a:schemeClr val="tx1"/>
                </a:solidFill>
                <a:latin typeface="EYInterstate "/>
              </a:rPr>
              <a:t> Legge 181/89 </a:t>
            </a:r>
            <a:endParaRPr lang="en-US" sz="1799" dirty="0">
              <a:solidFill>
                <a:schemeClr val="tx1"/>
              </a:solidFill>
            </a:endParaRPr>
          </a:p>
        </p:txBody>
      </p:sp>
      <p:sp>
        <p:nvSpPr>
          <p:cNvPr id="17" name="Subtitle 2"/>
          <p:cNvSpPr>
            <a:spLocks noGrp="1"/>
          </p:cNvSpPr>
          <p:nvPr>
            <p:ph type="subTitle" idx="1"/>
          </p:nvPr>
        </p:nvSpPr>
        <p:spPr>
          <a:xfrm>
            <a:off x="1602418" y="4840772"/>
            <a:ext cx="4956331" cy="806506"/>
          </a:xfrm>
        </p:spPr>
        <p:txBody>
          <a:bodyPr>
            <a:normAutofit/>
          </a:bodyPr>
          <a:lstStyle/>
          <a:p>
            <a:pPr lvl="1"/>
            <a:r>
              <a:rPr lang="en-GB" sz="1799" dirty="0">
                <a:solidFill>
                  <a:srgbClr val="2E2E38"/>
                </a:solidFill>
              </a:rPr>
              <a:t>22 maggio 2024, 11:30-12:30</a:t>
            </a:r>
          </a:p>
        </p:txBody>
      </p:sp>
      <p:sp>
        <p:nvSpPr>
          <p:cNvPr id="5" name="Rectangle 106"/>
          <p:cNvSpPr/>
          <p:nvPr/>
        </p:nvSpPr>
        <p:spPr>
          <a:xfrm>
            <a:off x="5480493" y="2207222"/>
            <a:ext cx="878446" cy="230704"/>
          </a:xfrm>
          <a:prstGeom prst="rect">
            <a:avLst/>
          </a:prstGeom>
        </p:spPr>
        <p:txBody>
          <a:bodyPr wrap="none" lIns="0" tIns="0" rIns="0" bIns="0">
            <a:spAutoFit/>
          </a:bodyPr>
          <a:lstStyle/>
          <a:p>
            <a:r>
              <a:rPr lang="en-US" sz="1499" dirty="0">
                <a:latin typeface="EYInterstate-LightItalic"/>
              </a:rPr>
              <a:t>WEBINAR</a:t>
            </a:r>
          </a:p>
        </p:txBody>
      </p:sp>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09573" y="275062"/>
            <a:ext cx="1092844" cy="1279656"/>
          </a:xfrm>
          <a:prstGeom prst="rect">
            <a:avLst/>
          </a:prstGeom>
          <a:noFill/>
          <a:extLst>
            <a:ext uri="{909E8E84-426E-40DD-AFC4-6F175D3DCCD1}">
              <a14:hiddenFill xmlns:a14="http://schemas.microsoft.com/office/drawing/2010/main">
                <a:solidFill>
                  <a:srgbClr val="FFFFFF"/>
                </a:solidFill>
              </a14:hiddenFill>
            </a:ext>
          </a:extLst>
        </p:spPr>
      </p:pic>
      <p:sp>
        <p:nvSpPr>
          <p:cNvPr id="2" name="Subtitle 2">
            <a:extLst>
              <a:ext uri="{FF2B5EF4-FFF2-40B4-BE49-F238E27FC236}">
                <a16:creationId xmlns:a16="http://schemas.microsoft.com/office/drawing/2014/main" id="{3BBCD8B5-AD25-368F-5E89-C7DFE1892CB3}"/>
              </a:ext>
            </a:extLst>
          </p:cNvPr>
          <p:cNvSpPr txBox="1">
            <a:spLocks/>
          </p:cNvSpPr>
          <p:nvPr/>
        </p:nvSpPr>
        <p:spPr>
          <a:xfrm>
            <a:off x="1602417" y="3848387"/>
            <a:ext cx="4956331" cy="806506"/>
          </a:xfrm>
          <a:prstGeom prst="rect">
            <a:avLst/>
          </a:prstGeom>
        </p:spPr>
        <p:txBody>
          <a:bodyPr vert="horz" lIns="0" tIns="0" rIns="0" bIns="0" rtlCol="0">
            <a:normAutofit/>
          </a:bodyPr>
          <a:lstStyle>
            <a:lvl1pPr marL="0" marR="0" indent="0" algn="l" defTabSz="913943" rtl="0" eaLnBrk="1" fontAlgn="auto" latinLnBrk="0" hangingPunct="1">
              <a:lnSpc>
                <a:spcPct val="100000"/>
              </a:lnSpc>
              <a:spcBef>
                <a:spcPts val="0"/>
              </a:spcBef>
              <a:spcAft>
                <a:spcPts val="1199"/>
              </a:spcAft>
              <a:buClr>
                <a:srgbClr val="FFE600"/>
              </a:buClr>
              <a:buSzPct val="70000"/>
              <a:buFont typeface="Arial" pitchFamily="34" charset="0"/>
              <a:buNone/>
              <a:tabLst/>
              <a:defRPr kumimoji="0" lang="de-DE" sz="1999" b="0" i="0" u="none" strike="noStrike" kern="1200" cap="none" spc="0" normalizeH="0" baseline="0" noProof="0">
                <a:ln>
                  <a:noFill/>
                </a:ln>
                <a:solidFill>
                  <a:schemeClr val="bg1"/>
                </a:solidFill>
                <a:effectLst/>
                <a:uLnTx/>
                <a:uFillTx/>
                <a:latin typeface="EYInterstate" panose="02000503020000020004" pitchFamily="2" charset="0"/>
                <a:ea typeface="+mn-ea"/>
                <a:cs typeface="Arial" pitchFamily="34" charset="0"/>
              </a:defRPr>
            </a:lvl1pPr>
            <a:lvl2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599" b="1" i="0" u="none" strike="noStrike" kern="1200" cap="none" spc="0" normalizeH="0" baseline="0" noProof="0">
                <a:ln>
                  <a:noFill/>
                </a:ln>
                <a:solidFill>
                  <a:srgbClr val="404040"/>
                </a:solidFill>
                <a:effectLst/>
                <a:uLnTx/>
                <a:uFillTx/>
                <a:latin typeface="EYInterstate Light" panose="02000506000000020004" pitchFamily="2" charset="0"/>
                <a:ea typeface="+mn-ea"/>
                <a:cs typeface="+mn-cs"/>
              </a:defRPr>
            </a:lvl2pPr>
            <a:lvl3pPr marL="913943" marR="0" indent="0" algn="ctr"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799" b="0" i="0" u="none" strike="noStrike" kern="1200" cap="none" spc="0" normalizeH="0" baseline="0" noProof="0">
                <a:ln>
                  <a:noFill/>
                </a:ln>
                <a:solidFill>
                  <a:schemeClr val="tx1">
                    <a:tint val="75000"/>
                  </a:schemeClr>
                </a:solidFill>
                <a:effectLst/>
                <a:uLnTx/>
                <a:uFillTx/>
                <a:latin typeface="EYInterstate Light" panose="02000506000000020004" pitchFamily="2" charset="0"/>
                <a:ea typeface="+mn-ea"/>
                <a:cs typeface="+mn-cs"/>
              </a:defRPr>
            </a:lvl3pPr>
            <a:lvl4pPr marL="1370914" marR="0" indent="0" algn="ctr"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599" b="0" i="0" u="none" strike="noStrike" kern="1200" cap="none" spc="0" normalizeH="0" baseline="0" noProof="0">
                <a:ln>
                  <a:noFill/>
                </a:ln>
                <a:solidFill>
                  <a:schemeClr val="tx1">
                    <a:tint val="75000"/>
                  </a:schemeClr>
                </a:solidFill>
                <a:effectLst/>
                <a:uLnTx/>
                <a:uFillTx/>
                <a:latin typeface="EYInterstate Light" panose="02000506000000020004" pitchFamily="2" charset="0"/>
                <a:ea typeface="+mn-ea"/>
                <a:cs typeface="+mn-cs"/>
              </a:defRPr>
            </a:lvl4pPr>
            <a:lvl5pPr marL="1827886" indent="0" algn="ctr" defTabSz="913943" rtl="0" eaLnBrk="1" latinLnBrk="0" hangingPunct="1">
              <a:lnSpc>
                <a:spcPct val="100000"/>
              </a:lnSpc>
              <a:spcBef>
                <a:spcPts val="0"/>
              </a:spcBef>
              <a:spcAft>
                <a:spcPts val="600"/>
              </a:spcAft>
              <a:buClr>
                <a:srgbClr val="FFE600"/>
              </a:buClr>
              <a:buSzPct val="70000"/>
              <a:buFont typeface="Arial" pitchFamily="34" charset="0"/>
              <a:buNone/>
              <a:tabLst/>
              <a:defRPr kumimoji="0" lang="de-DE" sz="1399" b="0" i="0" u="none" strike="noStrike" kern="1200" cap="none" spc="0" normalizeH="0" baseline="0" noProof="0">
                <a:ln>
                  <a:noFill/>
                </a:ln>
                <a:solidFill>
                  <a:schemeClr val="tx1">
                    <a:tint val="75000"/>
                  </a:schemeClr>
                </a:solidFill>
                <a:effectLst/>
                <a:uLnTx/>
                <a:uFillTx/>
                <a:latin typeface="EYInterstate Light" panose="02000506000000020004" pitchFamily="2" charset="0"/>
                <a:ea typeface="+mn-ea"/>
                <a:cs typeface="+mn-cs"/>
              </a:defRPr>
            </a:lvl5pPr>
            <a:lvl6pPr marL="2284857" indent="0" algn="ctr" defTabSz="913943" rtl="0" eaLnBrk="1" latinLnBrk="0" hangingPunct="1">
              <a:spcBef>
                <a:spcPct val="20000"/>
              </a:spcBef>
              <a:buFont typeface="Arial" pitchFamily="34" charset="0"/>
              <a:buNone/>
              <a:defRPr sz="1999" kern="1200">
                <a:solidFill>
                  <a:schemeClr val="tx1">
                    <a:tint val="75000"/>
                  </a:schemeClr>
                </a:solidFill>
                <a:latin typeface="+mn-lt"/>
                <a:ea typeface="+mn-ea"/>
                <a:cs typeface="+mn-cs"/>
              </a:defRPr>
            </a:lvl6pPr>
            <a:lvl7pPr marL="2741828" indent="0" algn="ctr" defTabSz="913943" rtl="0" eaLnBrk="1" latinLnBrk="0" hangingPunct="1">
              <a:spcBef>
                <a:spcPct val="20000"/>
              </a:spcBef>
              <a:buFont typeface="Arial" pitchFamily="34" charset="0"/>
              <a:buNone/>
              <a:defRPr sz="1999" kern="1200">
                <a:solidFill>
                  <a:schemeClr val="tx1">
                    <a:tint val="75000"/>
                  </a:schemeClr>
                </a:solidFill>
                <a:latin typeface="+mn-lt"/>
                <a:ea typeface="+mn-ea"/>
                <a:cs typeface="+mn-cs"/>
              </a:defRPr>
            </a:lvl7pPr>
            <a:lvl8pPr marL="3198800" indent="0" algn="ctr" defTabSz="913943" rtl="0" eaLnBrk="1" latinLnBrk="0" hangingPunct="1">
              <a:spcBef>
                <a:spcPct val="20000"/>
              </a:spcBef>
              <a:buFont typeface="Arial" pitchFamily="34" charset="0"/>
              <a:buNone/>
              <a:defRPr sz="1999" kern="1200">
                <a:solidFill>
                  <a:schemeClr val="tx1">
                    <a:tint val="75000"/>
                  </a:schemeClr>
                </a:solidFill>
                <a:latin typeface="+mn-lt"/>
                <a:ea typeface="+mn-ea"/>
                <a:cs typeface="+mn-cs"/>
              </a:defRPr>
            </a:lvl8pPr>
            <a:lvl9pPr marL="3655771" indent="0" algn="ctr" defTabSz="913943" rtl="0" eaLnBrk="1" latinLnBrk="0" hangingPunct="1">
              <a:spcBef>
                <a:spcPct val="20000"/>
              </a:spcBef>
              <a:buFont typeface="Arial" pitchFamily="34" charset="0"/>
              <a:buNone/>
              <a:defRPr sz="1999" kern="1200">
                <a:solidFill>
                  <a:schemeClr val="tx1">
                    <a:tint val="75000"/>
                  </a:schemeClr>
                </a:solidFill>
                <a:latin typeface="+mn-lt"/>
                <a:ea typeface="+mn-ea"/>
                <a:cs typeface="+mn-cs"/>
              </a:defRPr>
            </a:lvl9pPr>
          </a:lstStyle>
          <a:p>
            <a:pPr lvl="1"/>
            <a:r>
              <a:rPr lang="it-IT" b="0" i="1" dirty="0">
                <a:solidFill>
                  <a:srgbClr val="2E2E38"/>
                </a:solidFill>
              </a:rPr>
              <a:t>Progetto di riconversione e riqualificazione industriale dell’area di crisi industriale complessa dei sistemi locali del lavoro di Melfi, Potenza e Rionero in Vulture</a:t>
            </a:r>
            <a:endParaRPr lang="en-GB" i="1" dirty="0">
              <a:solidFill>
                <a:srgbClr val="2E2E38"/>
              </a:solidFill>
            </a:endParaRPr>
          </a:p>
        </p:txBody>
      </p:sp>
      <p:pic>
        <p:nvPicPr>
          <p:cNvPr id="6" name="Picture 5" descr="A white outline of a bird with a black background&#10;&#10;Description automatically generated">
            <a:extLst>
              <a:ext uri="{FF2B5EF4-FFF2-40B4-BE49-F238E27FC236}">
                <a16:creationId xmlns:a16="http://schemas.microsoft.com/office/drawing/2014/main" id="{5A3F04A0-120B-8297-AEF1-6EF3C299CC85}"/>
              </a:ext>
            </a:extLst>
          </p:cNvPr>
          <p:cNvPicPr>
            <a:picLocks noChangeAspect="1"/>
          </p:cNvPicPr>
          <p:nvPr/>
        </p:nvPicPr>
        <p:blipFill>
          <a:blip r:embed="rId5"/>
          <a:stretch>
            <a:fillRect/>
          </a:stretch>
        </p:blipFill>
        <p:spPr>
          <a:xfrm>
            <a:off x="1762673" y="672113"/>
            <a:ext cx="1404733" cy="941862"/>
          </a:xfrm>
          <a:prstGeom prst="rect">
            <a:avLst/>
          </a:prstGeom>
        </p:spPr>
      </p:pic>
    </p:spTree>
    <p:extLst>
      <p:ext uri="{BB962C8B-B14F-4D97-AF65-F5344CB8AC3E}">
        <p14:creationId xmlns:p14="http://schemas.microsoft.com/office/powerpoint/2010/main" val="3706603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41" name="Picture 141">
            <a:hlinkClick r:id="rId2"/>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947927" y="556259"/>
            <a:ext cx="5148073" cy="5635752"/>
          </a:xfrm>
          <a:prstGeom prst="rect">
            <a:avLst/>
          </a:prstGeom>
          <a:noFill/>
        </p:spPr>
      </p:pic>
      <p:sp>
        <p:nvSpPr>
          <p:cNvPr id="153" name="Freeform 153">
            <a:hlinkClick r:id="rId4"/>
          </p:cNvPr>
          <p:cNvSpPr/>
          <p:nvPr/>
        </p:nvSpPr>
        <p:spPr>
          <a:xfrm>
            <a:off x="6324599" y="836580"/>
            <a:ext cx="5608320" cy="4752086"/>
          </a:xfrm>
          <a:custGeom>
            <a:avLst/>
            <a:gdLst/>
            <a:ahLst/>
            <a:cxnLst/>
            <a:rect l="0" t="0" r="0" b="0"/>
            <a:pathLst>
              <a:path w="5608320" h="4349497">
                <a:moveTo>
                  <a:pt x="0" y="4349497"/>
                </a:moveTo>
                <a:lnTo>
                  <a:pt x="5608320" y="4349497"/>
                </a:lnTo>
                <a:lnTo>
                  <a:pt x="5608320" y="0"/>
                </a:lnTo>
                <a:lnTo>
                  <a:pt x="0" y="0"/>
                </a:lnTo>
                <a:lnTo>
                  <a:pt x="0" y="4349497"/>
                </a:lnTo>
                <a:close/>
              </a:path>
            </a:pathLst>
          </a:custGeom>
          <a:noFill/>
          <a:ln w="12700" cap="flat" cmpd="sng">
            <a:solidFill>
              <a:srgbClr val="4472C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tab pos="344805" algn="l"/>
              </a:tabLst>
              <a:defRPr/>
            </a:pPr>
            <a:endParaRPr kumimoji="0" lang="it-IT" sz="1800" i="0" strike="noStrike" kern="0" cap="none" spc="0" normalizeH="0" baseline="0" noProof="0" dirty="0">
              <a:ln>
                <a:noFill/>
              </a:ln>
              <a:solidFill>
                <a:srgbClr val="0000FF"/>
              </a:solidFill>
              <a:effectLst/>
              <a:uLnTx/>
              <a:uFillTx/>
              <a:latin typeface="Calibri"/>
              <a:hlinkClick r:id="rId5">
                <a:extLst>
                  <a:ext uri="{A12FA001-AC4F-418D-AE19-62706E023703}">
                    <ahyp:hlinkClr xmlns:ahyp="http://schemas.microsoft.com/office/drawing/2018/hyperlinkcolor" val="tx"/>
                  </a:ext>
                </a:extLst>
              </a:hlinkClick>
            </a:endParaRPr>
          </a:p>
          <a:p>
            <a:pPr marL="0" marR="0" lvl="0" indent="0" defTabSz="914400" eaLnBrk="1" fontAlgn="auto" latinLnBrk="0" hangingPunct="1">
              <a:lnSpc>
                <a:spcPct val="100000"/>
              </a:lnSpc>
              <a:spcBef>
                <a:spcPts val="0"/>
              </a:spcBef>
              <a:spcAft>
                <a:spcPts val="0"/>
              </a:spcAft>
              <a:buClrTx/>
              <a:buSzTx/>
              <a:buFontTx/>
              <a:buNone/>
              <a:tabLst>
                <a:tab pos="344805" algn="l"/>
              </a:tabLst>
              <a:defRPr/>
            </a:pPr>
            <a:endParaRPr lang="it-IT" kern="0" dirty="0">
              <a:solidFill>
                <a:srgbClr val="0000FF"/>
              </a:solidFill>
              <a:latin typeface="Calibri"/>
              <a:hlinkClick r:id="rId5">
                <a:extLst>
                  <a:ext uri="{A12FA001-AC4F-418D-AE19-62706E023703}">
                    <ahyp:hlinkClr xmlns:ahyp="http://schemas.microsoft.com/office/drawing/2018/hyperlinkcolor" val="tx"/>
                  </a:ext>
                </a:extLst>
              </a:hlinkClick>
            </a:endParaRPr>
          </a:p>
          <a:p>
            <a:pPr lvl="1">
              <a:tabLst>
                <a:tab pos="344805" algn="l"/>
              </a:tabLst>
              <a:defRPr/>
            </a:pPr>
            <a:r>
              <a:rPr kumimoji="0" lang="it-IT" i="0" strike="noStrike" kern="0" cap="none" spc="0" normalizeH="0" baseline="0" noProof="0" dirty="0">
                <a:ln>
                  <a:noFill/>
                </a:ln>
                <a:solidFill>
                  <a:srgbClr val="0000FF"/>
                </a:solidFill>
                <a:effectLst/>
                <a:uLnTx/>
                <a:uFillTx/>
                <a:latin typeface="Calibri"/>
                <a:hlinkClick r:id="rId5">
                  <a:extLst>
                    <a:ext uri="{A12FA001-AC4F-418D-AE19-62706E023703}">
                      <ahyp:hlinkClr xmlns:ahyp="http://schemas.microsoft.com/office/drawing/2018/hyperlinkcolor" val="tx"/>
                    </a:ext>
                  </a:extLst>
                </a:hlinkClick>
              </a:rPr>
              <a:t>1)	4_462_468.pdf (apibas.it)</a:t>
            </a:r>
          </a:p>
          <a:p>
            <a:pPr lvl="1">
              <a:lnSpc>
                <a:spcPts val="2160"/>
              </a:lnSpc>
              <a:tabLst>
                <a:tab pos="344805" algn="l"/>
              </a:tabLst>
              <a:defRPr/>
            </a:pPr>
            <a:r>
              <a:rPr kumimoji="0" lang="it-IT" sz="1802" i="0" strike="noStrike" kern="0" cap="none" spc="0" normalizeH="0" baseline="0" noProof="0" dirty="0">
                <a:ln>
                  <a:noFill/>
                </a:ln>
                <a:solidFill>
                  <a:srgbClr val="0000FF"/>
                </a:solidFill>
                <a:effectLst/>
                <a:uLnTx/>
                <a:uFillTx/>
                <a:latin typeface="Calibri"/>
                <a:hlinkClick r:id="rId6">
                  <a:extLst>
                    <a:ext uri="{A12FA001-AC4F-418D-AE19-62706E023703}">
                      <ahyp:hlinkClr xmlns:ahyp="http://schemas.microsoft.com/office/drawing/2018/hyperlinkcolor" val="tx"/>
                    </a:ext>
                  </a:extLst>
                </a:hlinkClick>
              </a:rPr>
              <a:t>2)	4_736_734_726_725_1160_741_739.pdf</a:t>
            </a:r>
            <a:r>
              <a:rPr kumimoji="0" lang="it-IT" sz="1802" i="0" strike="noStrike" kern="0" cap="none" spc="0" normalizeH="0" baseline="0" noProof="0" dirty="0">
                <a:ln>
                  <a:noFill/>
                </a:ln>
                <a:solidFill>
                  <a:srgbClr val="0000FF"/>
                </a:solidFill>
                <a:effectLst/>
                <a:uLnTx/>
                <a:uFillTx/>
                <a:latin typeface="Calibri"/>
              </a:rPr>
              <a:t> </a:t>
            </a:r>
          </a:p>
          <a:p>
            <a:pPr marL="802005" lvl="1">
              <a:lnSpc>
                <a:spcPts val="2162"/>
              </a:lnSpc>
              <a:defRPr/>
            </a:pPr>
            <a:r>
              <a:rPr kumimoji="0" lang="it-IT" i="0" strike="noStrike" kern="0" cap="none" spc="0" normalizeH="0" baseline="0" noProof="0" dirty="0">
                <a:ln>
                  <a:noFill/>
                </a:ln>
                <a:solidFill>
                  <a:srgbClr val="0000FF"/>
                </a:solidFill>
                <a:effectLst/>
                <a:uLnTx/>
                <a:uFillTx/>
                <a:latin typeface="Calibri"/>
                <a:hlinkClick r:id="rId6">
                  <a:extLst>
                    <a:ext uri="{A12FA001-AC4F-418D-AE19-62706E023703}">
                      <ahyp:hlinkClr xmlns:ahyp="http://schemas.microsoft.com/office/drawing/2018/hyperlinkcolor" val="tx"/>
                    </a:ext>
                  </a:extLst>
                </a:hlinkClick>
              </a:rPr>
              <a:t>(apibas.it)</a:t>
            </a:r>
          </a:p>
          <a:p>
            <a:pPr lvl="1">
              <a:lnSpc>
                <a:spcPts val="2160"/>
              </a:lnSpc>
              <a:tabLst>
                <a:tab pos="344805" algn="l"/>
              </a:tabLst>
              <a:defRPr/>
            </a:pPr>
            <a:r>
              <a:rPr kumimoji="0" lang="it-IT" sz="1802" i="0" strike="noStrike" kern="0" cap="none" spc="0" normalizeH="0" baseline="0" noProof="0" dirty="0">
                <a:ln>
                  <a:noFill/>
                </a:ln>
                <a:solidFill>
                  <a:srgbClr val="0000FF"/>
                </a:solidFill>
                <a:effectLst/>
                <a:uLnTx/>
                <a:uFillTx/>
                <a:latin typeface="Calibri"/>
                <a:hlinkClick r:id="rId7">
                  <a:extLst>
                    <a:ext uri="{A12FA001-AC4F-418D-AE19-62706E023703}">
                      <ahyp:hlinkClr xmlns:ahyp="http://schemas.microsoft.com/office/drawing/2018/hyperlinkcolor" val="tx"/>
                    </a:ext>
                  </a:extLst>
                </a:hlinkClick>
              </a:rPr>
              <a:t>3)	4_751.pdf (apibas.it)</a:t>
            </a:r>
          </a:p>
          <a:p>
            <a:pPr lvl="1">
              <a:lnSpc>
                <a:spcPts val="2161"/>
              </a:lnSpc>
              <a:tabLst>
                <a:tab pos="344805" algn="l"/>
              </a:tabLst>
              <a:defRPr/>
            </a:pPr>
            <a:r>
              <a:rPr kumimoji="0" lang="it-IT" i="0" strike="noStrike" kern="0" cap="none" spc="0" normalizeH="0" baseline="0" noProof="0" dirty="0">
                <a:ln>
                  <a:noFill/>
                </a:ln>
                <a:solidFill>
                  <a:srgbClr val="0000FF"/>
                </a:solidFill>
                <a:effectLst/>
                <a:uLnTx/>
                <a:uFillTx/>
                <a:latin typeface="Calibri"/>
                <a:hlinkClick r:id="rId8">
                  <a:extLst>
                    <a:ext uri="{A12FA001-AC4F-418D-AE19-62706E023703}">
                      <ahyp:hlinkClr xmlns:ahyp="http://schemas.microsoft.com/office/drawing/2018/hyperlinkcolor" val="tx"/>
                    </a:ext>
                  </a:extLst>
                </a:hlinkClick>
              </a:rPr>
              <a:t>4)	5_304_305_307_1752.pdf (apibas.it)</a:t>
            </a:r>
          </a:p>
          <a:p>
            <a:pPr lvl="1">
              <a:lnSpc>
                <a:spcPts val="2159"/>
              </a:lnSpc>
              <a:tabLst>
                <a:tab pos="344805" algn="l"/>
              </a:tabLst>
              <a:defRPr/>
            </a:pPr>
            <a:r>
              <a:rPr kumimoji="0" lang="it-IT" i="0" strike="noStrike" kern="0" cap="none" spc="0" normalizeH="0" baseline="0" noProof="0" dirty="0">
                <a:ln>
                  <a:noFill/>
                </a:ln>
                <a:solidFill>
                  <a:srgbClr val="0000FF"/>
                </a:solidFill>
                <a:effectLst/>
                <a:uLnTx/>
                <a:uFillTx/>
                <a:latin typeface="Calibri"/>
                <a:hlinkClick r:id="rId9">
                  <a:extLst>
                    <a:ext uri="{A12FA001-AC4F-418D-AE19-62706E023703}">
                      <ahyp:hlinkClr xmlns:ahyp="http://schemas.microsoft.com/office/drawing/2018/hyperlinkcolor" val="tx"/>
                    </a:ext>
                  </a:extLst>
                </a:hlinkClick>
              </a:rPr>
              <a:t>5)	</a:t>
            </a:r>
            <a:r>
              <a:rPr kumimoji="0" lang="it-IT" i="0" kern="0" cap="none" spc="0" normalizeH="0" baseline="0" noProof="0" dirty="0">
                <a:ln>
                  <a:noFill/>
                </a:ln>
                <a:solidFill>
                  <a:srgbClr val="0000FF"/>
                </a:solidFill>
                <a:effectLst/>
                <a:uLnTx/>
                <a:uFillTx/>
                <a:latin typeface="Calibri"/>
                <a:hlinkClick r:id="rId9">
                  <a:extLst>
                    <a:ext uri="{A12FA001-AC4F-418D-AE19-62706E023703}">
                      <ahyp:hlinkClr xmlns:ahyp="http://schemas.microsoft.com/office/drawing/2018/hyperlinkcolor" val="tx"/>
                    </a:ext>
                  </a:extLst>
                </a:hlinkClick>
              </a:rPr>
              <a:t>5_1097.pdf (apibas.it)</a:t>
            </a:r>
          </a:p>
          <a:p>
            <a:pPr lvl="1">
              <a:lnSpc>
                <a:spcPts val="2160"/>
              </a:lnSpc>
              <a:tabLst>
                <a:tab pos="344805" algn="l"/>
              </a:tabLst>
              <a:defRPr/>
            </a:pPr>
            <a:r>
              <a:rPr kumimoji="0" lang="it-IT" sz="1802" i="0" strike="noStrike" kern="0" cap="none" spc="0" normalizeH="0" baseline="0" noProof="0" dirty="0">
                <a:ln>
                  <a:noFill/>
                </a:ln>
                <a:solidFill>
                  <a:srgbClr val="0000FF"/>
                </a:solidFill>
                <a:effectLst/>
                <a:uLnTx/>
                <a:uFillTx/>
                <a:latin typeface="Calibri"/>
                <a:hlinkClick r:id="rId10">
                  <a:extLst>
                    <a:ext uri="{A12FA001-AC4F-418D-AE19-62706E023703}">
                      <ahyp:hlinkClr xmlns:ahyp="http://schemas.microsoft.com/office/drawing/2018/hyperlinkcolor" val="tx"/>
                    </a:ext>
                  </a:extLst>
                </a:hlinkClick>
              </a:rPr>
              <a:t>6)	5_1227_1152.pdf (apibas.it)</a:t>
            </a:r>
          </a:p>
          <a:p>
            <a:pPr lvl="1">
              <a:lnSpc>
                <a:spcPts val="2161"/>
              </a:lnSpc>
              <a:tabLst>
                <a:tab pos="344805" algn="l"/>
              </a:tabLst>
              <a:defRPr/>
            </a:pPr>
            <a:r>
              <a:rPr kumimoji="0" lang="it-IT" i="0" strike="noStrike" kern="0" cap="none" spc="0" normalizeH="0" baseline="0" noProof="0" dirty="0">
                <a:ln>
                  <a:noFill/>
                </a:ln>
                <a:solidFill>
                  <a:srgbClr val="0000FF"/>
                </a:solidFill>
                <a:effectLst/>
                <a:uLnTx/>
                <a:uFillTx/>
                <a:latin typeface="Calibri"/>
                <a:hlinkClick r:id="rId11">
                  <a:extLst>
                    <a:ext uri="{A12FA001-AC4F-418D-AE19-62706E023703}">
                      <ahyp:hlinkClr xmlns:ahyp="http://schemas.microsoft.com/office/drawing/2018/hyperlinkcolor" val="tx"/>
                    </a:ext>
                  </a:extLst>
                </a:hlinkClick>
              </a:rPr>
              <a:t>7)	5_1717_1797_1799.pdf (apibas.it)</a:t>
            </a:r>
          </a:p>
          <a:p>
            <a:pPr lvl="1">
              <a:lnSpc>
                <a:spcPts val="2160"/>
              </a:lnSpc>
              <a:tabLst>
                <a:tab pos="344805" algn="l"/>
              </a:tabLst>
              <a:defRPr/>
            </a:pPr>
            <a:r>
              <a:rPr kumimoji="0" lang="it-IT" i="0" strike="noStrike" kern="0" cap="none" spc="0" normalizeH="0" baseline="0" noProof="0" dirty="0">
                <a:ln>
                  <a:noFill/>
                </a:ln>
                <a:solidFill>
                  <a:srgbClr val="0000FF"/>
                </a:solidFill>
                <a:effectLst/>
                <a:uLnTx/>
                <a:uFillTx/>
                <a:latin typeface="Calibri"/>
                <a:hlinkClick r:id="rId12">
                  <a:extLst>
                    <a:ext uri="{A12FA001-AC4F-418D-AE19-62706E023703}">
                      <ahyp:hlinkClr xmlns:ahyp="http://schemas.microsoft.com/office/drawing/2018/hyperlinkcolor" val="tx"/>
                    </a:ext>
                  </a:extLst>
                </a:hlinkClick>
              </a:rPr>
              <a:t>8)	5_1800.pdf (apibas.it)</a:t>
            </a:r>
          </a:p>
          <a:p>
            <a:pPr lvl="1">
              <a:lnSpc>
                <a:spcPts val="2163"/>
              </a:lnSpc>
              <a:tabLst>
                <a:tab pos="344805" algn="l"/>
              </a:tabLst>
              <a:defRPr/>
            </a:pPr>
            <a:r>
              <a:rPr kumimoji="0" lang="it-IT" i="0" strike="noStrike" kern="0" cap="none" spc="0" normalizeH="0" baseline="0" noProof="0" dirty="0">
                <a:ln>
                  <a:noFill/>
                </a:ln>
                <a:solidFill>
                  <a:srgbClr val="0000FF"/>
                </a:solidFill>
                <a:effectLst/>
                <a:uLnTx/>
                <a:uFillTx/>
                <a:latin typeface="Calibri"/>
                <a:hlinkClick r:id="rId13">
                  <a:extLst>
                    <a:ext uri="{A12FA001-AC4F-418D-AE19-62706E023703}">
                      <ahyp:hlinkClr xmlns:ahyp="http://schemas.microsoft.com/office/drawing/2018/hyperlinkcolor" val="tx"/>
                    </a:ext>
                  </a:extLst>
                </a:hlinkClick>
              </a:rPr>
              <a:t>9)	</a:t>
            </a:r>
            <a:r>
              <a:rPr kumimoji="0" lang="it-IT" i="0" strike="noStrike" kern="0" cap="none" spc="0" normalizeH="0" baseline="0" noProof="0" dirty="0">
                <a:ln>
                  <a:noFill/>
                </a:ln>
                <a:solidFill>
                  <a:srgbClr val="0000FF"/>
                </a:solidFill>
                <a:effectLst/>
                <a:uLnTx/>
                <a:uFillTx/>
                <a:latin typeface="Calibri"/>
                <a:hlinkClick r:id="" action="ppaction://noaction">
                  <a:extLst>
                    <a:ext uri="{A12FA001-AC4F-418D-AE19-62706E023703}">
                      <ahyp:hlinkClr xmlns:ahyp="http://schemas.microsoft.com/office/drawing/2018/hyperlinkcolor" val="tx"/>
                    </a:ext>
                  </a:extLst>
                </a:hlinkClick>
              </a:rPr>
              <a:t>7_310_304_312_313_885_887_447_449_306_88</a:t>
            </a:r>
          </a:p>
          <a:p>
            <a:pPr marL="802005" lvl="1">
              <a:lnSpc>
                <a:spcPts val="2160"/>
              </a:lnSpc>
              <a:defRPr/>
            </a:pPr>
            <a:r>
              <a:rPr kumimoji="0" lang="it-IT" i="0" strike="noStrike" kern="0" cap="none" spc="0" normalizeH="0" baseline="0" noProof="0" dirty="0">
                <a:ln>
                  <a:noFill/>
                </a:ln>
                <a:solidFill>
                  <a:srgbClr val="0000FF"/>
                </a:solidFill>
                <a:effectLst/>
                <a:uLnTx/>
                <a:uFillTx/>
                <a:latin typeface="Calibri"/>
                <a:hlinkClick r:id="" action="ppaction://noaction">
                  <a:extLst>
                    <a:ext uri="{A12FA001-AC4F-418D-AE19-62706E023703}">
                      <ahyp:hlinkClr xmlns:ahyp="http://schemas.microsoft.com/office/drawing/2018/hyperlinkcolor" val="tx"/>
                    </a:ext>
                  </a:extLst>
                </a:hlinkClick>
              </a:rPr>
              <a:t>6.pdf (apibas.it)</a:t>
            </a:r>
          </a:p>
          <a:p>
            <a:pPr lvl="1">
              <a:lnSpc>
                <a:spcPts val="2160"/>
              </a:lnSpc>
              <a:defRPr/>
            </a:pPr>
            <a:r>
              <a:rPr kumimoji="0" lang="it-IT" sz="1802" i="0" strike="noStrike" kern="0" cap="none" spc="0" normalizeH="0" baseline="0" noProof="0" dirty="0">
                <a:ln>
                  <a:noFill/>
                </a:ln>
                <a:solidFill>
                  <a:srgbClr val="0000FF"/>
                </a:solidFill>
                <a:effectLst/>
                <a:uLnTx/>
                <a:uFillTx/>
                <a:latin typeface="Calibri"/>
                <a:hlinkClick r:id="rId4">
                  <a:extLst>
                    <a:ext uri="{A12FA001-AC4F-418D-AE19-62706E023703}">
                      <ahyp:hlinkClr xmlns:ahyp="http://schemas.microsoft.com/office/drawing/2018/hyperlinkcolor" val="tx"/>
                    </a:ext>
                  </a:extLst>
                </a:hlinkClick>
              </a:rPr>
              <a:t>10</a:t>
            </a:r>
            <a:r>
              <a:rPr kumimoji="0" lang="it-IT" sz="1802" i="0" strike="noStrike" kern="0" cap="none" spc="344" normalizeH="0" baseline="0" noProof="0" dirty="0">
                <a:ln>
                  <a:noFill/>
                </a:ln>
                <a:solidFill>
                  <a:srgbClr val="0000FF"/>
                </a:solidFill>
                <a:effectLst/>
                <a:uLnTx/>
                <a:uFillTx/>
                <a:latin typeface="Calibri"/>
                <a:hlinkClick r:id="rId4">
                  <a:extLst>
                    <a:ext uri="{A12FA001-AC4F-418D-AE19-62706E023703}">
                      <ahyp:hlinkClr xmlns:ahyp="http://schemas.microsoft.com/office/drawing/2018/hyperlinkcolor" val="tx"/>
                    </a:ext>
                  </a:extLst>
                </a:hlinkClick>
              </a:rPr>
              <a:t>)</a:t>
            </a:r>
            <a:r>
              <a:rPr kumimoji="0" lang="it-IT" sz="1802" i="0" strike="noStrike" kern="0" cap="none" spc="0" normalizeH="0" baseline="0" noProof="0" dirty="0">
                <a:ln>
                  <a:noFill/>
                </a:ln>
                <a:solidFill>
                  <a:srgbClr val="0000FF"/>
                </a:solidFill>
                <a:effectLst/>
                <a:uLnTx/>
                <a:uFillTx/>
                <a:latin typeface="Calibri"/>
                <a:hlinkClick r:id="rId4">
                  <a:extLst>
                    <a:ext uri="{A12FA001-AC4F-418D-AE19-62706E023703}">
                      <ahyp:hlinkClr xmlns:ahyp="http://schemas.microsoft.com/office/drawing/2018/hyperlinkcolor" val="tx"/>
                    </a:ext>
                  </a:extLst>
                </a:hlinkClick>
              </a:rPr>
              <a:t>9_665_661_1068.pdf (apibas.it)</a:t>
            </a:r>
          </a:p>
          <a:p>
            <a:endParaRPr lang="it-IT" dirty="0">
              <a:solidFill>
                <a:schemeClr val="bg1"/>
              </a:solidFill>
            </a:endParaRPr>
          </a:p>
        </p:txBody>
      </p:sp>
      <p:sp>
        <p:nvSpPr>
          <p:cNvPr id="155" name="Rectangle 155"/>
          <p:cNvSpPr/>
          <p:nvPr/>
        </p:nvSpPr>
        <p:spPr>
          <a:xfrm>
            <a:off x="6503161" y="930809"/>
            <a:ext cx="1804981" cy="27732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1" i="0" u="none" strike="noStrike" kern="0" cap="none" spc="0" normalizeH="0" baseline="0" noProof="0" dirty="0">
                <a:ln>
                  <a:noFill/>
                </a:ln>
                <a:solidFill>
                  <a:schemeClr val="bg1"/>
                </a:solidFill>
                <a:effectLst/>
                <a:uLnTx/>
                <a:uFillTx/>
                <a:latin typeface="Calibri-Bold"/>
              </a:rPr>
              <a:t>LOTTI DISPONIBILI </a:t>
            </a:r>
          </a:p>
        </p:txBody>
      </p:sp>
      <p:sp>
        <p:nvSpPr>
          <p:cNvPr id="3" name="TextBox 2">
            <a:extLst>
              <a:ext uri="{FF2B5EF4-FFF2-40B4-BE49-F238E27FC236}">
                <a16:creationId xmlns:a16="http://schemas.microsoft.com/office/drawing/2014/main" id="{CED6D909-77F6-A618-EC60-27FFE4E8A18D}"/>
              </a:ext>
            </a:extLst>
          </p:cNvPr>
          <p:cNvSpPr txBox="1"/>
          <p:nvPr/>
        </p:nvSpPr>
        <p:spPr>
          <a:xfrm>
            <a:off x="751461" y="6240461"/>
            <a:ext cx="6094378" cy="369653"/>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0000FF"/>
                </a:solidFill>
                <a:effectLst/>
                <a:uLnTx/>
                <a:uFillTx/>
                <a:latin typeface="Calibri"/>
                <a:hlinkClick r:id="rId2">
                  <a:extLst>
                    <a:ext uri="{A12FA001-AC4F-418D-AE19-62706E023703}">
                      <ahyp:hlinkClr xmlns:ahyp="http://schemas.microsoft.com/office/drawing/2018/hyperlinkcolor" val="tx"/>
                    </a:ext>
                  </a:extLst>
                </a:hlinkClick>
              </a:rPr>
              <a:t>API-</a:t>
            </a:r>
            <a:r>
              <a:rPr kumimoji="0" lang="it-IT" sz="1802" b="0" i="0" u="none" strike="noStrike" kern="0" cap="none" spc="0" normalizeH="0" baseline="0" noProof="0" dirty="0" err="1">
                <a:ln>
                  <a:noFill/>
                </a:ln>
                <a:solidFill>
                  <a:srgbClr val="0000FF"/>
                </a:solidFill>
                <a:effectLst/>
                <a:uLnTx/>
                <a:uFillTx/>
                <a:latin typeface="Calibri"/>
                <a:hlinkClick r:id="rId2">
                  <a:extLst>
                    <a:ext uri="{A12FA001-AC4F-418D-AE19-62706E023703}">
                      <ahyp:hlinkClr xmlns:ahyp="http://schemas.microsoft.com/office/drawing/2018/hyperlinkcolor" val="tx"/>
                    </a:ext>
                  </a:extLst>
                </a:hlinkClick>
              </a:rPr>
              <a:t>Bas</a:t>
            </a:r>
            <a:r>
              <a:rPr kumimoji="0" lang="it-IT" sz="1802" b="0" i="0" u="none" strike="noStrike" kern="0" cap="none" spc="0" normalizeH="0" baseline="0" noProof="0" dirty="0">
                <a:ln>
                  <a:noFill/>
                </a:ln>
                <a:solidFill>
                  <a:srgbClr val="0000FF"/>
                </a:solidFill>
                <a:effectLst/>
                <a:uLnTx/>
                <a:uFillTx/>
                <a:latin typeface="Calibri"/>
                <a:hlinkClick r:id="rId2">
                  <a:extLst>
                    <a:ext uri="{A12FA001-AC4F-418D-AE19-62706E023703}">
                      <ahyp:hlinkClr xmlns:ahyp="http://schemas.microsoft.com/office/drawing/2018/hyperlinkcolor" val="tx"/>
                    </a:ext>
                  </a:extLst>
                </a:hlinkClick>
              </a:rPr>
              <a:t> S.p.A. Area industriale di San Nicola di Melfi (apibas.it)</a:t>
            </a:r>
          </a:p>
        </p:txBody>
      </p:sp>
      <p:pic>
        <p:nvPicPr>
          <p:cNvPr id="4" name="Picture 103">
            <a:extLst>
              <a:ext uri="{FF2B5EF4-FFF2-40B4-BE49-F238E27FC236}">
                <a16:creationId xmlns:a16="http://schemas.microsoft.com/office/drawing/2014/main" id="{8A56C078-AF51-285F-349B-B3F61BC49806}"/>
              </a:ext>
            </a:extLst>
          </p:cNvPr>
          <p:cNvPicPr>
            <a:picLocks noChangeArrowheads="1"/>
          </p:cNvPicPr>
          <p:nvPr/>
        </p:nvPicPr>
        <p:blipFill>
          <a:blip r:embed="rId14"/>
          <a:srcRect/>
          <a:stretch/>
        </p:blipFill>
        <p:spPr>
          <a:xfrm>
            <a:off x="10304687" y="5638799"/>
            <a:ext cx="1650167" cy="1106424"/>
          </a:xfrm>
          <a:prstGeom prst="rect">
            <a:avLst/>
          </a:prstGeom>
          <a:noFill/>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61" name="Freeform 161">
            <a:hlinkClick r:id="rId2"/>
          </p:cNvPr>
          <p:cNvSpPr/>
          <p:nvPr/>
        </p:nvSpPr>
        <p:spPr>
          <a:xfrm>
            <a:off x="2064892" y="6121972"/>
            <a:ext cx="481584" cy="259080"/>
          </a:xfrm>
          <a:custGeom>
            <a:avLst/>
            <a:gdLst/>
            <a:ahLst/>
            <a:cxnLst/>
            <a:rect l="0" t="0" r="0" b="0"/>
            <a:pathLst>
              <a:path w="481584" h="259080">
                <a:moveTo>
                  <a:pt x="0" y="259080"/>
                </a:moveTo>
                <a:lnTo>
                  <a:pt x="481584" y="259080"/>
                </a:lnTo>
                <a:lnTo>
                  <a:pt x="481584" y="0"/>
                </a:lnTo>
                <a:lnTo>
                  <a:pt x="0" y="0"/>
                </a:lnTo>
                <a:lnTo>
                  <a:pt x="0" y="259080"/>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2" name="Freeform 162">
            <a:hlinkClick r:id="rId2"/>
          </p:cNvPr>
          <p:cNvSpPr/>
          <p:nvPr/>
        </p:nvSpPr>
        <p:spPr>
          <a:xfrm>
            <a:off x="2546476" y="6121972"/>
            <a:ext cx="60960" cy="259080"/>
          </a:xfrm>
          <a:custGeom>
            <a:avLst/>
            <a:gdLst/>
            <a:ahLst/>
            <a:cxnLst/>
            <a:rect l="0" t="0" r="0" b="0"/>
            <a:pathLst>
              <a:path w="60960" h="259080">
                <a:moveTo>
                  <a:pt x="0" y="259080"/>
                </a:moveTo>
                <a:lnTo>
                  <a:pt x="60960" y="259080"/>
                </a:lnTo>
                <a:lnTo>
                  <a:pt x="60960" y="0"/>
                </a:lnTo>
                <a:lnTo>
                  <a:pt x="0" y="0"/>
                </a:lnTo>
                <a:lnTo>
                  <a:pt x="0" y="259080"/>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3" name="Freeform 163">
            <a:hlinkClick r:id="rId2"/>
          </p:cNvPr>
          <p:cNvSpPr/>
          <p:nvPr/>
        </p:nvSpPr>
        <p:spPr>
          <a:xfrm>
            <a:off x="2607436" y="6121972"/>
            <a:ext cx="271272" cy="259080"/>
          </a:xfrm>
          <a:custGeom>
            <a:avLst/>
            <a:gdLst/>
            <a:ahLst/>
            <a:cxnLst/>
            <a:rect l="0" t="0" r="0" b="0"/>
            <a:pathLst>
              <a:path w="271272" h="259080">
                <a:moveTo>
                  <a:pt x="0" y="259080"/>
                </a:moveTo>
                <a:lnTo>
                  <a:pt x="271272" y="259080"/>
                </a:lnTo>
                <a:lnTo>
                  <a:pt x="271272" y="0"/>
                </a:lnTo>
                <a:lnTo>
                  <a:pt x="0" y="0"/>
                </a:lnTo>
                <a:lnTo>
                  <a:pt x="0" y="259080"/>
                </a:lnTo>
                <a:close/>
              </a:path>
            </a:pathLst>
          </a:custGeom>
          <a:solidFill>
            <a:srgbClr val="FFFFFF">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4" name="Freeform 164"/>
          <p:cNvSpPr/>
          <p:nvPr/>
        </p:nvSpPr>
        <p:spPr>
          <a:xfrm>
            <a:off x="543877" y="2382012"/>
            <a:ext cx="5830888" cy="15367"/>
          </a:xfrm>
          <a:custGeom>
            <a:avLst/>
            <a:gdLst/>
            <a:ahLst/>
            <a:cxnLst/>
            <a:rect l="0" t="0" r="0" b="0"/>
            <a:pathLst>
              <a:path w="5830888" h="15367">
                <a:moveTo>
                  <a:pt x="0" y="0"/>
                </a:moveTo>
                <a:lnTo>
                  <a:pt x="1943671" y="0"/>
                </a:lnTo>
                <a:lnTo>
                  <a:pt x="3887280" y="0"/>
                </a:lnTo>
                <a:lnTo>
                  <a:pt x="5830888" y="0"/>
                </a:lnTo>
                <a:lnTo>
                  <a:pt x="5830888" y="15367"/>
                </a:lnTo>
                <a:lnTo>
                  <a:pt x="3887280" y="15367"/>
                </a:lnTo>
                <a:lnTo>
                  <a:pt x="1943671" y="15367"/>
                </a:lnTo>
                <a:lnTo>
                  <a:pt x="0" y="15367"/>
                </a:lnTo>
                <a:close/>
                <a:moveTo>
                  <a:pt x="3932111" y="4475988"/>
                </a:moveTo>
              </a:path>
            </a:pathLst>
          </a:custGeom>
          <a:solidFill>
            <a:srgbClr val="44546A">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65" name="Rectangle 165"/>
          <p:cNvSpPr/>
          <p:nvPr/>
        </p:nvSpPr>
        <p:spPr>
          <a:xfrm>
            <a:off x="544068" y="1397075"/>
            <a:ext cx="10839891" cy="992772"/>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L’area industriale di Vitalba è situata a Nord-Nord-Est della Basilicata dista circa 30 Km dall’area industriale di Melfi ed è ad essa collegata </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per il tramite della strada SS 381 e dalla SP 219.</a:t>
            </a:r>
          </a:p>
          <a:p>
            <a:pPr marL="0" marR="0" lvl="0" indent="0" defTabSz="914400" eaLnBrk="1" fontAlgn="auto" latinLnBrk="0" hangingPunct="1">
              <a:lnSpc>
                <a:spcPts val="2160"/>
              </a:lnSpc>
              <a:spcBef>
                <a:spcPts val="0"/>
              </a:spcBef>
              <a:spcAft>
                <a:spcPts val="0"/>
              </a:spcAft>
              <a:buClrTx/>
              <a:buSzTx/>
              <a:buFontTx/>
              <a:buNone/>
              <a:tabLst>
                <a:tab pos="859535" algn="l"/>
              </a:tabLst>
              <a:defRPr/>
            </a:pPr>
            <a:r>
              <a:rPr kumimoji="0" lang="it-IT" sz="1200" b="0" i="0" u="none" strike="noStrike" kern="0" cap="none" spc="0" normalizeH="0" baseline="0" noProof="0" dirty="0">
                <a:ln>
                  <a:noFill/>
                </a:ln>
                <a:solidFill>
                  <a:schemeClr val="bg1"/>
                </a:solidFill>
                <a:effectLst/>
                <a:uLnTx/>
                <a:uFillTx/>
                <a:latin typeface="Verdana"/>
              </a:rPr>
              <a:t>L’area</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è	ricompresa</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nel</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istemi</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Local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el</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Lavoro</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Rionero</a:t>
            </a:r>
            <a:r>
              <a:rPr kumimoji="0" lang="it-IT" sz="1200" b="0" i="0" u="none" strike="noStrike" kern="0" cap="none" spc="17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in</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Vultur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1206" normalizeH="0" baseline="0" noProof="0" dirty="0">
                <a:ln>
                  <a:noFill/>
                </a:ln>
                <a:solidFill>
                  <a:schemeClr val="bg1"/>
                </a:solidFill>
                <a:effectLst/>
                <a:uLnTx/>
                <a:uFillTx/>
                <a:latin typeface="Verdana"/>
              </a:rPr>
              <a:t>e</a:t>
            </a:r>
            <a:r>
              <a:rPr kumimoji="0" lang="it-IT" sz="1200" b="0" i="0" u="none" strike="noStrike" kern="0" cap="none" spc="0" normalizeH="0" baseline="0" noProof="0" dirty="0">
                <a:ln>
                  <a:noFill/>
                </a:ln>
                <a:solidFill>
                  <a:schemeClr val="bg1"/>
                </a:solidFill>
                <a:effectLst/>
                <a:uLnTx/>
                <a:uFillTx/>
                <a:latin typeface="Verdana"/>
              </a:rPr>
              <a:t>si</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stend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er</a:t>
            </a:r>
            <a:r>
              <a:rPr kumimoji="0" lang="it-IT" sz="1200" b="0" i="0" u="none" strike="noStrike" kern="0" cap="none" spc="17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una</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uperfici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irca</a:t>
            </a:r>
            <a:r>
              <a:rPr kumimoji="0" lang="it-IT" sz="1200" b="0" i="0" u="none" strike="noStrike" kern="0" cap="none" spc="177" normalizeH="0" baseline="0" noProof="0" dirty="0">
                <a:ln>
                  <a:noFill/>
                </a:ln>
                <a:solidFill>
                  <a:schemeClr val="bg1"/>
                </a:solidFill>
                <a:effectLst/>
                <a:uLnTx/>
                <a:uFillTx/>
                <a:latin typeface="Verdana"/>
              </a:rPr>
              <a:t> </a:t>
            </a:r>
            <a:r>
              <a:rPr kumimoji="0" lang="it-IT" sz="1200" b="1" i="0" u="none" strike="noStrike" kern="0" cap="none" spc="0" normalizeH="0" baseline="0" noProof="0" dirty="0">
                <a:ln>
                  <a:noFill/>
                </a:ln>
                <a:solidFill>
                  <a:schemeClr val="bg1"/>
                </a:solidFill>
                <a:effectLst/>
                <a:uLnTx/>
                <a:uFillTx/>
                <a:latin typeface="Verdana-Bold"/>
              </a:rPr>
              <a:t>180</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ha</a:t>
            </a:r>
            <a:r>
              <a:rPr kumimoji="0" lang="it-IT" sz="1200" b="1" i="0" u="none" strike="noStrike" kern="0" cap="none" spc="215" normalizeH="0" baseline="0" noProof="0" dirty="0">
                <a:ln>
                  <a:noFill/>
                </a:ln>
                <a:solidFill>
                  <a:schemeClr val="bg1"/>
                </a:solidFill>
                <a:effectLst/>
                <a:uLnTx/>
                <a:uFillTx/>
                <a:latin typeface="Verdana-Bold"/>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ui</a:t>
            </a:r>
            <a:r>
              <a:rPr kumimoji="0" lang="it-IT" sz="1200" b="0" i="0" u="none" strike="noStrike" kern="0" cap="none" spc="177" normalizeH="0" baseline="0" noProof="0" dirty="0">
                <a:ln>
                  <a:noFill/>
                </a:ln>
                <a:solidFill>
                  <a:schemeClr val="bg1"/>
                </a:solidFill>
                <a:effectLst/>
                <a:uLnTx/>
                <a:uFillTx/>
                <a:latin typeface="Verdana"/>
              </a:rPr>
              <a:t> </a:t>
            </a:r>
            <a:r>
              <a:rPr kumimoji="0" lang="it-IT" sz="1200" b="1" i="0" u="sng" strike="noStrike" kern="0" cap="none" spc="0" normalizeH="0" baseline="0" noProof="0" dirty="0">
                <a:ln>
                  <a:noFill/>
                </a:ln>
                <a:solidFill>
                  <a:schemeClr val="bg1"/>
                </a:solidFill>
                <a:effectLst/>
                <a:uLnTx/>
                <a:uFillTx/>
                <a:latin typeface="Verdana-Bold"/>
              </a:rPr>
              <a:t>55</a:t>
            </a:r>
            <a:r>
              <a:rPr kumimoji="0" lang="it-IT" sz="1200" b="1" i="0" u="none" strike="noStrike" kern="0" cap="none" spc="0" normalizeH="0" baseline="0" noProof="0" dirty="0">
                <a:ln>
                  <a:noFill/>
                </a:ln>
                <a:solidFill>
                  <a:schemeClr val="bg1"/>
                </a:solidFill>
                <a:effectLst/>
                <a:uLnTx/>
                <a:uFillTx/>
                <a:latin typeface="Verdana-Bold"/>
              </a:rPr>
              <a:t> </a:t>
            </a:r>
          </a:p>
          <a:p>
            <a:pPr marL="0" marR="0" lvl="0" indent="0" defTabSz="914400" eaLnBrk="1" fontAlgn="auto" latinLnBrk="0" hangingPunct="1">
              <a:lnSpc>
                <a:spcPts val="2163"/>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risultano infrastrutturati e di questi circa 27 ha risultano impegnati.</a:t>
            </a:r>
          </a:p>
        </p:txBody>
      </p:sp>
      <p:sp>
        <p:nvSpPr>
          <p:cNvPr id="166" name="Rectangle 166"/>
          <p:cNvSpPr/>
          <p:nvPr/>
        </p:nvSpPr>
        <p:spPr>
          <a:xfrm>
            <a:off x="544068" y="2769310"/>
            <a:ext cx="10836428" cy="428515"/>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Gl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insediamenti</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produttivi</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si</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oncentrano</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pressoché</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in</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ue</a:t>
            </a:r>
            <a:r>
              <a:rPr kumimoji="0" lang="it-IT" sz="1202" b="0" i="0" u="none" strike="noStrike" kern="0" cap="none" spc="179"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omparti</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soltanto</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l’industria</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lla</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trasformazione</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metalli</a:t>
            </a:r>
            <a:r>
              <a:rPr kumimoji="0" lang="it-IT" sz="1202" b="0" i="0" u="none" strike="noStrike" kern="0" cap="none" spc="17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e</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l’industria </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meccanica.</a:t>
            </a:r>
          </a:p>
        </p:txBody>
      </p:sp>
      <p:sp>
        <p:nvSpPr>
          <p:cNvPr id="167" name="Rectangle 167"/>
          <p:cNvSpPr/>
          <p:nvPr/>
        </p:nvSpPr>
        <p:spPr>
          <a:xfrm>
            <a:off x="544068" y="3587049"/>
            <a:ext cx="2141612" cy="169726"/>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3" b="1" i="0" u="none" strike="noStrike" kern="0" cap="none" spc="0" normalizeH="0" baseline="0" noProof="0" dirty="0">
                <a:ln>
                  <a:noFill/>
                </a:ln>
                <a:solidFill>
                  <a:schemeClr val="bg1"/>
                </a:solidFill>
                <a:effectLst/>
                <a:uLnTx/>
                <a:uFillTx/>
                <a:latin typeface="Verdana-Bold"/>
              </a:rPr>
              <a:t>PARAMETRI URBANISTICI </a:t>
            </a:r>
          </a:p>
        </p:txBody>
      </p:sp>
      <p:sp>
        <p:nvSpPr>
          <p:cNvPr id="168" name="Rectangle 168"/>
          <p:cNvSpPr/>
          <p:nvPr/>
        </p:nvSpPr>
        <p:spPr>
          <a:xfrm>
            <a:off x="544068" y="4089969"/>
            <a:ext cx="6610143" cy="65024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3" b="1" i="0" u="none" strike="noStrike" kern="0" cap="none" spc="0" normalizeH="0" baseline="0" noProof="0" dirty="0">
                <a:ln>
                  <a:noFill/>
                </a:ln>
                <a:solidFill>
                  <a:schemeClr val="bg1"/>
                </a:solidFill>
                <a:effectLst/>
                <a:uLnTx/>
                <a:uFillTx/>
                <a:latin typeface="Verdana-Bold"/>
              </a:rPr>
              <a:t>DESTINAZIONE INDUSTRIALE: </a:t>
            </a:r>
          </a:p>
          <a:p>
            <a:pPr marL="0" marR="0" lvl="0" indent="0" defTabSz="914400" eaLnBrk="1" fontAlgn="auto" latinLnBrk="0" hangingPunct="1">
              <a:lnSpc>
                <a:spcPts val="1974"/>
              </a:lnSpc>
              <a:spcBef>
                <a:spcPts val="0"/>
              </a:spcBef>
              <a:spcAft>
                <a:spcPts val="0"/>
              </a:spcAft>
              <a:buClrTx/>
              <a:buSzTx/>
              <a:buFontTx/>
              <a:buNone/>
              <a:tabLst>
                <a:tab pos="170687" algn="l"/>
              </a:tabLst>
              <a:defRPr/>
            </a:pPr>
            <a:r>
              <a:rPr kumimoji="0" lang="it-IT" sz="1103" b="0" i="0" u="none" strike="noStrike" kern="0" cap="none" spc="0" normalizeH="0" baseline="0" noProof="0" dirty="0">
                <a:ln>
                  <a:noFill/>
                </a:ln>
                <a:solidFill>
                  <a:schemeClr val="bg1"/>
                </a:solidFill>
                <a:effectLst/>
                <a:uLnTx/>
                <a:uFillTx/>
                <a:latin typeface="ArialMT"/>
              </a:rPr>
              <a:t>•	</a:t>
            </a:r>
            <a:r>
              <a:rPr kumimoji="0" lang="it-IT" sz="1103" b="0" i="0" u="none" strike="noStrike" kern="0" cap="none" spc="0" normalizeH="0" baseline="0" noProof="0" dirty="0">
                <a:ln>
                  <a:noFill/>
                </a:ln>
                <a:solidFill>
                  <a:schemeClr val="bg1"/>
                </a:solidFill>
                <a:effectLst/>
                <a:uLnTx/>
                <a:uFillTx/>
                <a:latin typeface="Verdana"/>
              </a:rPr>
              <a:t>Indice di copertura 1/2, per i soli fabbricati destinati ad uffici, guardianie e spazi collettivi;</a:t>
            </a:r>
          </a:p>
          <a:p>
            <a:pPr marL="0" marR="0" lvl="0" indent="0" defTabSz="914400" eaLnBrk="1" fontAlgn="auto" latinLnBrk="0" hangingPunct="1">
              <a:lnSpc>
                <a:spcPts val="1991"/>
              </a:lnSpc>
              <a:spcBef>
                <a:spcPts val="0"/>
              </a:spcBef>
              <a:spcAft>
                <a:spcPts val="0"/>
              </a:spcAft>
              <a:buClrTx/>
              <a:buSzTx/>
              <a:buFontTx/>
              <a:buNone/>
              <a:tabLst>
                <a:tab pos="170687" algn="l"/>
              </a:tabLst>
              <a:defRPr/>
            </a:pPr>
            <a:r>
              <a:rPr kumimoji="0" lang="it-IT" sz="1103" b="0" i="0" u="none" strike="noStrike" kern="0" cap="none" spc="0" normalizeH="0" baseline="0" noProof="0" dirty="0">
                <a:ln>
                  <a:noFill/>
                </a:ln>
                <a:solidFill>
                  <a:schemeClr val="bg1"/>
                </a:solidFill>
                <a:effectLst/>
                <a:uLnTx/>
                <a:uFillTx/>
                <a:latin typeface="ArialMT"/>
              </a:rPr>
              <a:t>•	</a:t>
            </a:r>
            <a:r>
              <a:rPr kumimoji="0" lang="it-IT" sz="1103" b="0" i="0" u="none" strike="noStrike" kern="0" cap="none" spc="0" normalizeH="0" baseline="0" noProof="0" dirty="0">
                <a:ln>
                  <a:noFill/>
                </a:ln>
                <a:solidFill>
                  <a:schemeClr val="bg1"/>
                </a:solidFill>
                <a:effectLst/>
                <a:uLnTx/>
                <a:uFillTx/>
                <a:latin typeface="Verdana"/>
              </a:rPr>
              <a:t>Altezza massima 3 piani fuori terra;</a:t>
            </a:r>
          </a:p>
        </p:txBody>
      </p:sp>
      <p:sp>
        <p:nvSpPr>
          <p:cNvPr id="169" name="Rectangle 169"/>
          <p:cNvSpPr/>
          <p:nvPr/>
        </p:nvSpPr>
        <p:spPr>
          <a:xfrm>
            <a:off x="544068" y="5096444"/>
            <a:ext cx="6172524" cy="393762"/>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3" b="1" i="0" u="none" strike="noStrike" kern="0" cap="none" spc="0" normalizeH="0" baseline="0" noProof="0" dirty="0">
                <a:ln>
                  <a:noFill/>
                </a:ln>
                <a:solidFill>
                  <a:schemeClr val="bg1"/>
                </a:solidFill>
                <a:effectLst/>
                <a:uLnTx/>
                <a:uFillTx/>
                <a:latin typeface="Verdana-Bold"/>
              </a:rPr>
              <a:t>DESTINAZIONE TERZIARIA</a:t>
            </a:r>
          </a:p>
          <a:p>
            <a:pPr marL="0" marR="0" lvl="0" indent="0" defTabSz="914400" eaLnBrk="1" fontAlgn="auto" latinLnBrk="0" hangingPunct="1">
              <a:lnSpc>
                <a:spcPts val="1971"/>
              </a:lnSpc>
              <a:spcBef>
                <a:spcPts val="0"/>
              </a:spcBef>
              <a:spcAft>
                <a:spcPts val="0"/>
              </a:spcAft>
              <a:buClrTx/>
              <a:buSzTx/>
              <a:buFontTx/>
              <a:buNone/>
              <a:tabLst>
                <a:tab pos="170687" algn="l"/>
              </a:tabLst>
              <a:defRPr/>
            </a:pPr>
            <a:r>
              <a:rPr kumimoji="0" lang="it-IT" sz="1103" b="0" i="0" u="none" strike="noStrike" kern="0" cap="none" spc="0" normalizeH="0" baseline="0" noProof="0" dirty="0">
                <a:ln>
                  <a:noFill/>
                </a:ln>
                <a:solidFill>
                  <a:schemeClr val="bg1"/>
                </a:solidFill>
                <a:effectLst/>
                <a:uLnTx/>
                <a:uFillTx/>
                <a:latin typeface="ArialMT"/>
              </a:rPr>
              <a:t>•	</a:t>
            </a:r>
            <a:r>
              <a:rPr kumimoji="0" lang="it-IT" sz="1103" b="0" i="0" u="none" strike="noStrike" kern="0" cap="none" spc="0" normalizeH="0" baseline="0" noProof="0" dirty="0">
                <a:ln>
                  <a:noFill/>
                </a:ln>
                <a:solidFill>
                  <a:schemeClr val="bg1"/>
                </a:solidFill>
                <a:effectLst/>
                <a:uLnTx/>
                <a:uFillTx/>
                <a:latin typeface="Verdana"/>
              </a:rPr>
              <a:t>Indice di copertura 1/3; Indice di fabbricabilità 1,5 mc/mq; Altezza massima 12 mt;</a:t>
            </a:r>
          </a:p>
        </p:txBody>
      </p:sp>
      <p:sp>
        <p:nvSpPr>
          <p:cNvPr id="170" name="Rectangle 170"/>
          <p:cNvSpPr/>
          <p:nvPr/>
        </p:nvSpPr>
        <p:spPr>
          <a:xfrm>
            <a:off x="544068" y="5849631"/>
            <a:ext cx="2363660" cy="48141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3" b="1" i="0" u="none" strike="noStrike" kern="0" cap="none" spc="0" normalizeH="0" baseline="0" noProof="0" dirty="0">
                <a:ln>
                  <a:noFill/>
                </a:ln>
                <a:solidFill>
                  <a:schemeClr val="bg1"/>
                </a:solidFill>
                <a:effectLst/>
                <a:uLnTx/>
                <a:uFillTx/>
                <a:latin typeface="Verdana-Bold"/>
              </a:rPr>
              <a:t>COSTO SUOLO €/mq 22,02</a:t>
            </a:r>
          </a:p>
          <a:p>
            <a:pPr marL="0" marR="0" lvl="0" indent="0" defTabSz="914400" eaLnBrk="1" fontAlgn="auto" latinLnBrk="0" hangingPunct="1">
              <a:lnSpc>
                <a:spcPts val="2768"/>
              </a:lnSpc>
              <a:spcBef>
                <a:spcPts val="0"/>
              </a:spcBef>
              <a:spcAft>
                <a:spcPts val="0"/>
              </a:spcAft>
              <a:buClrTx/>
              <a:buSzTx/>
              <a:buFontTx/>
              <a:buNone/>
              <a:tabLst/>
              <a:defRPr/>
            </a:pPr>
            <a:r>
              <a:rPr kumimoji="0" lang="it-IT" sz="1103" b="1" i="0" u="none" strike="noStrike" kern="0" cap="none" spc="0" normalizeH="0" baseline="0" noProof="0" dirty="0">
                <a:ln>
                  <a:noFill/>
                </a:ln>
                <a:solidFill>
                  <a:schemeClr val="bg1"/>
                </a:solidFill>
                <a:effectLst/>
                <a:uLnTx/>
                <a:uFillTx/>
                <a:latin typeface="Verdana-Bold"/>
              </a:rPr>
              <a:t>NORME TECNICHE</a:t>
            </a:r>
            <a:r>
              <a:rPr kumimoji="0" lang="it-IT" sz="1103" b="1" i="0" u="none" strike="noStrike" kern="0" cap="none" spc="393" normalizeH="0" baseline="0" noProof="0" dirty="0">
                <a:ln>
                  <a:noFill/>
                </a:ln>
                <a:solidFill>
                  <a:schemeClr val="bg1"/>
                </a:solidFill>
                <a:effectLst/>
                <a:uLnTx/>
                <a:uFillTx/>
                <a:latin typeface="Verdana-Bold"/>
              </a:rPr>
              <a:t>.</a:t>
            </a:r>
            <a:r>
              <a:rPr kumimoji="0" lang="it-IT" sz="1610" b="0" i="0" u="sng" strike="noStrike" kern="0" cap="none" spc="0"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clicc</a:t>
            </a:r>
            <a:r>
              <a:rPr kumimoji="0" lang="it-IT" sz="1610" b="0" i="0" u="sng" strike="noStrike" kern="0" cap="none" spc="476"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a</a:t>
            </a:r>
            <a:r>
              <a:rPr kumimoji="0" lang="it-IT" sz="1610" b="0" i="0" u="sng" strike="noStrike" kern="0" cap="none" spc="0" normalizeH="0" baseline="0" noProof="0" dirty="0">
                <a:ln>
                  <a:noFill/>
                </a:ln>
                <a:solidFill>
                  <a:schemeClr val="bg1"/>
                </a:solidFill>
                <a:effectLst/>
                <a:uLnTx/>
                <a:uFillTx/>
                <a:latin typeface="Tahoma"/>
                <a:hlinkClick r:id="rId2">
                  <a:extLst>
                    <a:ext uri="{A12FA001-AC4F-418D-AE19-62706E023703}">
                      <ahyp:hlinkClr xmlns:ahyp="http://schemas.microsoft.com/office/drawing/2018/hyperlinkcolor" val="tx"/>
                    </a:ext>
                  </a:extLst>
                </a:hlinkClick>
              </a:rPr>
              <a:t>qui</a:t>
            </a:r>
          </a:p>
        </p:txBody>
      </p:sp>
      <p:sp>
        <p:nvSpPr>
          <p:cNvPr id="172" name="Rectangle 172"/>
          <p:cNvSpPr/>
          <p:nvPr/>
        </p:nvSpPr>
        <p:spPr>
          <a:xfrm>
            <a:off x="608990" y="566674"/>
            <a:ext cx="4292752" cy="27592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Tahoma-Bold"/>
              </a:rPr>
              <a:t>Area industriale della Valle di Vitalba </a:t>
            </a:r>
          </a:p>
        </p:txBody>
      </p:sp>
      <p:pic>
        <p:nvPicPr>
          <p:cNvPr id="2" name="Picture 103">
            <a:extLst>
              <a:ext uri="{FF2B5EF4-FFF2-40B4-BE49-F238E27FC236}">
                <a16:creationId xmlns:a16="http://schemas.microsoft.com/office/drawing/2014/main" id="{4B344F9C-AE83-6CB1-9EF8-B653E1159A2C}"/>
              </a:ext>
            </a:extLst>
          </p:cNvPr>
          <p:cNvPicPr>
            <a:picLocks noChangeArrowheads="1"/>
          </p:cNvPicPr>
          <p:nvPr/>
        </p:nvPicPr>
        <p:blipFill>
          <a:blip r:embed="rId3"/>
          <a:srcRect/>
          <a:stretch/>
        </p:blipFill>
        <p:spPr>
          <a:xfrm>
            <a:off x="10304687" y="5638799"/>
            <a:ext cx="1650167" cy="1106424"/>
          </a:xfrm>
          <a:prstGeom prst="rect">
            <a:avLst/>
          </a:prstGeom>
          <a:noFill/>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74" name="Picture 17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749808" y="530353"/>
            <a:ext cx="9741407" cy="5212079"/>
          </a:xfrm>
          <a:prstGeom prst="rect">
            <a:avLst/>
          </a:prstGeom>
          <a:noFill/>
        </p:spPr>
      </p:pic>
      <p:sp>
        <p:nvSpPr>
          <p:cNvPr id="176" name="Rectangle 176"/>
          <p:cNvSpPr/>
          <p:nvPr/>
        </p:nvSpPr>
        <p:spPr>
          <a:xfrm>
            <a:off x="758342" y="6157494"/>
            <a:ext cx="5982105"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000000"/>
                </a:solidFill>
                <a:effectLst/>
                <a:uLnTx/>
                <a:uFillTx/>
                <a:latin typeface="Calibri"/>
                <a:hlinkClick r:id="rId3"/>
              </a:rPr>
              <a:t>https://www.apibas.it/wp-content/uploads/2022/11/Vitalba.pdf</a:t>
            </a:r>
          </a:p>
        </p:txBody>
      </p:sp>
      <p:pic>
        <p:nvPicPr>
          <p:cNvPr id="2" name="Picture 103">
            <a:extLst>
              <a:ext uri="{FF2B5EF4-FFF2-40B4-BE49-F238E27FC236}">
                <a16:creationId xmlns:a16="http://schemas.microsoft.com/office/drawing/2014/main" id="{FCB095A6-06A7-C055-B64D-648EAB57072F}"/>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78" name="Picture 17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121663" y="338328"/>
            <a:ext cx="9378695" cy="5532120"/>
          </a:xfrm>
          <a:prstGeom prst="rect">
            <a:avLst/>
          </a:prstGeom>
          <a:noFill/>
        </p:spPr>
      </p:pic>
      <p:sp>
        <p:nvSpPr>
          <p:cNvPr id="180" name="Rectangle 180"/>
          <p:cNvSpPr/>
          <p:nvPr/>
        </p:nvSpPr>
        <p:spPr>
          <a:xfrm>
            <a:off x="1401444" y="6240095"/>
            <a:ext cx="6806736"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000000"/>
                </a:solidFill>
                <a:effectLst/>
                <a:uLnTx/>
                <a:uFillTx/>
                <a:latin typeface="Calibri"/>
                <a:hlinkClick r:id="rId3"/>
              </a:rPr>
              <a:t>https://www.apibas.it/wp-content/uploads/2022/11/Vitalba-Viabilita.pdf</a:t>
            </a:r>
          </a:p>
        </p:txBody>
      </p:sp>
      <p:pic>
        <p:nvPicPr>
          <p:cNvPr id="2" name="Picture 103">
            <a:extLst>
              <a:ext uri="{FF2B5EF4-FFF2-40B4-BE49-F238E27FC236}">
                <a16:creationId xmlns:a16="http://schemas.microsoft.com/office/drawing/2014/main" id="{476B096A-E533-6E47-AA59-9E85371963AF}"/>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5" name="Freeform 185">
            <a:hlinkClick r:id="rId2"/>
          </p:cNvPr>
          <p:cNvSpPr/>
          <p:nvPr/>
        </p:nvSpPr>
        <p:spPr>
          <a:xfrm>
            <a:off x="6371618" y="749808"/>
            <a:ext cx="5482054" cy="4349497"/>
          </a:xfrm>
          <a:custGeom>
            <a:avLst/>
            <a:gdLst/>
            <a:ahLst/>
            <a:cxnLst/>
            <a:rect l="0" t="0" r="0" b="0"/>
            <a:pathLst>
              <a:path w="5608320" h="4349497">
                <a:moveTo>
                  <a:pt x="0" y="4349497"/>
                </a:moveTo>
                <a:lnTo>
                  <a:pt x="5608320" y="4349497"/>
                </a:lnTo>
                <a:lnTo>
                  <a:pt x="5608320" y="0"/>
                </a:lnTo>
                <a:lnTo>
                  <a:pt x="0" y="0"/>
                </a:lnTo>
                <a:lnTo>
                  <a:pt x="0" y="4349497"/>
                </a:lnTo>
                <a:close/>
              </a:path>
            </a:pathLst>
          </a:custGeom>
          <a:noFill/>
          <a:ln w="12700" cap="flat" cmpd="sng">
            <a:solidFill>
              <a:srgbClr val="4472C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pPr lvl="1">
              <a:tabLst>
                <a:tab pos="344805" algn="l"/>
              </a:tabLst>
              <a:defRPr/>
            </a:pPr>
            <a:endParaRPr kumimoji="0" lang="it-IT" b="0" i="0" u="none" strike="noStrike" kern="0" cap="none" spc="0" normalizeH="0" baseline="0" noProof="0" dirty="0">
              <a:ln>
                <a:noFill/>
              </a:ln>
              <a:solidFill>
                <a:srgbClr val="000000"/>
              </a:solidFill>
              <a:effectLst/>
              <a:uLnTx/>
              <a:uFillTx/>
              <a:latin typeface="Calibri"/>
              <a:hlinkClick r:id="rId3"/>
            </a:endParaRPr>
          </a:p>
          <a:p>
            <a:pPr lvl="1">
              <a:tabLst>
                <a:tab pos="344805" algn="l"/>
              </a:tabLst>
              <a:defRPr/>
            </a:pPr>
            <a:endParaRPr kumimoji="0" lang="it-IT" b="0" i="0" u="none" strike="noStrike" kern="0" cap="none" spc="0" normalizeH="0" baseline="0" noProof="0" dirty="0">
              <a:ln>
                <a:noFill/>
              </a:ln>
              <a:solidFill>
                <a:srgbClr val="000000"/>
              </a:solidFill>
              <a:effectLst/>
              <a:uLnTx/>
              <a:uFillTx/>
              <a:latin typeface="Calibri"/>
              <a:hlinkClick r:id="rId3"/>
            </a:endParaRPr>
          </a:p>
          <a:p>
            <a:pPr lvl="1">
              <a:tabLst>
                <a:tab pos="344805" algn="l"/>
              </a:tabLst>
              <a:defRPr/>
            </a:pPr>
            <a:endParaRPr lang="it-IT" kern="0" dirty="0">
              <a:solidFill>
                <a:srgbClr val="000000"/>
              </a:solidFill>
              <a:latin typeface="Calibri"/>
              <a:hlinkClick r:id="rId3"/>
            </a:endParaRPr>
          </a:p>
          <a:p>
            <a:pPr lvl="1">
              <a:tabLst>
                <a:tab pos="344805" algn="l"/>
              </a:tabLst>
              <a:defRPr/>
            </a:pPr>
            <a:r>
              <a:rPr kumimoji="0" lang="it-IT" b="0" i="0" u="none" strike="noStrike" kern="0" cap="none" spc="0" normalizeH="0" baseline="0" noProof="0" dirty="0">
                <a:ln>
                  <a:noFill/>
                </a:ln>
                <a:solidFill>
                  <a:srgbClr val="000000"/>
                </a:solidFill>
                <a:effectLst/>
                <a:uLnTx/>
                <a:uFillTx/>
                <a:latin typeface="Calibri"/>
                <a:hlinkClick r:id="rId3"/>
              </a:rPr>
              <a:t>1)	</a:t>
            </a:r>
            <a:r>
              <a:rPr kumimoji="0" lang="it-IT" b="0" i="0" u="none" strike="noStrike" kern="0" cap="none" spc="0" normalizeH="0" baseline="0" noProof="0" dirty="0">
                <a:ln>
                  <a:noFill/>
                </a:ln>
                <a:solidFill>
                  <a:srgbClr val="0563C1"/>
                </a:solidFill>
                <a:effectLst/>
                <a:uLnTx/>
                <a:uFillTx/>
                <a:latin typeface="Calibri"/>
                <a:hlinkClick r:id="rId3"/>
              </a:rPr>
              <a:t>45_1074.pdf (apibas.it)</a:t>
            </a:r>
          </a:p>
          <a:p>
            <a:pPr lvl="1">
              <a:lnSpc>
                <a:spcPts val="2160"/>
              </a:lnSpc>
              <a:tabLst>
                <a:tab pos="344805" algn="l"/>
              </a:tabLst>
              <a:defRPr/>
            </a:pPr>
            <a:r>
              <a:rPr kumimoji="0" lang="it-IT" sz="1802" b="0" i="0" u="none" strike="noStrike" kern="0" cap="none" spc="0" normalizeH="0" baseline="0" noProof="0" dirty="0">
                <a:ln>
                  <a:noFill/>
                </a:ln>
                <a:solidFill>
                  <a:srgbClr val="000000"/>
                </a:solidFill>
                <a:effectLst/>
                <a:uLnTx/>
                <a:uFillTx/>
                <a:latin typeface="Calibri"/>
                <a:hlinkClick r:id="rId2"/>
              </a:rPr>
              <a:t>2)	</a:t>
            </a:r>
            <a:r>
              <a:rPr kumimoji="0" lang="it-IT" sz="1802" b="0" i="0" u="none" strike="noStrike" kern="0" cap="none" spc="0" normalizeH="0" baseline="0" noProof="0" dirty="0">
                <a:ln>
                  <a:noFill/>
                </a:ln>
                <a:solidFill>
                  <a:srgbClr val="0563C1"/>
                </a:solidFill>
                <a:effectLst/>
                <a:uLnTx/>
                <a:uFillTx/>
                <a:latin typeface="Calibri"/>
                <a:hlinkClick r:id="rId2"/>
              </a:rPr>
              <a:t>45_1012_1279.pdf (apibas.it)</a:t>
            </a:r>
          </a:p>
          <a:p>
            <a:endParaRPr lang="it-IT" dirty="0"/>
          </a:p>
        </p:txBody>
      </p:sp>
      <p:pic>
        <p:nvPicPr>
          <p:cNvPr id="186" name="Picture 18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588262" y="749809"/>
            <a:ext cx="5657089" cy="4888990"/>
          </a:xfrm>
          <a:prstGeom prst="rect">
            <a:avLst/>
          </a:prstGeom>
          <a:noFill/>
        </p:spPr>
      </p:pic>
      <p:sp>
        <p:nvSpPr>
          <p:cNvPr id="188" name="Rectangle 188"/>
          <p:cNvSpPr/>
          <p:nvPr/>
        </p:nvSpPr>
        <p:spPr>
          <a:xfrm>
            <a:off x="6503161" y="999008"/>
            <a:ext cx="1804981" cy="27732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1" i="0" u="none" strike="noStrike" kern="0" cap="none" spc="0" normalizeH="0" baseline="0" noProof="0" dirty="0">
                <a:ln>
                  <a:noFill/>
                </a:ln>
                <a:solidFill>
                  <a:schemeClr val="bg1"/>
                </a:solidFill>
                <a:effectLst/>
                <a:uLnTx/>
                <a:uFillTx/>
                <a:latin typeface="Calibri-Bold"/>
              </a:rPr>
              <a:t>LOTTI DISPONIBILI </a:t>
            </a:r>
          </a:p>
        </p:txBody>
      </p:sp>
      <p:sp>
        <p:nvSpPr>
          <p:cNvPr id="190" name="Rectangle 190"/>
          <p:cNvSpPr/>
          <p:nvPr/>
        </p:nvSpPr>
        <p:spPr>
          <a:xfrm>
            <a:off x="542159" y="6077559"/>
            <a:ext cx="5703193"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0563C1"/>
                </a:solidFill>
                <a:effectLst/>
                <a:uLnTx/>
                <a:uFillTx/>
                <a:latin typeface="Calibri"/>
                <a:hlinkClick r:id="rId5"/>
              </a:rPr>
              <a:t>API-Bas S.p.A. Area industriale della Valle di Vitalba (apibas.it)</a:t>
            </a:r>
          </a:p>
        </p:txBody>
      </p:sp>
      <p:pic>
        <p:nvPicPr>
          <p:cNvPr id="2" name="Picture 103">
            <a:extLst>
              <a:ext uri="{FF2B5EF4-FFF2-40B4-BE49-F238E27FC236}">
                <a16:creationId xmlns:a16="http://schemas.microsoft.com/office/drawing/2014/main" id="{B8427143-9BD2-FB09-F7DF-904BBB50A5DD}"/>
              </a:ext>
            </a:extLst>
          </p:cNvPr>
          <p:cNvPicPr>
            <a:picLocks noChangeArrowheads="1"/>
          </p:cNvPicPr>
          <p:nvPr/>
        </p:nvPicPr>
        <p:blipFill>
          <a:blip r:embed="rId6"/>
          <a:srcRect/>
          <a:stretch/>
        </p:blipFill>
        <p:spPr>
          <a:xfrm>
            <a:off x="10304687" y="5638799"/>
            <a:ext cx="1650167" cy="1106424"/>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35" name="Rectangle 235"/>
          <p:cNvSpPr/>
          <p:nvPr/>
        </p:nvSpPr>
        <p:spPr>
          <a:xfrm>
            <a:off x="544068" y="1397075"/>
            <a:ext cx="10756727" cy="428451"/>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L’area industriale di Potenza, si sviluppa lungo la direttrice del fiume Basento </a:t>
            </a:r>
            <a:r>
              <a:rPr kumimoji="0" lang="it-IT" sz="1202" b="0" i="0" u="none" strike="noStrike" kern="0" cap="none" spc="869" normalizeH="0" baseline="0" noProof="0" dirty="0">
                <a:ln>
                  <a:noFill/>
                </a:ln>
                <a:solidFill>
                  <a:schemeClr val="bg1"/>
                </a:solidFill>
                <a:effectLst/>
                <a:uLnTx/>
                <a:uFillTx/>
                <a:latin typeface="Verdana"/>
              </a:rPr>
              <a:t>e</a:t>
            </a:r>
            <a:r>
              <a:rPr kumimoji="0" lang="it-IT" sz="1202" b="0" i="0" u="none" strike="noStrike" kern="0" cap="none" spc="0" normalizeH="0" baseline="0" noProof="0" dirty="0">
                <a:ln>
                  <a:noFill/>
                </a:ln>
                <a:solidFill>
                  <a:schemeClr val="bg1"/>
                </a:solidFill>
                <a:effectLst/>
                <a:uLnTx/>
                <a:uFillTx/>
                <a:latin typeface="Verdana"/>
              </a:rPr>
              <a:t>si estende per una superfici</a:t>
            </a:r>
            <a:r>
              <a:rPr kumimoji="0" lang="it-IT" sz="1202" b="0" i="0" u="none" strike="noStrike" kern="0" cap="none" spc="439" normalizeH="0" baseline="0" noProof="0" dirty="0">
                <a:ln>
                  <a:noFill/>
                </a:ln>
                <a:solidFill>
                  <a:schemeClr val="bg1"/>
                </a:solidFill>
                <a:effectLst/>
                <a:uLnTx/>
                <a:uFillTx/>
                <a:latin typeface="Verdana"/>
              </a:rPr>
              <a:t>e</a:t>
            </a:r>
            <a:r>
              <a:rPr kumimoji="0" lang="it-IT" sz="1202" b="0" i="0" u="none" strike="noStrike" kern="0" cap="none" spc="0" normalizeH="0" baseline="0" noProof="0" dirty="0">
                <a:ln>
                  <a:noFill/>
                </a:ln>
                <a:solidFill>
                  <a:schemeClr val="bg1"/>
                </a:solidFill>
                <a:effectLst/>
                <a:uLnTx/>
                <a:uFillTx/>
                <a:latin typeface="Tahoma"/>
              </a:rPr>
              <a:t>d</a:t>
            </a:r>
            <a:r>
              <a:rPr kumimoji="0" lang="it-IT" sz="1202" b="0" i="0" u="none" strike="noStrike" kern="0" cap="none" spc="423" normalizeH="0" baseline="0" noProof="0" dirty="0">
                <a:ln>
                  <a:noFill/>
                </a:ln>
                <a:solidFill>
                  <a:schemeClr val="bg1"/>
                </a:solidFill>
                <a:effectLst/>
                <a:uLnTx/>
                <a:uFillTx/>
                <a:latin typeface="Tahoma"/>
              </a:rPr>
              <a:t>i</a:t>
            </a:r>
            <a:r>
              <a:rPr kumimoji="0" lang="it-IT" sz="1202" b="0" i="0" u="none" strike="noStrike" kern="0" cap="none" spc="0" normalizeH="0" baseline="0" noProof="0" dirty="0">
                <a:ln>
                  <a:noFill/>
                </a:ln>
                <a:solidFill>
                  <a:schemeClr val="bg1"/>
                </a:solidFill>
                <a:effectLst/>
                <a:uLnTx/>
                <a:uFillTx/>
                <a:latin typeface="Tahoma"/>
              </a:rPr>
              <a:t>1.070.44</a:t>
            </a:r>
            <a:r>
              <a:rPr kumimoji="0" lang="it-IT" sz="1202" b="0" i="0" u="none" strike="noStrike" kern="0" cap="none" spc="447" normalizeH="0" baseline="0" noProof="0" dirty="0">
                <a:ln>
                  <a:noFill/>
                </a:ln>
                <a:solidFill>
                  <a:schemeClr val="bg1"/>
                </a:solidFill>
                <a:effectLst/>
                <a:uLnTx/>
                <a:uFillTx/>
                <a:latin typeface="Tahoma"/>
              </a:rPr>
              <a:t>7</a:t>
            </a:r>
            <a:r>
              <a:rPr kumimoji="0" lang="it-IT" sz="1202" b="0" i="0" u="none" strike="noStrike" kern="0" cap="none" spc="0" normalizeH="0" baseline="0" noProof="0" dirty="0">
                <a:ln>
                  <a:noFill/>
                </a:ln>
                <a:solidFill>
                  <a:schemeClr val="bg1"/>
                </a:solidFill>
                <a:effectLst/>
                <a:uLnTx/>
                <a:uFillTx/>
                <a:latin typeface="Tahoma"/>
              </a:rPr>
              <a:t>mq</a:t>
            </a:r>
            <a:r>
              <a:rPr kumimoji="0" lang="it-IT" sz="1202" b="0" i="0" u="none" strike="noStrike" kern="0" cap="none" spc="429" normalizeH="0" baseline="0" noProof="0" dirty="0">
                <a:ln>
                  <a:noFill/>
                </a:ln>
                <a:solidFill>
                  <a:schemeClr val="bg1"/>
                </a:solidFill>
                <a:effectLst/>
                <a:uLnTx/>
                <a:uFillTx/>
                <a:latin typeface="Tahoma"/>
              </a:rPr>
              <a:t>,</a:t>
            </a:r>
            <a:r>
              <a:rPr kumimoji="0" lang="it-IT" sz="1202" b="0" i="0" u="none" strike="noStrike" kern="0" cap="none" spc="0" normalizeH="0" baseline="0" noProof="0" dirty="0">
                <a:ln>
                  <a:noFill/>
                </a:ln>
                <a:solidFill>
                  <a:schemeClr val="bg1"/>
                </a:solidFill>
                <a:effectLst/>
                <a:uLnTx/>
                <a:uFillTx/>
                <a:latin typeface="Tahoma"/>
              </a:rPr>
              <a:t>d</a:t>
            </a:r>
            <a:r>
              <a:rPr kumimoji="0" lang="it-IT" sz="1202" b="0" i="0" u="none" strike="noStrike" kern="0" cap="none" spc="444" normalizeH="0" baseline="0" noProof="0" dirty="0">
                <a:ln>
                  <a:noFill/>
                </a:ln>
                <a:solidFill>
                  <a:schemeClr val="bg1"/>
                </a:solidFill>
                <a:effectLst/>
                <a:uLnTx/>
                <a:uFillTx/>
                <a:latin typeface="Tahoma"/>
              </a:rPr>
              <a:t>i</a:t>
            </a:r>
            <a:r>
              <a:rPr kumimoji="0" lang="it-IT" sz="1202" b="0" i="0" u="none" strike="noStrike" kern="0" cap="none" spc="0" normalizeH="0" baseline="0" noProof="0" dirty="0">
                <a:ln>
                  <a:noFill/>
                </a:ln>
                <a:solidFill>
                  <a:schemeClr val="bg1"/>
                </a:solidFill>
                <a:effectLst/>
                <a:uLnTx/>
                <a:uFillTx/>
                <a:latin typeface="Tahoma"/>
              </a:rPr>
              <a:t>quest</a:t>
            </a:r>
            <a:r>
              <a:rPr kumimoji="0" lang="it-IT" sz="1202" b="0" i="0" u="none" strike="noStrike" kern="0" cap="none" spc="441" normalizeH="0" baseline="0" noProof="0" dirty="0">
                <a:ln>
                  <a:noFill/>
                </a:ln>
                <a:solidFill>
                  <a:schemeClr val="bg1"/>
                </a:solidFill>
                <a:effectLst/>
                <a:uLnTx/>
                <a:uFillTx/>
                <a:latin typeface="Tahoma"/>
              </a:rPr>
              <a:t>a</a:t>
            </a:r>
            <a:r>
              <a:rPr kumimoji="0" lang="it-IT" sz="1202" b="0" i="0" u="none" strike="noStrike" kern="0" cap="none" spc="0" normalizeH="0" baseline="0" noProof="0" dirty="0">
                <a:ln>
                  <a:noFill/>
                </a:ln>
                <a:solidFill>
                  <a:schemeClr val="bg1"/>
                </a:solidFill>
                <a:effectLst/>
                <a:uLnTx/>
                <a:uFillTx/>
                <a:latin typeface="Tahoma"/>
              </a:rPr>
              <a:t>circa</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Tahoma"/>
              </a:rPr>
              <a:t>354.35</a:t>
            </a:r>
            <a:r>
              <a:rPr kumimoji="0" lang="it-IT" sz="1200" b="0" i="0" u="none" strike="noStrike" kern="0" cap="none" spc="376" normalizeH="0" baseline="0" noProof="0" dirty="0">
                <a:ln>
                  <a:noFill/>
                </a:ln>
                <a:solidFill>
                  <a:schemeClr val="bg1"/>
                </a:solidFill>
                <a:effectLst/>
                <a:uLnTx/>
                <a:uFillTx/>
                <a:latin typeface="Tahoma"/>
              </a:rPr>
              <a:t>7</a:t>
            </a:r>
            <a:r>
              <a:rPr kumimoji="0" lang="it-IT" sz="1200" b="0" i="0" u="none" strike="noStrike" kern="0" cap="none" spc="0" normalizeH="0" baseline="0" noProof="0" dirty="0">
                <a:ln>
                  <a:noFill/>
                </a:ln>
                <a:solidFill>
                  <a:schemeClr val="bg1"/>
                </a:solidFill>
                <a:effectLst/>
                <a:uLnTx/>
                <a:uFillTx/>
                <a:latin typeface="Tahoma"/>
              </a:rPr>
              <a:t>m</a:t>
            </a:r>
            <a:r>
              <a:rPr kumimoji="0" lang="it-IT" sz="1200" b="0" i="0" u="none" strike="noStrike" kern="0" cap="none" spc="368" normalizeH="0" baseline="0" noProof="0" dirty="0">
                <a:ln>
                  <a:noFill/>
                </a:ln>
                <a:solidFill>
                  <a:schemeClr val="bg1"/>
                </a:solidFill>
                <a:effectLst/>
                <a:uLnTx/>
                <a:uFillTx/>
                <a:latin typeface="Tahoma"/>
              </a:rPr>
              <a:t>q</a:t>
            </a:r>
            <a:r>
              <a:rPr kumimoji="0" lang="it-IT" sz="1200" b="0" i="0" u="none" strike="noStrike" kern="0" cap="none" spc="378" normalizeH="0" baseline="0" noProof="0" dirty="0">
                <a:ln>
                  <a:noFill/>
                </a:ln>
                <a:solidFill>
                  <a:schemeClr val="bg1"/>
                </a:solidFill>
                <a:effectLst/>
                <a:uLnTx/>
                <a:uFillTx/>
                <a:latin typeface="Tahoma"/>
              </a:rPr>
              <a:t>è</a:t>
            </a:r>
            <a:r>
              <a:rPr kumimoji="0" lang="it-IT" sz="1200" b="0" i="0" u="none" strike="noStrike" kern="0" cap="none" spc="0" normalizeH="0" baseline="0" noProof="0" dirty="0">
                <a:ln>
                  <a:noFill/>
                </a:ln>
                <a:solidFill>
                  <a:schemeClr val="bg1"/>
                </a:solidFill>
                <a:effectLst/>
                <a:uLnTx/>
                <a:uFillTx/>
                <a:latin typeface="Tahoma"/>
              </a:rPr>
              <a:t>coperta</a:t>
            </a:r>
            <a:r>
              <a:rPr kumimoji="0" lang="it-IT" sz="1200" b="0" i="0" u="none" strike="noStrike" kern="0" cap="none" spc="766" normalizeH="0" baseline="0" noProof="0" dirty="0">
                <a:ln>
                  <a:noFill/>
                </a:ln>
                <a:solidFill>
                  <a:schemeClr val="bg1"/>
                </a:solidFill>
                <a:effectLst/>
                <a:uLnTx/>
                <a:uFillTx/>
                <a:latin typeface="Tahoma"/>
              </a:rPr>
              <a:t>,</a:t>
            </a:r>
            <a:r>
              <a:rPr kumimoji="0" lang="it-IT" sz="1200" b="0" i="0" u="none" strike="noStrike" kern="0" cap="none" spc="0" normalizeH="0" baseline="0" noProof="0" dirty="0">
                <a:ln>
                  <a:noFill/>
                </a:ln>
                <a:solidFill>
                  <a:schemeClr val="bg1"/>
                </a:solidFill>
                <a:effectLst/>
                <a:uLnTx/>
                <a:uFillTx/>
                <a:latin typeface="Verdana"/>
              </a:rPr>
              <a:t>ricompresa nel Sistemi Locale del Lavoro di Potenza.</a:t>
            </a:r>
          </a:p>
        </p:txBody>
      </p:sp>
      <p:sp>
        <p:nvSpPr>
          <p:cNvPr id="236" name="Rectangle 236"/>
          <p:cNvSpPr/>
          <p:nvPr/>
        </p:nvSpPr>
        <p:spPr>
          <a:xfrm>
            <a:off x="544068" y="2220977"/>
            <a:ext cx="10738581" cy="42819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Gli insediamenti produttivi si concentrano pressoché nell’industria della siderurgia , l’industria della trasformazione dei metalli</a:t>
            </a:r>
            <a:r>
              <a:rPr kumimoji="0" lang="it-IT" sz="1200" b="0" i="0" u="none" strike="noStrike" kern="0" cap="none" spc="938" normalizeH="0" baseline="0" noProof="0" dirty="0">
                <a:ln>
                  <a:noFill/>
                </a:ln>
                <a:solidFill>
                  <a:schemeClr val="bg1"/>
                </a:solidFill>
                <a:effectLst/>
                <a:uLnTx/>
                <a:uFillTx/>
                <a:latin typeface="Verdana"/>
              </a:rPr>
              <a:t>,</a:t>
            </a:r>
            <a:r>
              <a:rPr kumimoji="0" lang="it-IT" sz="1200" b="0" i="0" u="none" strike="noStrike" kern="0" cap="none" spc="0" normalizeH="0" baseline="0" noProof="0" dirty="0">
                <a:ln>
                  <a:noFill/>
                </a:ln>
                <a:solidFill>
                  <a:schemeClr val="bg1"/>
                </a:solidFill>
                <a:effectLst/>
                <a:uLnTx/>
                <a:uFillTx/>
                <a:latin typeface="Verdana"/>
              </a:rPr>
              <a:t>l’industria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meccanica ed un importante comparto dei servizi. </a:t>
            </a:r>
          </a:p>
        </p:txBody>
      </p:sp>
      <p:sp>
        <p:nvSpPr>
          <p:cNvPr id="237" name="Rectangle 237"/>
          <p:cNvSpPr/>
          <p:nvPr/>
        </p:nvSpPr>
        <p:spPr>
          <a:xfrm>
            <a:off x="544068" y="3038156"/>
            <a:ext cx="2141612" cy="169726"/>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103" b="1" i="0" u="none" strike="noStrike" kern="0" cap="none" spc="0" normalizeH="0" baseline="0" noProof="0" dirty="0">
                <a:ln>
                  <a:noFill/>
                </a:ln>
                <a:solidFill>
                  <a:schemeClr val="bg1"/>
                </a:solidFill>
                <a:effectLst/>
                <a:uLnTx/>
                <a:uFillTx/>
                <a:latin typeface="Verdana-Bold"/>
              </a:rPr>
              <a:t>PARAMETRI URBANISTICI </a:t>
            </a:r>
          </a:p>
        </p:txBody>
      </p:sp>
      <p:sp>
        <p:nvSpPr>
          <p:cNvPr id="238" name="Rectangle 238"/>
          <p:cNvSpPr/>
          <p:nvPr/>
        </p:nvSpPr>
        <p:spPr>
          <a:xfrm>
            <a:off x="544068" y="3568700"/>
            <a:ext cx="5706434" cy="43075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923" normalizeH="0" baseline="0" noProof="0" dirty="0">
                <a:ln>
                  <a:noFill/>
                </a:ln>
                <a:solidFill>
                  <a:schemeClr val="bg1"/>
                </a:solidFill>
                <a:effectLst/>
                <a:uLnTx/>
                <a:uFillTx/>
                <a:latin typeface="ArialMT"/>
              </a:rPr>
              <a:t>•</a:t>
            </a:r>
            <a:r>
              <a:rPr kumimoji="0" lang="it-IT" sz="1200" b="0" i="0" u="none" strike="noStrike" kern="0" cap="none" spc="0" normalizeH="0" baseline="0" noProof="0" dirty="0">
                <a:ln>
                  <a:noFill/>
                </a:ln>
                <a:solidFill>
                  <a:schemeClr val="bg1"/>
                </a:solidFill>
                <a:effectLst/>
                <a:uLnTx/>
                <a:uFillTx/>
                <a:latin typeface="Verdana"/>
              </a:rPr>
              <a:t>Indice di copertura 1/3;</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923" normalizeH="0" baseline="0" noProof="0" dirty="0">
                <a:ln>
                  <a:noFill/>
                </a:ln>
                <a:solidFill>
                  <a:schemeClr val="bg1"/>
                </a:solidFill>
                <a:effectLst/>
                <a:uLnTx/>
                <a:uFillTx/>
                <a:latin typeface="ArialMT"/>
              </a:rPr>
              <a:t>•</a:t>
            </a:r>
            <a:r>
              <a:rPr kumimoji="0" lang="it-IT" sz="1200" b="0" i="0" u="none" strike="noStrike" kern="0" cap="none" spc="0" normalizeH="0" baseline="0" noProof="0" dirty="0">
                <a:ln>
                  <a:noFill/>
                </a:ln>
                <a:solidFill>
                  <a:schemeClr val="bg1"/>
                </a:solidFill>
                <a:effectLst/>
                <a:uLnTx/>
                <a:uFillTx/>
                <a:latin typeface="Verdana"/>
              </a:rPr>
              <a:t>Distanza confini: minima 8 mt o pari al 50% dell’altezza del fabbricato;</a:t>
            </a:r>
          </a:p>
        </p:txBody>
      </p:sp>
      <p:sp>
        <p:nvSpPr>
          <p:cNvPr id="239" name="Rectangle 239"/>
          <p:cNvSpPr/>
          <p:nvPr/>
        </p:nvSpPr>
        <p:spPr>
          <a:xfrm>
            <a:off x="544068" y="4392041"/>
            <a:ext cx="2441374" cy="428131"/>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COSTO SUOLI €/mq 110,02;</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NORME TECNICHE</a:t>
            </a:r>
            <a:r>
              <a:rPr kumimoji="0" lang="it-IT" sz="1200" b="0" i="0" u="none" strike="noStrike" kern="0" cap="none" spc="343" normalizeH="0" baseline="0" noProof="0" dirty="0">
                <a:ln>
                  <a:noFill/>
                </a:ln>
                <a:solidFill>
                  <a:schemeClr val="bg1"/>
                </a:solidFill>
                <a:effectLst/>
                <a:uLnTx/>
                <a:uFillTx/>
                <a:latin typeface="Verdana"/>
              </a:rPr>
              <a:t>:</a:t>
            </a:r>
            <a:r>
              <a:rPr kumimoji="0" lang="it-IT" sz="1200" b="0" i="0" u="sng" strike="noStrike" kern="0" cap="none" spc="0"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clicc</a:t>
            </a:r>
            <a:r>
              <a:rPr kumimoji="0" lang="it-IT" sz="1200" b="0" i="0" u="sng" strike="noStrike" kern="0" cap="none" spc="375"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a</a:t>
            </a:r>
            <a:r>
              <a:rPr kumimoji="0" lang="it-IT" sz="1200" b="0" i="0" u="sng" strike="noStrike" kern="0" cap="none" spc="0"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qui.</a:t>
            </a:r>
          </a:p>
        </p:txBody>
      </p:sp>
      <p:sp>
        <p:nvSpPr>
          <p:cNvPr id="240" name="Rectangle 240"/>
          <p:cNvSpPr/>
          <p:nvPr/>
        </p:nvSpPr>
        <p:spPr>
          <a:xfrm>
            <a:off x="493794" y="5120421"/>
            <a:ext cx="1794979" cy="184666"/>
          </a:xfrm>
          <a:prstGeom prst="rect">
            <a:avLst/>
          </a:prstGeom>
          <a:noFill/>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sng" strike="noStrike" kern="0" cap="none" spc="0"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U</a:t>
            </a:r>
            <a:r>
              <a:rPr kumimoji="0" lang="it-IT" sz="1200" b="0" i="0" u="sng" strike="noStrike" kern="0" cap="none" spc="386"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n</a:t>
            </a:r>
            <a:r>
              <a:rPr kumimoji="0" lang="it-IT" sz="1200" b="0" i="0" u="sng" strike="noStrike" kern="0" cap="none" spc="0"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p</a:t>
            </a:r>
            <a:r>
              <a:rPr kumimoji="0" lang="it-IT" sz="1200" b="0" i="0" u="sng" strike="noStrike" kern="0" cap="none" spc="356"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ò</a:t>
            </a:r>
            <a:r>
              <a:rPr kumimoji="0" lang="it-IT" sz="1200" b="0" i="0" u="sng" strike="noStrike" kern="0" cap="none" spc="0"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d</a:t>
            </a:r>
            <a:r>
              <a:rPr kumimoji="0" lang="it-IT" sz="1200" b="0" i="0" u="sng" strike="noStrike" kern="0" cap="none" spc="373"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i</a:t>
            </a:r>
            <a:r>
              <a:rPr kumimoji="0" lang="it-IT" sz="1200" b="0" i="0" u="sng" strike="noStrike" kern="0" cap="none" spc="0"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Stori</a:t>
            </a:r>
            <a:r>
              <a:rPr kumimoji="0" lang="it-IT" sz="1200" b="0" i="0" u="sng" strike="noStrike" kern="0" cap="none" spc="358" normalizeH="0" baseline="0" noProof="0" dirty="0">
                <a:ln>
                  <a:noFill/>
                </a:ln>
                <a:solidFill>
                  <a:srgbClr val="0000FF"/>
                </a:solidFill>
                <a:effectLst/>
                <a:uLnTx/>
                <a:uFillTx/>
                <a:latin typeface="Tahoma"/>
                <a:hlinkClick r:id="rId3">
                  <a:extLst>
                    <a:ext uri="{A12FA001-AC4F-418D-AE19-62706E023703}">
                      <ahyp:hlinkClr xmlns:ahyp="http://schemas.microsoft.com/office/drawing/2018/hyperlinkcolor" val="tx"/>
                    </a:ext>
                  </a:extLst>
                </a:hlinkClick>
              </a:rPr>
              <a:t>a</a:t>
            </a:r>
            <a:r>
              <a:rPr kumimoji="0" lang="it-IT" sz="1200" b="0" i="0" u="sng" strike="noStrike" kern="0" cap="none" spc="0" normalizeH="0" baseline="0" noProof="0" dirty="0">
                <a:ln>
                  <a:noFill/>
                </a:ln>
                <a:solidFill>
                  <a:srgbClr val="0000FF"/>
                </a:solidFill>
                <a:effectLst/>
                <a:uLnTx/>
                <a:uFillTx/>
                <a:latin typeface="Tahoma"/>
              </a:rPr>
              <a:t>(clicc</a:t>
            </a:r>
            <a:r>
              <a:rPr kumimoji="0" lang="it-IT" sz="1200" b="0" i="0" u="sng" strike="noStrike" kern="0" cap="none" spc="399" normalizeH="0" baseline="0" noProof="0" dirty="0">
                <a:ln>
                  <a:noFill/>
                </a:ln>
                <a:solidFill>
                  <a:srgbClr val="0000FF"/>
                </a:solidFill>
                <a:effectLst/>
                <a:uLnTx/>
                <a:uFillTx/>
                <a:latin typeface="Tahoma"/>
              </a:rPr>
              <a:t>a</a:t>
            </a:r>
            <a:r>
              <a:rPr kumimoji="0" lang="it-IT" sz="1200" b="0" i="0" u="sng" strike="noStrike" kern="0" cap="none" spc="0" normalizeH="0" baseline="0" noProof="0" dirty="0">
                <a:ln>
                  <a:noFill/>
                </a:ln>
                <a:solidFill>
                  <a:srgbClr val="0000FF"/>
                </a:solidFill>
                <a:effectLst/>
                <a:uLnTx/>
                <a:uFillTx/>
                <a:latin typeface="Tahoma"/>
              </a:rPr>
              <a:t>qui)</a:t>
            </a:r>
          </a:p>
        </p:txBody>
      </p:sp>
      <p:sp>
        <p:nvSpPr>
          <p:cNvPr id="241" name="Rectangle 241"/>
          <p:cNvSpPr/>
          <p:nvPr/>
        </p:nvSpPr>
        <p:spPr>
          <a:xfrm>
            <a:off x="608990" y="566674"/>
            <a:ext cx="3124253"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Tahoma-Bold"/>
              </a:rPr>
              <a:t>Area industriale di Potenza</a:t>
            </a:r>
          </a:p>
        </p:txBody>
      </p:sp>
      <p:pic>
        <p:nvPicPr>
          <p:cNvPr id="2" name="Picture 103">
            <a:extLst>
              <a:ext uri="{FF2B5EF4-FFF2-40B4-BE49-F238E27FC236}">
                <a16:creationId xmlns:a16="http://schemas.microsoft.com/office/drawing/2014/main" id="{EDE06EC5-50A0-1EE2-BCA9-3343932FA5B2}"/>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44" name="Picture 24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914400" y="576073"/>
            <a:ext cx="9866376" cy="4946903"/>
          </a:xfrm>
          <a:prstGeom prst="rect">
            <a:avLst/>
          </a:prstGeom>
          <a:noFill/>
        </p:spPr>
      </p:pic>
      <p:sp>
        <p:nvSpPr>
          <p:cNvPr id="245" name="Rectangle 245"/>
          <p:cNvSpPr/>
          <p:nvPr/>
        </p:nvSpPr>
        <p:spPr>
          <a:xfrm>
            <a:off x="1006144" y="6051119"/>
            <a:ext cx="6073642"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000000"/>
                </a:solidFill>
                <a:effectLst/>
                <a:uLnTx/>
                <a:uFillTx/>
                <a:latin typeface="Calibri"/>
                <a:hlinkClick r:id="rId3"/>
              </a:rPr>
              <a:t>https://www.apibas.it/wp-content/uploads/2022/11/Potenza.pdf</a:t>
            </a:r>
          </a:p>
        </p:txBody>
      </p:sp>
      <p:pic>
        <p:nvPicPr>
          <p:cNvPr id="2" name="Picture 103">
            <a:extLst>
              <a:ext uri="{FF2B5EF4-FFF2-40B4-BE49-F238E27FC236}">
                <a16:creationId xmlns:a16="http://schemas.microsoft.com/office/drawing/2014/main" id="{A0FBA16D-54EF-395D-E531-53C2433771D5}"/>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48" name="Picture 24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033272" y="499872"/>
            <a:ext cx="9430511" cy="4913376"/>
          </a:xfrm>
          <a:prstGeom prst="rect">
            <a:avLst/>
          </a:prstGeom>
          <a:noFill/>
        </p:spPr>
      </p:pic>
      <p:sp>
        <p:nvSpPr>
          <p:cNvPr id="249" name="Rectangle 249"/>
          <p:cNvSpPr/>
          <p:nvPr/>
        </p:nvSpPr>
        <p:spPr>
          <a:xfrm>
            <a:off x="1123492" y="6079999"/>
            <a:ext cx="6938669"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00000"/>
                </a:solidFill>
                <a:effectLst/>
                <a:uLnTx/>
                <a:uFillTx/>
                <a:latin typeface="Calibri"/>
                <a:hlinkClick r:id="rId3"/>
              </a:rPr>
              <a:t>https://www.apibas.it/wp-content/uploads/2022/11/Potenza_Viabilita.pdf</a:t>
            </a:r>
          </a:p>
        </p:txBody>
      </p:sp>
      <p:pic>
        <p:nvPicPr>
          <p:cNvPr id="2" name="Picture 103">
            <a:extLst>
              <a:ext uri="{FF2B5EF4-FFF2-40B4-BE49-F238E27FC236}">
                <a16:creationId xmlns:a16="http://schemas.microsoft.com/office/drawing/2014/main" id="{A4D1B7B3-10EA-C18C-F6B2-C128291F77EA}"/>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54" name="Picture 25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85929" y="754738"/>
            <a:ext cx="6287012" cy="4799755"/>
          </a:xfrm>
          <a:prstGeom prst="rect">
            <a:avLst/>
          </a:prstGeom>
          <a:noFill/>
        </p:spPr>
      </p:pic>
      <p:sp>
        <p:nvSpPr>
          <p:cNvPr id="253" name="Freeform 253">
            <a:hlinkClick r:id="rId3"/>
          </p:cNvPr>
          <p:cNvSpPr/>
          <p:nvPr/>
        </p:nvSpPr>
        <p:spPr>
          <a:xfrm>
            <a:off x="6681382" y="933855"/>
            <a:ext cx="5172289" cy="4165450"/>
          </a:xfrm>
          <a:custGeom>
            <a:avLst/>
            <a:gdLst/>
            <a:ahLst/>
            <a:cxnLst/>
            <a:rect l="0" t="0" r="0" b="0"/>
            <a:pathLst>
              <a:path w="5608320" h="4349497">
                <a:moveTo>
                  <a:pt x="0" y="4349497"/>
                </a:moveTo>
                <a:lnTo>
                  <a:pt x="5608320" y="4349497"/>
                </a:lnTo>
                <a:lnTo>
                  <a:pt x="5608320" y="0"/>
                </a:lnTo>
                <a:lnTo>
                  <a:pt x="0" y="0"/>
                </a:lnTo>
                <a:lnTo>
                  <a:pt x="0" y="4349497"/>
                </a:lnTo>
                <a:close/>
              </a:path>
            </a:pathLst>
          </a:custGeom>
          <a:noFill/>
          <a:ln w="12700" cap="flat" cmpd="sng">
            <a:solidFill>
              <a:srgbClr val="4472C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it-IT" dirty="0"/>
          </a:p>
        </p:txBody>
      </p:sp>
      <p:sp>
        <p:nvSpPr>
          <p:cNvPr id="257" name="Rectangle 257"/>
          <p:cNvSpPr/>
          <p:nvPr/>
        </p:nvSpPr>
        <p:spPr>
          <a:xfrm>
            <a:off x="6843631" y="1076052"/>
            <a:ext cx="1804981"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Calibri-Bold"/>
              </a:rPr>
              <a:t>LOTTI DISPONIBILI </a:t>
            </a:r>
          </a:p>
        </p:txBody>
      </p:sp>
      <p:sp>
        <p:nvSpPr>
          <p:cNvPr id="258" name="Rectangle 258"/>
          <p:cNvSpPr/>
          <p:nvPr/>
        </p:nvSpPr>
        <p:spPr>
          <a:xfrm>
            <a:off x="6681383" y="1531240"/>
            <a:ext cx="3101811" cy="276999"/>
          </a:xfrm>
          <a:prstGeom prst="rect">
            <a:avLst/>
          </a:prstGeom>
        </p:spPr>
        <p:txBody>
          <a:bodyPr wrap="none" lIns="0" tIns="0" rIns="0" bIns="0">
            <a:spAutoFit/>
          </a:bodyPr>
          <a:lstStyle/>
          <a:p>
            <a:pPr lvl="1">
              <a:tabLst>
                <a:tab pos="344805" algn="l"/>
              </a:tabLst>
              <a:defRPr/>
            </a:pPr>
            <a:r>
              <a:rPr kumimoji="0" lang="it-IT" b="0" i="0" u="none" strike="noStrike" kern="0" cap="none" spc="0" normalizeH="0" baseline="0" noProof="0" dirty="0">
                <a:ln>
                  <a:noFill/>
                </a:ln>
                <a:solidFill>
                  <a:srgbClr val="000000"/>
                </a:solidFill>
                <a:effectLst/>
                <a:uLnTx/>
                <a:uFillTx/>
                <a:latin typeface="Calibri"/>
                <a:hlinkClick r:id="rId3"/>
              </a:rPr>
              <a:t>1)	</a:t>
            </a:r>
            <a:r>
              <a:rPr kumimoji="0" lang="it-IT" b="0" i="0" u="none" strike="noStrike" kern="0" cap="none" spc="0" normalizeH="0" baseline="0" noProof="0" dirty="0">
                <a:ln>
                  <a:noFill/>
                </a:ln>
                <a:solidFill>
                  <a:srgbClr val="0563C1"/>
                </a:solidFill>
                <a:effectLst/>
                <a:uLnTx/>
                <a:uFillTx/>
                <a:latin typeface="Calibri"/>
                <a:hlinkClick r:id="rId3"/>
              </a:rPr>
              <a:t>50_1703.pdf (apibas.it)</a:t>
            </a:r>
          </a:p>
        </p:txBody>
      </p:sp>
      <p:sp>
        <p:nvSpPr>
          <p:cNvPr id="259" name="Rectangle 259"/>
          <p:cNvSpPr/>
          <p:nvPr/>
        </p:nvSpPr>
        <p:spPr>
          <a:xfrm>
            <a:off x="483552" y="5766801"/>
            <a:ext cx="4795356"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0563C1"/>
                </a:solidFill>
                <a:effectLst/>
                <a:uLnTx/>
                <a:uFillTx/>
                <a:latin typeface="Calibri"/>
                <a:hlinkClick r:id="rId4"/>
              </a:rPr>
              <a:t>API-Bas S.p.A. Area industriale di Potenza (apibas.it)</a:t>
            </a:r>
          </a:p>
        </p:txBody>
      </p:sp>
      <p:sp>
        <p:nvSpPr>
          <p:cNvPr id="2" name="Rectangle 1">
            <a:extLst>
              <a:ext uri="{FF2B5EF4-FFF2-40B4-BE49-F238E27FC236}">
                <a16:creationId xmlns:a16="http://schemas.microsoft.com/office/drawing/2014/main" id="{A0E8DFC7-2CB0-B62C-8532-EAA732B9CBD0}"/>
              </a:ext>
            </a:extLst>
          </p:cNvPr>
          <p:cNvSpPr/>
          <p:nvPr/>
        </p:nvSpPr>
        <p:spPr>
          <a:xfrm>
            <a:off x="7140103" y="2355365"/>
            <a:ext cx="3414409" cy="18968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dirty="0">
                <a:solidFill>
                  <a:schemeClr val="bg1"/>
                </a:solidFill>
              </a:rPr>
              <a:t>Informazioni Lotto 1</a:t>
            </a:r>
          </a:p>
          <a:p>
            <a:endParaRPr lang="it-IT" dirty="0">
              <a:solidFill>
                <a:schemeClr val="bg1"/>
              </a:solidFill>
            </a:endParaRPr>
          </a:p>
          <a:p>
            <a:r>
              <a:rPr lang="it-IT" dirty="0">
                <a:solidFill>
                  <a:schemeClr val="bg1"/>
                </a:solidFill>
              </a:rPr>
              <a:t>Foglio 50 particella 1703;</a:t>
            </a:r>
          </a:p>
          <a:p>
            <a:r>
              <a:rPr lang="it-IT" dirty="0">
                <a:solidFill>
                  <a:schemeClr val="bg1"/>
                </a:solidFill>
              </a:rPr>
              <a:t>Superficie Coperta: 300 mq</a:t>
            </a:r>
          </a:p>
          <a:p>
            <a:endParaRPr lang="it-IT" dirty="0">
              <a:solidFill>
                <a:schemeClr val="bg1"/>
              </a:solidFill>
            </a:endParaRPr>
          </a:p>
          <a:p>
            <a:r>
              <a:rPr lang="it-IT" dirty="0">
                <a:solidFill>
                  <a:schemeClr val="bg1"/>
                </a:solidFill>
              </a:rPr>
              <a:t>Ufficio Tecnico API-</a:t>
            </a:r>
            <a:r>
              <a:rPr lang="it-IT" dirty="0" err="1">
                <a:solidFill>
                  <a:schemeClr val="bg1"/>
                </a:solidFill>
              </a:rPr>
              <a:t>Bas</a:t>
            </a:r>
            <a:endParaRPr lang="it-IT" dirty="0">
              <a:solidFill>
                <a:schemeClr val="bg1"/>
              </a:solidFill>
            </a:endParaRPr>
          </a:p>
          <a:p>
            <a:r>
              <a:rPr lang="it-IT" dirty="0">
                <a:solidFill>
                  <a:schemeClr val="bg1"/>
                </a:solidFill>
              </a:rPr>
              <a:t>Scala 1: 500</a:t>
            </a:r>
          </a:p>
          <a:p>
            <a:r>
              <a:rPr lang="it-IT" dirty="0">
                <a:solidFill>
                  <a:schemeClr val="bg1"/>
                </a:solidFill>
              </a:rPr>
              <a:t>Data: 2024</a:t>
            </a:r>
          </a:p>
        </p:txBody>
      </p:sp>
      <p:pic>
        <p:nvPicPr>
          <p:cNvPr id="3" name="Picture 103">
            <a:extLst>
              <a:ext uri="{FF2B5EF4-FFF2-40B4-BE49-F238E27FC236}">
                <a16:creationId xmlns:a16="http://schemas.microsoft.com/office/drawing/2014/main" id="{961EAFAF-D236-ED29-1E66-20B77E06CBA8}"/>
              </a:ext>
            </a:extLst>
          </p:cNvPr>
          <p:cNvPicPr>
            <a:picLocks noChangeArrowheads="1"/>
          </p:cNvPicPr>
          <p:nvPr/>
        </p:nvPicPr>
        <p:blipFill>
          <a:blip r:embed="rId5"/>
          <a:srcRect/>
          <a:stretch/>
        </p:blipFill>
        <p:spPr>
          <a:xfrm>
            <a:off x="10304687" y="5638799"/>
            <a:ext cx="1650167" cy="1106424"/>
          </a:xfrm>
          <a:prstGeom prst="rect">
            <a:avLst/>
          </a:prstGeom>
          <a:noFill/>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2" name="Rectangle 262"/>
          <p:cNvSpPr/>
          <p:nvPr/>
        </p:nvSpPr>
        <p:spPr>
          <a:xfrm>
            <a:off x="747369" y="1513718"/>
            <a:ext cx="10687344" cy="2616101"/>
          </a:xfrm>
          <a:prstGeom prst="rect">
            <a:avLst/>
          </a:prstGeom>
        </p:spPr>
        <p:txBody>
          <a:bodyPr wrap="square" lIns="0" tIns="0" rIns="0" bIns="0">
            <a:spAutoFit/>
          </a:bodyPr>
          <a:lstStyle/>
          <a:p>
            <a:pPr marL="0" marR="0" lvl="0" indent="0" algn="just" defTabSz="914400" eaLnBrk="1" fontAlgn="auto" latinLnBrk="0" hangingPunct="1">
              <a:spcBef>
                <a:spcPts val="0"/>
              </a:spcBef>
              <a:spcAft>
                <a:spcPts val="600"/>
              </a:spcAft>
              <a:buClrTx/>
              <a:buSzTx/>
              <a:buFontTx/>
              <a:buNone/>
              <a:tabLst/>
              <a:defRPr/>
            </a:pPr>
            <a:r>
              <a:rPr kumimoji="0" lang="it-IT" sz="1600" b="0" i="0" u="none" strike="noStrike" kern="0" cap="none" spc="0" normalizeH="0" baseline="0" noProof="0" dirty="0">
                <a:ln>
                  <a:noFill/>
                </a:ln>
                <a:solidFill>
                  <a:schemeClr val="bg1"/>
                </a:solidFill>
                <a:effectLst/>
                <a:uLnTx/>
                <a:uFillTx/>
              </a:rPr>
              <a:t>L’area della</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zona</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dustriale</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i Tito si</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sviluppa</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per circa</a:t>
            </a:r>
            <a:r>
              <a:rPr kumimoji="0" lang="it-IT" sz="1600" b="0" i="0" u="none" strike="noStrike" kern="0" cap="none" spc="110"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416</a:t>
            </a:r>
            <a:r>
              <a:rPr kumimoji="0" lang="it-IT" sz="1600" b="1" i="0" u="none" strike="noStrike" kern="0" cap="none" spc="123"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ha, su una superficie</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pianeggiante allungata in</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irezione</a:t>
            </a:r>
            <a:r>
              <a:rPr kumimoji="0" lang="it-IT" sz="1600" b="0" i="0" u="none" strike="noStrike" kern="0" cap="none" spc="16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Est-Ovest</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he</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ricade</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nella</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parte</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lta</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el</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bacino</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el</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fiume</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Basento.</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L’area</a:t>
            </a:r>
            <a:r>
              <a:rPr kumimoji="0" lang="it-IT" sz="1600" b="0" i="0" u="none" strike="noStrike" kern="0" cap="none" spc="18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frastrutturata</a:t>
            </a:r>
            <a:r>
              <a:rPr kumimoji="0" lang="it-IT" sz="1600" b="0" i="0" u="none" strike="noStrike" kern="0" cap="none" spc="15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si estende</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per</a:t>
            </a:r>
            <a:r>
              <a:rPr kumimoji="0" lang="it-IT" sz="1600" b="0" i="0" u="none" strike="noStrike" kern="0" cap="none" spc="136"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irca</a:t>
            </a:r>
            <a:r>
              <a:rPr kumimoji="0" lang="it-IT" sz="1600" b="0" i="0" u="none" strike="noStrike" kern="0" cap="none" spc="134"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241</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ha</a:t>
            </a:r>
            <a:r>
              <a:rPr kumimoji="0" lang="it-IT" sz="1600" b="1" i="0" u="none" strike="noStrike" kern="0" cap="none" spc="150"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suddivisa</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in</a:t>
            </a:r>
            <a:r>
              <a:rPr kumimoji="0" lang="it-IT" sz="1600" b="1" i="0" u="none" strike="noStrike" kern="0" cap="none" spc="149"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circa</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212</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lotti</a:t>
            </a:r>
            <a:r>
              <a:rPr kumimoji="0" lang="it-IT" sz="1600" b="0" i="0" u="none" strike="noStrike" kern="0" cap="none" spc="0" normalizeH="0" baseline="0" noProof="0" dirty="0">
                <a:ln>
                  <a:noFill/>
                </a:ln>
                <a:solidFill>
                  <a:schemeClr val="bg1"/>
                </a:solidFill>
                <a:effectLst/>
                <a:uLnTx/>
                <a:uFillTx/>
              </a:rPr>
              <a:t>,</a:t>
            </a:r>
            <a:r>
              <a:rPr kumimoji="0" lang="it-IT" sz="1600" b="0" i="0" u="none" strike="noStrike" kern="0" cap="none" spc="134"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i</a:t>
            </a:r>
            <a:r>
              <a:rPr kumimoji="0" lang="it-IT" sz="1600" b="0" i="0" u="none" strike="noStrike" kern="0" cap="none" spc="134"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ui</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risultano</a:t>
            </a:r>
            <a:r>
              <a:rPr kumimoji="0" lang="it-IT" sz="1600" b="0" i="0" u="none" strike="noStrike" kern="0" cap="none" spc="110"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impegnati</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all’incirca</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un</a:t>
            </a:r>
            <a:r>
              <a:rPr kumimoji="0" lang="it-IT" sz="1600" b="1" i="0" u="none" strike="noStrike" kern="0" cap="none" spc="147" normalizeH="0" baseline="0" noProof="0" dirty="0">
                <a:ln>
                  <a:noFill/>
                </a:ln>
                <a:solidFill>
                  <a:schemeClr val="bg1"/>
                </a:solidFill>
                <a:effectLst/>
                <a:uLnTx/>
                <a:uFillTx/>
              </a:rPr>
              <a:t> </a:t>
            </a:r>
            <a:r>
              <a:rPr kumimoji="0" lang="it-IT" sz="1600" b="1" i="0" u="none" strike="noStrike" kern="0" cap="none" spc="0" normalizeH="0" baseline="0" noProof="0" dirty="0">
                <a:ln>
                  <a:noFill/>
                </a:ln>
                <a:solidFill>
                  <a:schemeClr val="bg1"/>
                </a:solidFill>
                <a:effectLst/>
                <a:uLnTx/>
                <a:uFillTx/>
              </a:rPr>
              <a:t>160-170</a:t>
            </a:r>
            <a:r>
              <a:rPr kumimoji="0" lang="it-IT" sz="1600" b="0" i="0" u="none" strike="noStrike" kern="0" cap="none" spc="0" normalizeH="0" baseline="0" noProof="0" dirty="0">
                <a:ln>
                  <a:noFill/>
                </a:ln>
                <a:solidFill>
                  <a:schemeClr val="bg1"/>
                </a:solidFill>
                <a:effectLst/>
                <a:uLnTx/>
                <a:uFillTx/>
              </a:rPr>
              <a:t>.</a:t>
            </a:r>
          </a:p>
          <a:p>
            <a:pPr marL="0" marR="0" lvl="0" indent="0" algn="just" defTabSz="914400" eaLnBrk="1" fontAlgn="auto" latinLnBrk="0" hangingPunct="1">
              <a:spcBef>
                <a:spcPts val="0"/>
              </a:spcBef>
              <a:spcAft>
                <a:spcPts val="600"/>
              </a:spcAft>
              <a:buClrTx/>
              <a:buSzTx/>
              <a:buFontTx/>
              <a:buNone/>
              <a:tabLst/>
              <a:defRPr/>
            </a:pPr>
            <a:endParaRPr kumimoji="0" lang="it-IT" sz="1600" b="0" i="0" u="none" strike="noStrike" kern="0" cap="none" spc="0" normalizeH="0" baseline="0" noProof="0" dirty="0">
              <a:ln>
                <a:noFill/>
              </a:ln>
              <a:solidFill>
                <a:schemeClr val="bg1"/>
              </a:solidFill>
              <a:effectLst/>
              <a:uLnTx/>
              <a:uFillTx/>
            </a:endParaRPr>
          </a:p>
          <a:p>
            <a:pPr marL="0" marR="0" lvl="0" indent="0" algn="just" defTabSz="914400" eaLnBrk="1" fontAlgn="auto" latinLnBrk="0" hangingPunct="1">
              <a:spcBef>
                <a:spcPts val="0"/>
              </a:spcBef>
              <a:spcAft>
                <a:spcPts val="600"/>
              </a:spcAft>
              <a:buClrTx/>
              <a:buSzTx/>
              <a:buFontTx/>
              <a:buNone/>
              <a:tabLst/>
              <a:defRPr/>
            </a:pPr>
            <a:r>
              <a:rPr kumimoji="0" lang="it-IT" sz="1600" b="0" i="0" u="none" strike="noStrike" kern="0" cap="none" spc="0" normalizeH="0" baseline="0" noProof="0" dirty="0">
                <a:ln>
                  <a:noFill/>
                </a:ln>
                <a:solidFill>
                  <a:schemeClr val="bg1"/>
                </a:solidFill>
                <a:effectLst/>
                <a:uLnTx/>
                <a:uFillTx/>
              </a:rPr>
              <a:t>L’area di Tito, già avviatasi nelle prime fasi dell’orientamento verso l’industrializzazione delle politiche della Cassa per</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l Mezzogiorno sul finire degli anni ‘50, aveva registrato un forte</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mpulso –</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sieme con</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le</a:t>
            </a:r>
            <a:r>
              <a:rPr kumimoji="0" lang="it-IT" sz="1600" b="0" i="0" u="none" strike="noStrike" kern="0" cap="none" spc="110"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ltre aree individuate dalla legge per la ricostruzione post-terremoto – a seguito dell’operatività della legge 219 e</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ei</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onsistenti</a:t>
            </a:r>
            <a:r>
              <a:rPr kumimoji="0" lang="it-IT" sz="1600" b="0" i="0" u="none" strike="noStrike" kern="0" cap="none" spc="326"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ontributi</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erogati.</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Le</a:t>
            </a:r>
            <a:r>
              <a:rPr kumimoji="0" lang="it-IT" sz="1600" b="0" i="0" u="none" strike="noStrike" kern="0" cap="none" spc="32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iziative</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vviate</a:t>
            </a:r>
            <a:r>
              <a:rPr kumimoji="0" lang="it-IT" sz="1600" b="0" i="0" u="none" strike="noStrike" kern="0" cap="none" spc="326"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quel</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periodo</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si</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sono</a:t>
            </a:r>
            <a:r>
              <a:rPr kumimoji="0" lang="it-IT" sz="1600" b="0" i="0" u="none" strike="noStrike" kern="0" cap="none" spc="304"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ggiunte</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a:t>
            </a:r>
            <a:r>
              <a:rPr kumimoji="0" lang="it-IT" sz="1600" b="0" i="0" u="none" strike="noStrike" kern="0" cap="none" spc="326"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quelle</a:t>
            </a:r>
            <a:r>
              <a:rPr kumimoji="0" lang="it-IT" sz="1600" b="0" i="0" u="none" strike="noStrike" kern="0" cap="none" spc="30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già esistenti</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facenti</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apo</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l</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consorzio</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dustriale</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di</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Potenza.</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Ad</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oggi</a:t>
            </a:r>
            <a:r>
              <a:rPr kumimoji="0" lang="it-IT" sz="1600" b="0" i="0" u="none" strike="noStrike" kern="0" cap="none" spc="425"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le</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mprese</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in</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esercizio</a:t>
            </a:r>
            <a:r>
              <a:rPr kumimoji="0" lang="it-IT" sz="1600" b="0" i="0" u="none" strike="noStrike" kern="0" cap="none" spc="398"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hanno</a:t>
            </a:r>
            <a:r>
              <a:rPr kumimoji="0" lang="it-IT" sz="1600" b="0" i="0" u="none" strike="noStrike" kern="0" cap="none" spc="422" normalizeH="0" baseline="0" noProof="0" dirty="0">
                <a:ln>
                  <a:noFill/>
                </a:ln>
                <a:solidFill>
                  <a:schemeClr val="bg1"/>
                </a:solidFill>
                <a:effectLst/>
                <a:uLnTx/>
                <a:uFillTx/>
              </a:rPr>
              <a:t> </a:t>
            </a:r>
            <a:r>
              <a:rPr kumimoji="0" lang="it-IT" sz="1600" b="0" i="0" u="none" strike="noStrike" kern="0" cap="none" spc="0" normalizeH="0" baseline="0" noProof="0" dirty="0">
                <a:ln>
                  <a:noFill/>
                </a:ln>
                <a:solidFill>
                  <a:schemeClr val="bg1"/>
                </a:solidFill>
                <a:effectLst/>
                <a:uLnTx/>
                <a:uFillTx/>
              </a:rPr>
              <a:t>una struttura produttiva settoriale variegata ma con una specializzazione spiccata nel campo della meccanica e della lavorazione dei metalli e a seguire quello della logistica e dei trasporti trasporti.</a:t>
            </a:r>
          </a:p>
        </p:txBody>
      </p:sp>
      <p:sp>
        <p:nvSpPr>
          <p:cNvPr id="263" name="Rectangle 263"/>
          <p:cNvSpPr/>
          <p:nvPr/>
        </p:nvSpPr>
        <p:spPr>
          <a:xfrm>
            <a:off x="747369" y="5364760"/>
            <a:ext cx="51732"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44546A"/>
                </a:solidFill>
                <a:effectLst/>
                <a:uLnTx/>
                <a:uFillTx/>
                <a:latin typeface="Calibri"/>
              </a:rPr>
              <a:t> </a:t>
            </a:r>
          </a:p>
        </p:txBody>
      </p:sp>
      <p:sp>
        <p:nvSpPr>
          <p:cNvPr id="264" name="Rectangle 264"/>
          <p:cNvSpPr/>
          <p:nvPr/>
        </p:nvSpPr>
        <p:spPr>
          <a:xfrm>
            <a:off x="747369" y="569977"/>
            <a:ext cx="2760371"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Tahoma-Bold"/>
              </a:rPr>
              <a:t>Area industriale di TITO</a:t>
            </a:r>
          </a:p>
        </p:txBody>
      </p:sp>
      <p:pic>
        <p:nvPicPr>
          <p:cNvPr id="2" name="Picture 103">
            <a:extLst>
              <a:ext uri="{FF2B5EF4-FFF2-40B4-BE49-F238E27FC236}">
                <a16:creationId xmlns:a16="http://schemas.microsoft.com/office/drawing/2014/main" id="{9D1358ED-261A-3615-099F-5B0F82362FC2}"/>
              </a:ext>
            </a:extLst>
          </p:cNvPr>
          <p:cNvPicPr>
            <a:picLocks noChangeArrowheads="1"/>
          </p:cNvPicPr>
          <p:nvPr/>
        </p:nvPicPr>
        <p:blipFill>
          <a:blip r:embed="rId2"/>
          <a:srcRect/>
          <a:stretch/>
        </p:blipFill>
        <p:spPr>
          <a:xfrm>
            <a:off x="10304687" y="5638799"/>
            <a:ext cx="1650167" cy="1106424"/>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town on a hill&#10;&#10;Description automatically generated">
            <a:extLst>
              <a:ext uri="{FF2B5EF4-FFF2-40B4-BE49-F238E27FC236}">
                <a16:creationId xmlns:a16="http://schemas.microsoft.com/office/drawing/2014/main" id="{8D800684-1874-A857-68E3-B6A9982A567D}"/>
              </a:ext>
            </a:extLst>
          </p:cNvPr>
          <p:cNvPicPr>
            <a:picLocks noChangeAspect="1"/>
          </p:cNvPicPr>
          <p:nvPr/>
        </p:nvPicPr>
        <p:blipFill rotWithShape="1">
          <a:blip r:embed="rId2"/>
          <a:srcRect l="38122" r="34666" b="42511"/>
          <a:stretch/>
        </p:blipFill>
        <p:spPr>
          <a:xfrm>
            <a:off x="0" y="1536817"/>
            <a:ext cx="4474723" cy="5317613"/>
          </a:xfrm>
          <a:prstGeom prst="rect">
            <a:avLst/>
          </a:prstGeom>
        </p:spPr>
      </p:pic>
      <p:sp>
        <p:nvSpPr>
          <p:cNvPr id="14" name="Rettangolo 13">
            <a:extLst>
              <a:ext uri="{FF2B5EF4-FFF2-40B4-BE49-F238E27FC236}">
                <a16:creationId xmlns:a16="http://schemas.microsoft.com/office/drawing/2014/main" id="{5FAECF2F-DAB9-A993-FD4E-8E10E0669755}"/>
              </a:ext>
            </a:extLst>
          </p:cNvPr>
          <p:cNvSpPr/>
          <p:nvPr/>
        </p:nvSpPr>
        <p:spPr>
          <a:xfrm>
            <a:off x="0" y="3570"/>
            <a:ext cx="12192000" cy="6854430"/>
          </a:xfrm>
          <a:prstGeom prst="rect">
            <a:avLst/>
          </a:prstGeom>
          <a:solidFill>
            <a:srgbClr val="00000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it-IT" sz="1199" dirty="0">
              <a:solidFill>
                <a:srgbClr val="2E2E38"/>
              </a:solidFill>
              <a:latin typeface="EYInterstate Light"/>
            </a:endParaRPr>
          </a:p>
        </p:txBody>
      </p:sp>
      <p:sp>
        <p:nvSpPr>
          <p:cNvPr id="2" name="Title 1"/>
          <p:cNvSpPr>
            <a:spLocks noGrp="1"/>
          </p:cNvSpPr>
          <p:nvPr>
            <p:ph type="title" idx="4294967295"/>
          </p:nvPr>
        </p:nvSpPr>
        <p:spPr>
          <a:xfrm>
            <a:off x="619935" y="308594"/>
            <a:ext cx="11366184" cy="590243"/>
          </a:xfrm>
        </p:spPr>
        <p:txBody>
          <a:bodyPr/>
          <a:lstStyle/>
          <a:p>
            <a:pPr>
              <a:spcAft>
                <a:spcPts val="800"/>
              </a:spcAft>
            </a:pPr>
            <a:r>
              <a:rPr lang="it-IT" sz="1899" dirty="0">
                <a:solidFill>
                  <a:schemeClr val="tx2"/>
                </a:solidFill>
              </a:rPr>
              <a:t>EY Smart Funding e Confindustria Basilicata | Bando Legge 181/89</a:t>
            </a:r>
            <a:br>
              <a:rPr lang="it-IT" sz="1899" dirty="0">
                <a:solidFill>
                  <a:schemeClr val="tx2"/>
                </a:solidFill>
              </a:rPr>
            </a:br>
            <a:r>
              <a:rPr lang="it-IT" sz="1600" i="1" dirty="0">
                <a:solidFill>
                  <a:schemeClr val="tx2"/>
                </a:solidFill>
              </a:rPr>
              <a:t>“Progetto di riconversione e riqualificazione industriale dell’area di crisi industriale complessa dei sistemi locali del lavoro di </a:t>
            </a:r>
            <a:r>
              <a:rPr lang="it-IT" sz="1600" b="1" i="1" dirty="0">
                <a:solidFill>
                  <a:schemeClr val="tx2"/>
                </a:solidFill>
              </a:rPr>
              <a:t>Melfi, Potenza e Rionero in Vulture</a:t>
            </a:r>
            <a:r>
              <a:rPr lang="it-IT" sz="1600" i="1" dirty="0">
                <a:solidFill>
                  <a:schemeClr val="tx2"/>
                </a:solidFill>
              </a:rPr>
              <a:t>“</a:t>
            </a:r>
            <a:endParaRPr lang="en-US" sz="1899" i="1" dirty="0">
              <a:solidFill>
                <a:schemeClr val="tx2"/>
              </a:solidFill>
            </a:endParaRPr>
          </a:p>
        </p:txBody>
      </p:sp>
      <p:graphicFrame>
        <p:nvGraphicFramePr>
          <p:cNvPr id="4" name="Tabella 6">
            <a:extLst>
              <a:ext uri="{FF2B5EF4-FFF2-40B4-BE49-F238E27FC236}">
                <a16:creationId xmlns:a16="http://schemas.microsoft.com/office/drawing/2014/main" id="{C829524B-B9D3-4213-99F8-8AAEA20A4311}"/>
              </a:ext>
            </a:extLst>
          </p:cNvPr>
          <p:cNvGraphicFramePr>
            <a:graphicFrameLocks noGrp="1"/>
          </p:cNvGraphicFramePr>
          <p:nvPr>
            <p:extLst>
              <p:ext uri="{D42A27DB-BD31-4B8C-83A1-F6EECF244321}">
                <p14:modId xmlns:p14="http://schemas.microsoft.com/office/powerpoint/2010/main" val="1932153544"/>
              </p:ext>
            </p:extLst>
          </p:nvPr>
        </p:nvGraphicFramePr>
        <p:xfrm>
          <a:off x="4861034" y="1899301"/>
          <a:ext cx="6786056" cy="4455458"/>
        </p:xfrm>
        <a:graphic>
          <a:graphicData uri="http://schemas.openxmlformats.org/drawingml/2006/table">
            <a:tbl>
              <a:tblPr firstRow="1" bandRow="1">
                <a:tableStyleId>{2D5ABB26-0587-4C30-8999-92F81FD0307C}</a:tableStyleId>
              </a:tblPr>
              <a:tblGrid>
                <a:gridCol w="3854949">
                  <a:extLst>
                    <a:ext uri="{9D8B030D-6E8A-4147-A177-3AD203B41FA5}">
                      <a16:colId xmlns:a16="http://schemas.microsoft.com/office/drawing/2014/main" val="30240099"/>
                    </a:ext>
                  </a:extLst>
                </a:gridCol>
                <a:gridCol w="2931107">
                  <a:extLst>
                    <a:ext uri="{9D8B030D-6E8A-4147-A177-3AD203B41FA5}">
                      <a16:colId xmlns:a16="http://schemas.microsoft.com/office/drawing/2014/main" val="2406982606"/>
                    </a:ext>
                  </a:extLst>
                </a:gridCol>
              </a:tblGrid>
              <a:tr h="791222">
                <a:tc>
                  <a:txBody>
                    <a:bodyPr/>
                    <a:lstStyle/>
                    <a:p>
                      <a:pPr algn="l">
                        <a:lnSpc>
                          <a:spcPct val="100000"/>
                        </a:lnSpc>
                        <a:spcAft>
                          <a:spcPts val="120"/>
                        </a:spcAft>
                      </a:pPr>
                      <a:r>
                        <a:rPr lang="it-IT" sz="1400" kern="1200" dirty="0">
                          <a:solidFill>
                            <a:schemeClr val="tx2"/>
                          </a:solidFill>
                          <a:latin typeface="+mn-lt"/>
                          <a:ea typeface="+mn-ea"/>
                          <a:cs typeface="+mn-cs"/>
                        </a:rPr>
                        <a:t>Contesto territoriale: Melfi, Potenza e Rionero in Vulture</a:t>
                      </a:r>
                      <a:endParaRPr lang="it-IT" sz="1400" dirty="0">
                        <a:solidFill>
                          <a:schemeClr val="tx2"/>
                        </a:solidFill>
                        <a:latin typeface="+mn-lt"/>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err="1">
                          <a:ln>
                            <a:noFill/>
                          </a:ln>
                          <a:solidFill>
                            <a:schemeClr val="bg1"/>
                          </a:solidFill>
                          <a:effectLst/>
                          <a:uLnTx/>
                          <a:uFillTx/>
                          <a:latin typeface="+mn-lt"/>
                          <a:ea typeface="+mn-ea"/>
                          <a:cs typeface="Georgia"/>
                        </a:rPr>
                        <a:t>Overview</a:t>
                      </a:r>
                      <a:endParaRPr kumimoji="0" lang="it-IT" sz="1400" b="0" i="0" u="none" strike="noStrike" kern="1200" cap="none" spc="0" normalizeH="0" baseline="0" noProof="0" dirty="0">
                        <a:ln>
                          <a:noFill/>
                        </a:ln>
                        <a:solidFill>
                          <a:schemeClr val="bg1"/>
                        </a:solidFill>
                        <a:effectLst/>
                        <a:uLnTx/>
                        <a:uFillTx/>
                        <a:latin typeface="+mn-lt"/>
                        <a:ea typeface="+mn-ea"/>
                        <a:cs typeface="Georgia"/>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La aree industriali ricomprese nell’area di crisi complessa</a:t>
                      </a:r>
                    </a:p>
                  </a:txBody>
                  <a:tcPr marL="91392" marR="91392" marT="45696" marB="45696" anchor="ctr">
                    <a:lnR w="9525" cap="flat" cmpd="sng" algn="ctr">
                      <a:solidFill>
                        <a:srgbClr val="C4C4CD"/>
                      </a:solidFill>
                      <a:prstDash val="solid"/>
                      <a:round/>
                      <a:headEnd type="none" w="med" len="med"/>
                      <a:tailEnd type="none" w="med" len="med"/>
                    </a:lnR>
                    <a:lnB w="9525" cap="flat" cmpd="sng" algn="ctr">
                      <a:solidFill>
                        <a:srgbClr val="C4C4CD"/>
                      </a:solidFill>
                      <a:prstDash val="solid"/>
                      <a:round/>
                      <a:headEnd type="none" w="med" len="med"/>
                      <a:tailEnd type="none" w="med" len="med"/>
                    </a:lnB>
                  </a:tcPr>
                </a:tc>
                <a:tc>
                  <a:txBody>
                    <a:bodyPr/>
                    <a:lstStyle/>
                    <a:p>
                      <a:pPr algn="l"/>
                      <a:r>
                        <a:rPr lang="it-IT" sz="1400" dirty="0">
                          <a:solidFill>
                            <a:schemeClr val="bg1"/>
                          </a:solidFill>
                          <a:latin typeface="+mn-lt"/>
                        </a:rPr>
                        <a:t>Confindustria Basilicata</a:t>
                      </a:r>
                    </a:p>
                  </a:txBody>
                  <a:tcPr marL="91392" marR="91392" marT="45696" marB="45696" anchor="ctr">
                    <a:lnL w="9525" cap="flat" cmpd="sng" algn="ctr">
                      <a:solidFill>
                        <a:srgbClr val="C4C4CD"/>
                      </a:solidFill>
                      <a:prstDash val="solid"/>
                      <a:round/>
                      <a:headEnd type="none" w="med" len="med"/>
                      <a:tailEnd type="none" w="med" len="med"/>
                    </a:lnL>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793673744"/>
                  </a:ext>
                </a:extLst>
              </a:tr>
              <a:tr h="1180537">
                <a:tc>
                  <a:txBody>
                    <a:bodyPr/>
                    <a:lstStyle/>
                    <a:p>
                      <a:pPr algn="l">
                        <a:lnSpc>
                          <a:spcPct val="100000"/>
                        </a:lnSpc>
                        <a:spcAft>
                          <a:spcPts val="120"/>
                        </a:spcAft>
                      </a:pPr>
                      <a:r>
                        <a:rPr lang="it-IT" sz="1400" dirty="0">
                          <a:solidFill>
                            <a:schemeClr val="tx2"/>
                          </a:solidFill>
                          <a:latin typeface="+mn-lt"/>
                        </a:rPr>
                        <a:t>Legge 181/89 – Un’opportunità per il territorio</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Overview</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beneficiar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investimenti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spese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agevolazione</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presentazione della domand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graduatoria di ammissione alla fase di valutazione istruttori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iter di valutazione</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tc>
                  <a:txBody>
                    <a:bodyPr/>
                    <a:lstStyle/>
                    <a:p>
                      <a:pPr algn="l"/>
                      <a:r>
                        <a:rPr lang="it-IT" sz="1400" b="1" dirty="0">
                          <a:solidFill>
                            <a:schemeClr val="tx2"/>
                          </a:solidFill>
                          <a:latin typeface="+mn-lt"/>
                        </a:rPr>
                        <a:t>Maria Irene Cristini</a:t>
                      </a:r>
                      <a:r>
                        <a:rPr lang="it-IT" sz="1400" dirty="0">
                          <a:solidFill>
                            <a:schemeClr val="bg1"/>
                          </a:solidFill>
                          <a:latin typeface="+mn-lt"/>
                        </a:rPr>
                        <a:t>, Manager EY</a:t>
                      </a:r>
                    </a:p>
                    <a:p>
                      <a:pPr algn="l"/>
                      <a:r>
                        <a:rPr lang="it-IT" sz="1400" b="1" dirty="0">
                          <a:solidFill>
                            <a:schemeClr val="tx2"/>
                          </a:solidFill>
                          <a:latin typeface="+mn-lt"/>
                        </a:rPr>
                        <a:t>Lorenzo Cenciarelli</a:t>
                      </a:r>
                      <a:r>
                        <a:rPr lang="it-IT" sz="1400" dirty="0">
                          <a:solidFill>
                            <a:schemeClr val="bg1"/>
                          </a:solidFill>
                          <a:latin typeface="+mn-lt"/>
                        </a:rPr>
                        <a:t>, Senior EY</a:t>
                      </a: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360720546"/>
                  </a:ext>
                </a:extLst>
              </a:tr>
              <a:tr h="427162">
                <a:tc>
                  <a:txBody>
                    <a:bodyPr/>
                    <a:lstStyle/>
                    <a:p>
                      <a:pPr algn="l">
                        <a:spcAft>
                          <a:spcPts val="120"/>
                        </a:spcAft>
                      </a:pPr>
                      <a:r>
                        <a:rPr lang="it-IT" sz="1400" dirty="0">
                          <a:solidFill>
                            <a:schemeClr val="tx2"/>
                          </a:solidFill>
                          <a:latin typeface="+mn-lt"/>
                        </a:rPr>
                        <a:t>Chiusura lavori e sessione di Q&amp;A</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l"/>
                      <a:endParaRPr lang="it-IT" sz="1400" dirty="0">
                        <a:solidFill>
                          <a:schemeClr val="bg1"/>
                        </a:solidFill>
                        <a:latin typeface="+mn-lt"/>
                      </a:endParaRP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094908054"/>
                  </a:ext>
                </a:extLst>
              </a:tr>
              <a:tr h="274177">
                <a:tc gridSpan="2">
                  <a:txBody>
                    <a:bodyPr/>
                    <a:lstStyle/>
                    <a:p>
                      <a:endParaRPr lang="it-IT" sz="1400" dirty="0">
                        <a:solidFill>
                          <a:schemeClr val="tx2"/>
                        </a:solidFill>
                        <a:latin typeface="+mn-lt"/>
                      </a:endParaRPr>
                    </a:p>
                  </a:txBody>
                  <a:tcPr marL="91392" marR="91392" marT="45696" marB="45696" anchor="ctr">
                    <a:lnT w="9525" cap="flat" cmpd="sng" algn="ctr">
                      <a:noFill/>
                      <a:prstDash val="solid"/>
                      <a:round/>
                      <a:headEnd type="none" w="med" len="med"/>
                      <a:tailEnd type="none" w="med" len="med"/>
                    </a:lnT>
                  </a:tcPr>
                </a:tc>
                <a:tc hMerge="1">
                  <a:txBody>
                    <a:bodyPr/>
                    <a:lstStyle/>
                    <a:p>
                      <a:endParaRPr lang="it-IT" sz="1200" dirty="0">
                        <a:solidFill>
                          <a:schemeClr val="bg1"/>
                        </a:solidFill>
                      </a:endParaRPr>
                    </a:p>
                  </a:txBody>
                  <a:tcPr anchor="ctr"/>
                </a:tc>
                <a:extLst>
                  <a:ext uri="{0D108BD9-81ED-4DB2-BD59-A6C34878D82A}">
                    <a16:rowId xmlns:a16="http://schemas.microsoft.com/office/drawing/2014/main" val="1011467762"/>
                  </a:ext>
                </a:extLst>
              </a:tr>
            </a:tbl>
          </a:graphicData>
        </a:graphic>
      </p:graphicFrame>
      <p:sp>
        <p:nvSpPr>
          <p:cNvPr id="19" name="Title 1">
            <a:extLst>
              <a:ext uri="{FF2B5EF4-FFF2-40B4-BE49-F238E27FC236}">
                <a16:creationId xmlns:a16="http://schemas.microsoft.com/office/drawing/2014/main" id="{847FE9A9-60E2-A24E-E391-556544674FB7}"/>
              </a:ext>
            </a:extLst>
          </p:cNvPr>
          <p:cNvSpPr txBox="1">
            <a:spLocks/>
          </p:cNvSpPr>
          <p:nvPr/>
        </p:nvSpPr>
        <p:spPr>
          <a:xfrm>
            <a:off x="4861034" y="1499357"/>
            <a:ext cx="889316" cy="25435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defRPr/>
            </a:pPr>
            <a:r>
              <a:rPr lang="en-US" sz="1899" dirty="0">
                <a:solidFill>
                  <a:srgbClr val="FFE600"/>
                </a:solidFill>
              </a:rPr>
              <a:t>Agenda</a:t>
            </a:r>
          </a:p>
        </p:txBody>
      </p:sp>
      <p:sp>
        <p:nvSpPr>
          <p:cNvPr id="5" name="Title 1">
            <a:extLst>
              <a:ext uri="{FF2B5EF4-FFF2-40B4-BE49-F238E27FC236}">
                <a16:creationId xmlns:a16="http://schemas.microsoft.com/office/drawing/2014/main" id="{301452BA-E441-CB3E-701F-FEF1D3EB819B}"/>
              </a:ext>
            </a:extLst>
          </p:cNvPr>
          <p:cNvSpPr txBox="1">
            <a:spLocks/>
          </p:cNvSpPr>
          <p:nvPr/>
        </p:nvSpPr>
        <p:spPr>
          <a:xfrm>
            <a:off x="619935" y="2170612"/>
            <a:ext cx="3705664" cy="125838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it-IT" sz="1800" dirty="0">
                <a:latin typeface="Georgia" panose="02040502050405020303" pitchFamily="18" charset="0"/>
              </a:rPr>
              <a:t>Realizzazione di iniziative imprenditoriali che mirano all’</a:t>
            </a:r>
            <a:r>
              <a:rPr lang="it-IT" sz="1800" dirty="0">
                <a:solidFill>
                  <a:schemeClr val="tx2"/>
                </a:solidFill>
                <a:latin typeface="Georgia" panose="02040502050405020303" pitchFamily="18" charset="0"/>
              </a:rPr>
              <a:t>incremento</a:t>
            </a:r>
            <a:r>
              <a:rPr lang="it-IT" sz="1800" dirty="0">
                <a:latin typeface="Georgia" panose="02040502050405020303" pitchFamily="18" charset="0"/>
              </a:rPr>
              <a:t> o alla </a:t>
            </a:r>
            <a:r>
              <a:rPr lang="it-IT" sz="1800" dirty="0">
                <a:solidFill>
                  <a:schemeClr val="tx2"/>
                </a:solidFill>
                <a:latin typeface="Georgia" panose="02040502050405020303" pitchFamily="18" charset="0"/>
              </a:rPr>
              <a:t>salvaguardia </a:t>
            </a:r>
            <a:r>
              <a:rPr lang="it-IT" sz="1800" dirty="0">
                <a:latin typeface="Georgia" panose="02040502050405020303" pitchFamily="18" charset="0"/>
              </a:rPr>
              <a:t>dei </a:t>
            </a:r>
            <a:r>
              <a:rPr lang="it-IT" sz="1800" dirty="0">
                <a:solidFill>
                  <a:schemeClr val="tx2"/>
                </a:solidFill>
                <a:latin typeface="Georgia" panose="02040502050405020303" pitchFamily="18" charset="0"/>
              </a:rPr>
              <a:t>livelli occupazionali</a:t>
            </a:r>
            <a:r>
              <a:rPr lang="it-IT" sz="1800" dirty="0">
                <a:latin typeface="Georgia" panose="02040502050405020303" pitchFamily="18" charset="0"/>
              </a:rPr>
              <a:t>, al </a:t>
            </a:r>
            <a:r>
              <a:rPr lang="it-IT" sz="1800" dirty="0">
                <a:solidFill>
                  <a:schemeClr val="tx2"/>
                </a:solidFill>
                <a:latin typeface="Georgia" panose="02040502050405020303" pitchFamily="18" charset="0"/>
              </a:rPr>
              <a:t>recupero </a:t>
            </a:r>
            <a:r>
              <a:rPr lang="it-IT" sz="1800" dirty="0">
                <a:latin typeface="Georgia" panose="02040502050405020303" pitchFamily="18" charset="0"/>
              </a:rPr>
              <a:t>della</a:t>
            </a:r>
            <a:r>
              <a:rPr lang="it-IT" sz="1800" dirty="0">
                <a:solidFill>
                  <a:schemeClr val="tx2"/>
                </a:solidFill>
                <a:latin typeface="Georgia" panose="02040502050405020303" pitchFamily="18" charset="0"/>
              </a:rPr>
              <a:t> capacità produttiva</a:t>
            </a:r>
            <a:r>
              <a:rPr lang="it-IT" sz="1800" dirty="0">
                <a:latin typeface="Georgia" panose="02040502050405020303" pitchFamily="18" charset="0"/>
              </a:rPr>
              <a:t> dei territori e all’</a:t>
            </a:r>
            <a:r>
              <a:rPr lang="it-IT" sz="1800" dirty="0">
                <a:solidFill>
                  <a:schemeClr val="tx2"/>
                </a:solidFill>
                <a:latin typeface="Georgia" panose="02040502050405020303" pitchFamily="18" charset="0"/>
              </a:rPr>
              <a:t>attrazione</a:t>
            </a:r>
            <a:r>
              <a:rPr lang="it-IT" sz="1800" dirty="0">
                <a:latin typeface="Georgia" panose="02040502050405020303" pitchFamily="18" charset="0"/>
              </a:rPr>
              <a:t> di </a:t>
            </a:r>
            <a:r>
              <a:rPr lang="it-IT" sz="1800" dirty="0">
                <a:solidFill>
                  <a:schemeClr val="tx2"/>
                </a:solidFill>
                <a:latin typeface="Georgia" panose="02040502050405020303" pitchFamily="18" charset="0"/>
              </a:rPr>
              <a:t>nuovi investimenti: </a:t>
            </a:r>
            <a:r>
              <a:rPr lang="it-IT" sz="1800" dirty="0">
                <a:solidFill>
                  <a:prstClr val="white"/>
                </a:solidFill>
                <a:latin typeface="Georgia" panose="02040502050405020303" pitchFamily="18" charset="0"/>
              </a:rPr>
              <a:t>le opportunità per la </a:t>
            </a:r>
            <a:r>
              <a:rPr lang="it-IT" sz="1800" dirty="0">
                <a:solidFill>
                  <a:schemeClr val="tx2"/>
                </a:solidFill>
                <a:latin typeface="Georgia" panose="02040502050405020303" pitchFamily="18" charset="0"/>
              </a:rPr>
              <a:t>riconversione e riqualificazione </a:t>
            </a:r>
            <a:r>
              <a:rPr lang="it-IT" sz="1800" dirty="0">
                <a:latin typeface="Georgia" panose="02040502050405020303" pitchFamily="18" charset="0"/>
              </a:rPr>
              <a:t>dell'area industriale di </a:t>
            </a:r>
            <a:r>
              <a:rPr lang="it-IT" sz="1800" dirty="0">
                <a:solidFill>
                  <a:schemeClr val="tx2"/>
                </a:solidFill>
                <a:latin typeface="Georgia" panose="02040502050405020303" pitchFamily="18" charset="0"/>
              </a:rPr>
              <a:t>Melfi, Potenza e Rionero in Vulture</a:t>
            </a:r>
            <a:r>
              <a:rPr lang="it-IT" sz="1599" dirty="0">
                <a:solidFill>
                  <a:schemeClr val="tx2"/>
                </a:solidFill>
                <a:latin typeface="Georgia" panose="02040502050405020303" pitchFamily="18" charset="0"/>
              </a:rPr>
              <a:t>.</a:t>
            </a:r>
          </a:p>
          <a:p>
            <a:pPr algn="just" defTabSz="913943">
              <a:defRPr/>
            </a:pPr>
            <a:endParaRPr lang="it-IT" sz="1599" dirty="0">
              <a:solidFill>
                <a:schemeClr val="tx2"/>
              </a:solidFill>
              <a:latin typeface="Georgia" panose="02040502050405020303" pitchFamily="18" charset="0"/>
            </a:endParaRPr>
          </a:p>
          <a:p>
            <a:pPr algn="just" defTabSz="913943">
              <a:defRPr/>
            </a:pPr>
            <a:endParaRPr lang="it-IT" sz="1599" dirty="0">
              <a:solidFill>
                <a:schemeClr val="tx2"/>
              </a:solidFill>
              <a:latin typeface="Georgia" panose="02040502050405020303" pitchFamily="18" charset="0"/>
            </a:endParaRPr>
          </a:p>
          <a:p>
            <a:pPr algn="just" defTabSz="913943">
              <a:defRPr/>
            </a:pPr>
            <a:endParaRPr lang="en-US" sz="2399" dirty="0">
              <a:solidFill>
                <a:srgbClr val="FFE600"/>
              </a:solidFill>
              <a:latin typeface="Georgia" panose="02040502050405020303" pitchFamily="18" charset="0"/>
            </a:endParaRPr>
          </a:p>
        </p:txBody>
      </p:sp>
    </p:spTree>
    <p:extLst>
      <p:ext uri="{BB962C8B-B14F-4D97-AF65-F5344CB8AC3E}">
        <p14:creationId xmlns:p14="http://schemas.microsoft.com/office/powerpoint/2010/main" val="2495539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17" name="Rectangle 317"/>
          <p:cNvSpPr/>
          <p:nvPr/>
        </p:nvSpPr>
        <p:spPr>
          <a:xfrm>
            <a:off x="818388" y="2095501"/>
            <a:ext cx="4789388" cy="821122"/>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92" b="1" i="0" u="none" strike="noStrike" kern="0" cap="none" spc="0" normalizeH="0" baseline="0" noProof="0" dirty="0">
                <a:ln>
                  <a:noFill/>
                </a:ln>
                <a:solidFill>
                  <a:schemeClr val="bg1"/>
                </a:solidFill>
                <a:effectLst/>
                <a:uLnTx/>
                <a:uFillTx/>
                <a:latin typeface="Tahoma-Bold"/>
              </a:rPr>
              <a:t>PARAMETR</a:t>
            </a:r>
            <a:r>
              <a:rPr kumimoji="0" lang="it-IT" sz="1392" b="1" i="0" u="none" strike="noStrike" kern="0" cap="none" spc="427" normalizeH="0" baseline="0" noProof="0" dirty="0">
                <a:ln>
                  <a:noFill/>
                </a:ln>
                <a:solidFill>
                  <a:schemeClr val="bg1"/>
                </a:solidFill>
                <a:effectLst/>
                <a:uLnTx/>
                <a:uFillTx/>
                <a:latin typeface="Tahoma-Bold"/>
              </a:rPr>
              <a:t>I</a:t>
            </a:r>
            <a:r>
              <a:rPr kumimoji="0" lang="it-IT" sz="1392" b="1" i="0" u="none" strike="noStrike" kern="0" cap="none" spc="0" normalizeH="0" baseline="0" noProof="0" dirty="0">
                <a:ln>
                  <a:noFill/>
                </a:ln>
                <a:solidFill>
                  <a:schemeClr val="bg1"/>
                </a:solidFill>
                <a:effectLst/>
                <a:uLnTx/>
                <a:uFillTx/>
                <a:latin typeface="Tahoma-Bold"/>
              </a:rPr>
              <a:t>URBANISTICI</a:t>
            </a:r>
          </a:p>
          <a:p>
            <a:pPr marL="0" marR="0" lvl="0" indent="0" defTabSz="914400" eaLnBrk="1" fontAlgn="auto" latinLnBrk="0" hangingPunct="1">
              <a:lnSpc>
                <a:spcPts val="2524"/>
              </a:lnSpc>
              <a:spcBef>
                <a:spcPts val="0"/>
              </a:spcBef>
              <a:spcAft>
                <a:spcPts val="0"/>
              </a:spcAft>
              <a:buClrTx/>
              <a:buSzTx/>
              <a:buFontTx/>
              <a:buNone/>
              <a:tabLst>
                <a:tab pos="286816" algn="l"/>
              </a:tabLst>
              <a:defRPr/>
            </a:pPr>
            <a:r>
              <a:rPr kumimoji="0" lang="it-IT" sz="1600"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Tahoma"/>
              </a:rPr>
              <a:t>Indic</a:t>
            </a:r>
            <a:r>
              <a:rPr kumimoji="0" lang="it-IT" sz="1600" b="0" i="0" u="none" strike="noStrike" kern="0" cap="none" spc="469" normalizeH="0" baseline="0" noProof="0" dirty="0">
                <a:ln>
                  <a:noFill/>
                </a:ln>
                <a:solidFill>
                  <a:schemeClr val="bg1"/>
                </a:solidFill>
                <a:effectLst/>
                <a:uLnTx/>
                <a:uFillTx/>
                <a:latin typeface="Tahoma"/>
              </a:rPr>
              <a:t>e</a:t>
            </a:r>
            <a:r>
              <a:rPr kumimoji="0" lang="it-IT" sz="1600" b="0" i="0" u="none" strike="noStrike" kern="0" cap="none" spc="0" normalizeH="0" baseline="0" noProof="0" dirty="0">
                <a:ln>
                  <a:noFill/>
                </a:ln>
                <a:solidFill>
                  <a:schemeClr val="bg1"/>
                </a:solidFill>
                <a:effectLst/>
                <a:uLnTx/>
                <a:uFillTx/>
                <a:latin typeface="Tahoma"/>
              </a:rPr>
              <a:t>d</a:t>
            </a:r>
            <a:r>
              <a:rPr kumimoji="0" lang="it-IT" sz="1600" b="0" i="0" u="none" strike="noStrike" kern="0" cap="none" spc="449" normalizeH="0" baseline="0" noProof="0" dirty="0">
                <a:ln>
                  <a:noFill/>
                </a:ln>
                <a:solidFill>
                  <a:schemeClr val="bg1"/>
                </a:solidFill>
                <a:effectLst/>
                <a:uLnTx/>
                <a:uFillTx/>
                <a:latin typeface="Tahoma"/>
              </a:rPr>
              <a:t>i</a:t>
            </a:r>
            <a:r>
              <a:rPr kumimoji="0" lang="it-IT" sz="1600" b="0" i="0" u="none" strike="noStrike" kern="0" cap="none" spc="0" normalizeH="0" baseline="0" noProof="0" dirty="0">
                <a:ln>
                  <a:noFill/>
                </a:ln>
                <a:solidFill>
                  <a:schemeClr val="bg1"/>
                </a:solidFill>
                <a:effectLst/>
                <a:uLnTx/>
                <a:uFillTx/>
                <a:latin typeface="Tahoma"/>
              </a:rPr>
              <a:t>copertur</a:t>
            </a:r>
            <a:r>
              <a:rPr kumimoji="0" lang="it-IT" sz="1600" b="0" i="0" u="none" strike="noStrike" kern="0" cap="none" spc="450" normalizeH="0" baseline="0" noProof="0" dirty="0">
                <a:ln>
                  <a:noFill/>
                </a:ln>
                <a:solidFill>
                  <a:schemeClr val="bg1"/>
                </a:solidFill>
                <a:effectLst/>
                <a:uLnTx/>
                <a:uFillTx/>
                <a:latin typeface="Tahoma"/>
              </a:rPr>
              <a:t>a</a:t>
            </a:r>
            <a:r>
              <a:rPr kumimoji="0" lang="it-IT" sz="1600" b="0" i="0" u="none" strike="noStrike" kern="0" cap="none" spc="0" normalizeH="0" baseline="0" noProof="0" dirty="0">
                <a:ln>
                  <a:noFill/>
                </a:ln>
                <a:solidFill>
                  <a:schemeClr val="bg1"/>
                </a:solidFill>
                <a:effectLst/>
                <a:uLnTx/>
                <a:uFillTx/>
                <a:latin typeface="Tahoma"/>
              </a:rPr>
              <a:t>40</a:t>
            </a:r>
            <a:r>
              <a:rPr kumimoji="0" lang="it-IT" sz="1600" b="0" i="0" u="none" strike="noStrike" kern="0" cap="none" spc="416" normalizeH="0" baseline="0" noProof="0" dirty="0">
                <a:ln>
                  <a:noFill/>
                </a:ln>
                <a:solidFill>
                  <a:schemeClr val="bg1"/>
                </a:solidFill>
                <a:effectLst/>
                <a:uLnTx/>
                <a:uFillTx/>
                <a:latin typeface="Tahoma"/>
              </a:rPr>
              <a:t>%</a:t>
            </a:r>
            <a:r>
              <a:rPr kumimoji="0" lang="it-IT" sz="1600" b="0" i="0" u="none" strike="noStrike" kern="0" cap="none" spc="0" normalizeH="0" baseline="0" noProof="0" dirty="0">
                <a:ln>
                  <a:noFill/>
                </a:ln>
                <a:solidFill>
                  <a:schemeClr val="bg1"/>
                </a:solidFill>
                <a:effectLst/>
                <a:uLnTx/>
                <a:uFillTx/>
                <a:latin typeface="Tahoma"/>
              </a:rPr>
              <a:t>dell</a:t>
            </a:r>
            <a:r>
              <a:rPr kumimoji="0" lang="it-IT" sz="1600" b="0" i="0" u="none" strike="noStrike" kern="0" cap="none" spc="495" normalizeH="0" baseline="0" noProof="0" dirty="0">
                <a:ln>
                  <a:noFill/>
                </a:ln>
                <a:solidFill>
                  <a:schemeClr val="bg1"/>
                </a:solidFill>
                <a:effectLst/>
                <a:uLnTx/>
                <a:uFillTx/>
                <a:latin typeface="Tahoma"/>
              </a:rPr>
              <a:t>a</a:t>
            </a:r>
            <a:r>
              <a:rPr kumimoji="0" lang="it-IT" sz="1600" b="0" i="0" u="none" strike="noStrike" kern="0" cap="none" spc="0" normalizeH="0" baseline="0" noProof="0" dirty="0">
                <a:ln>
                  <a:noFill/>
                </a:ln>
                <a:solidFill>
                  <a:schemeClr val="bg1"/>
                </a:solidFill>
                <a:effectLst/>
                <a:uLnTx/>
                <a:uFillTx/>
                <a:latin typeface="Tahoma"/>
              </a:rPr>
              <a:t>superfici</a:t>
            </a:r>
            <a:r>
              <a:rPr kumimoji="0" lang="it-IT" sz="1600" b="0" i="0" u="none" strike="noStrike" kern="0" cap="none" spc="483" normalizeH="0" baseline="0" noProof="0" dirty="0">
                <a:ln>
                  <a:noFill/>
                </a:ln>
                <a:solidFill>
                  <a:schemeClr val="bg1"/>
                </a:solidFill>
                <a:effectLst/>
                <a:uLnTx/>
                <a:uFillTx/>
                <a:latin typeface="Tahoma"/>
              </a:rPr>
              <a:t>e</a:t>
            </a:r>
            <a:r>
              <a:rPr kumimoji="0" lang="it-IT" sz="1600" b="0" i="0" u="none" strike="noStrike" kern="0" cap="none" spc="0" normalizeH="0" baseline="0" noProof="0" dirty="0">
                <a:ln>
                  <a:noFill/>
                </a:ln>
                <a:solidFill>
                  <a:schemeClr val="bg1"/>
                </a:solidFill>
                <a:effectLst/>
                <a:uLnTx/>
                <a:uFillTx/>
                <a:latin typeface="Tahoma"/>
              </a:rPr>
              <a:t>fondiaria;</a:t>
            </a:r>
          </a:p>
          <a:p>
            <a:pPr marL="0" marR="0" lvl="0" indent="0" defTabSz="914400" eaLnBrk="1" fontAlgn="auto" latinLnBrk="0" hangingPunct="1">
              <a:lnSpc>
                <a:spcPts val="2498"/>
              </a:lnSpc>
              <a:spcBef>
                <a:spcPts val="0"/>
              </a:spcBef>
              <a:spcAft>
                <a:spcPts val="0"/>
              </a:spcAft>
              <a:buClrTx/>
              <a:buSzTx/>
              <a:buFontTx/>
              <a:buNone/>
              <a:tabLst>
                <a:tab pos="286816" algn="l"/>
              </a:tabLst>
              <a:defRPr/>
            </a:pPr>
            <a:r>
              <a:rPr kumimoji="0" lang="it-IT" sz="1600"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Tahoma"/>
              </a:rPr>
              <a:t>Altezz</a:t>
            </a:r>
            <a:r>
              <a:rPr kumimoji="0" lang="it-IT" sz="1600" b="0" i="0" u="none" strike="noStrike" kern="0" cap="none" spc="476" normalizeH="0" baseline="0" noProof="0" dirty="0">
                <a:ln>
                  <a:noFill/>
                </a:ln>
                <a:solidFill>
                  <a:schemeClr val="bg1"/>
                </a:solidFill>
                <a:effectLst/>
                <a:uLnTx/>
                <a:uFillTx/>
                <a:latin typeface="Tahoma"/>
              </a:rPr>
              <a:t>a</a:t>
            </a:r>
            <a:r>
              <a:rPr kumimoji="0" lang="it-IT" sz="1600" b="0" i="0" u="none" strike="noStrike" kern="0" cap="none" spc="0" normalizeH="0" baseline="0" noProof="0" dirty="0">
                <a:ln>
                  <a:noFill/>
                </a:ln>
                <a:solidFill>
                  <a:schemeClr val="bg1"/>
                </a:solidFill>
                <a:effectLst/>
                <a:uLnTx/>
                <a:uFillTx/>
                <a:latin typeface="Tahoma"/>
              </a:rPr>
              <a:t>massim</a:t>
            </a:r>
            <a:r>
              <a:rPr kumimoji="0" lang="it-IT" sz="1600" b="0" i="0" u="none" strike="noStrike" kern="0" cap="none" spc="475" normalizeH="0" baseline="0" noProof="0" dirty="0">
                <a:ln>
                  <a:noFill/>
                </a:ln>
                <a:solidFill>
                  <a:schemeClr val="bg1"/>
                </a:solidFill>
                <a:effectLst/>
                <a:uLnTx/>
                <a:uFillTx/>
                <a:latin typeface="Tahoma"/>
              </a:rPr>
              <a:t>a</a:t>
            </a:r>
            <a:r>
              <a:rPr kumimoji="0" lang="it-IT" sz="1600" b="0" i="0" u="none" strike="noStrike" kern="0" cap="none" spc="439" normalizeH="0" baseline="0" noProof="0" dirty="0">
                <a:ln>
                  <a:noFill/>
                </a:ln>
                <a:solidFill>
                  <a:schemeClr val="bg1"/>
                </a:solidFill>
                <a:effectLst/>
                <a:uLnTx/>
                <a:uFillTx/>
                <a:latin typeface="Tahoma"/>
              </a:rPr>
              <a:t>8</a:t>
            </a:r>
            <a:r>
              <a:rPr kumimoji="0" lang="it-IT" sz="1600" b="0" i="0" u="none" strike="noStrike" kern="0" cap="none" spc="0" normalizeH="0" baseline="0" noProof="0" dirty="0">
                <a:ln>
                  <a:noFill/>
                </a:ln>
                <a:solidFill>
                  <a:schemeClr val="bg1"/>
                </a:solidFill>
                <a:effectLst/>
                <a:uLnTx/>
                <a:uFillTx/>
                <a:latin typeface="Tahoma"/>
              </a:rPr>
              <a:t>mt;</a:t>
            </a:r>
          </a:p>
        </p:txBody>
      </p:sp>
      <p:sp>
        <p:nvSpPr>
          <p:cNvPr id="318" name="Rectangle 318"/>
          <p:cNvSpPr/>
          <p:nvPr/>
        </p:nvSpPr>
        <p:spPr>
          <a:xfrm>
            <a:off x="818388" y="3372562"/>
            <a:ext cx="3206857" cy="131882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94" b="1" i="0" u="none" strike="noStrike" kern="0" cap="none" spc="0" normalizeH="0" baseline="0" noProof="0" dirty="0">
                <a:ln>
                  <a:noFill/>
                </a:ln>
                <a:solidFill>
                  <a:schemeClr val="bg1"/>
                </a:solidFill>
                <a:effectLst/>
                <a:uLnTx/>
                <a:uFillTx/>
                <a:latin typeface="Tahoma-Bold"/>
              </a:rPr>
              <a:t>COST</a:t>
            </a:r>
            <a:r>
              <a:rPr kumimoji="0" lang="it-IT" sz="1394" b="1" i="0" u="none" strike="noStrike" kern="0" cap="none" spc="419" normalizeH="0" baseline="0" noProof="0" dirty="0">
                <a:ln>
                  <a:noFill/>
                </a:ln>
                <a:solidFill>
                  <a:schemeClr val="bg1"/>
                </a:solidFill>
                <a:effectLst/>
                <a:uLnTx/>
                <a:uFillTx/>
                <a:latin typeface="Tahoma-Bold"/>
              </a:rPr>
              <a:t>O</a:t>
            </a:r>
            <a:r>
              <a:rPr kumimoji="0" lang="it-IT" sz="1394" b="1" i="0" u="none" strike="noStrike" kern="0" cap="none" spc="0" normalizeH="0" baseline="0" noProof="0" dirty="0">
                <a:ln>
                  <a:noFill/>
                </a:ln>
                <a:solidFill>
                  <a:schemeClr val="bg1"/>
                </a:solidFill>
                <a:effectLst/>
                <a:uLnTx/>
                <a:uFillTx/>
                <a:latin typeface="Tahoma-Bold"/>
              </a:rPr>
              <a:t>SUOLO</a:t>
            </a:r>
          </a:p>
          <a:p>
            <a:pPr marL="0" marR="0" lvl="0" indent="0" defTabSz="914400" eaLnBrk="1" fontAlgn="auto" latinLnBrk="0" hangingPunct="1">
              <a:lnSpc>
                <a:spcPts val="2502"/>
              </a:lnSpc>
              <a:spcBef>
                <a:spcPts val="0"/>
              </a:spcBef>
              <a:spcAft>
                <a:spcPts val="0"/>
              </a:spcAft>
              <a:buClrTx/>
              <a:buSzTx/>
              <a:buFontTx/>
              <a:buNone/>
              <a:tabLst>
                <a:tab pos="286816" algn="l"/>
              </a:tabLst>
              <a:defRPr/>
            </a:pPr>
            <a:r>
              <a:rPr kumimoji="0" lang="it-IT" sz="1392"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Tahoma"/>
              </a:rPr>
              <a:t>are</a:t>
            </a:r>
            <a:r>
              <a:rPr kumimoji="0" lang="it-IT" sz="1600" b="0" i="0" u="none" strike="noStrike" kern="0" cap="none" spc="445" normalizeH="0" baseline="0" noProof="0" dirty="0">
                <a:ln>
                  <a:noFill/>
                </a:ln>
                <a:solidFill>
                  <a:schemeClr val="bg1"/>
                </a:solidFill>
                <a:effectLst/>
                <a:uLnTx/>
                <a:uFillTx/>
                <a:latin typeface="Tahoma"/>
              </a:rPr>
              <a:t>a</a:t>
            </a:r>
            <a:r>
              <a:rPr kumimoji="0" lang="it-IT" sz="1600" b="0" i="0" u="none" strike="noStrike" kern="0" cap="none" spc="0" normalizeH="0" baseline="0" noProof="0" dirty="0">
                <a:ln>
                  <a:noFill/>
                </a:ln>
                <a:solidFill>
                  <a:schemeClr val="bg1"/>
                </a:solidFill>
                <a:effectLst/>
                <a:uLnTx/>
                <a:uFillTx/>
                <a:latin typeface="Tahoma"/>
              </a:rPr>
              <a:t>industriale</a:t>
            </a:r>
            <a:r>
              <a:rPr kumimoji="0" lang="it-IT" sz="1600" b="0" i="0" u="none" strike="noStrike" kern="0" cap="none" spc="515" normalizeH="0" baseline="0" noProof="0" dirty="0">
                <a:ln>
                  <a:noFill/>
                </a:ln>
                <a:solidFill>
                  <a:schemeClr val="bg1"/>
                </a:solidFill>
                <a:effectLst/>
                <a:uLnTx/>
                <a:uFillTx/>
                <a:latin typeface="Tahoma"/>
              </a:rPr>
              <a:t>:</a:t>
            </a:r>
            <a:r>
              <a:rPr kumimoji="0" lang="it-IT" sz="1600" b="0" i="0" u="none" strike="noStrike" kern="0" cap="none" spc="0" normalizeH="0" baseline="0" noProof="0" dirty="0">
                <a:ln>
                  <a:noFill/>
                </a:ln>
                <a:solidFill>
                  <a:schemeClr val="bg1"/>
                </a:solidFill>
                <a:effectLst/>
                <a:uLnTx/>
                <a:uFillTx/>
                <a:latin typeface="Tahoma"/>
              </a:rPr>
              <a:t>€/m</a:t>
            </a:r>
            <a:r>
              <a:rPr kumimoji="0" lang="it-IT" sz="1600" b="0" i="0" u="none" strike="noStrike" kern="0" cap="none" spc="458" normalizeH="0" baseline="0" noProof="0" dirty="0">
                <a:ln>
                  <a:noFill/>
                </a:ln>
                <a:solidFill>
                  <a:schemeClr val="bg1"/>
                </a:solidFill>
                <a:effectLst/>
                <a:uLnTx/>
                <a:uFillTx/>
                <a:latin typeface="Tahoma"/>
              </a:rPr>
              <a:t>q</a:t>
            </a:r>
            <a:r>
              <a:rPr kumimoji="0" lang="it-IT" sz="1600" b="0" i="0" u="none" strike="noStrike" kern="0" cap="none" spc="0" normalizeH="0" baseline="0" noProof="0" dirty="0">
                <a:ln>
                  <a:noFill/>
                </a:ln>
                <a:solidFill>
                  <a:schemeClr val="bg1"/>
                </a:solidFill>
                <a:effectLst/>
                <a:uLnTx/>
                <a:uFillTx/>
                <a:latin typeface="Tahoma"/>
              </a:rPr>
              <a:t>38,88;</a:t>
            </a:r>
          </a:p>
          <a:p>
            <a:pPr marL="0" marR="0" lvl="0" indent="0" defTabSz="914400" eaLnBrk="1" fontAlgn="auto" latinLnBrk="0" hangingPunct="1">
              <a:lnSpc>
                <a:spcPts val="3188"/>
              </a:lnSpc>
              <a:spcBef>
                <a:spcPts val="0"/>
              </a:spcBef>
              <a:spcAft>
                <a:spcPts val="0"/>
              </a:spcAft>
              <a:buClrTx/>
              <a:buSzTx/>
              <a:buFontTx/>
              <a:buNone/>
              <a:tabLst/>
              <a:defRPr/>
            </a:pPr>
            <a:r>
              <a:rPr kumimoji="0" lang="it-IT" sz="1394" b="1" i="0" u="none" strike="noStrike" kern="0" cap="none" spc="0" normalizeH="0" baseline="0" noProof="0" dirty="0">
                <a:ln>
                  <a:noFill/>
                </a:ln>
                <a:solidFill>
                  <a:schemeClr val="bg1"/>
                </a:solidFill>
                <a:effectLst/>
                <a:uLnTx/>
                <a:uFillTx/>
                <a:latin typeface="Tahoma-Bold"/>
              </a:rPr>
              <a:t>6</a:t>
            </a:r>
          </a:p>
          <a:p>
            <a:pPr marL="0" marR="0" lvl="0" indent="0" defTabSz="914400" eaLnBrk="1" fontAlgn="auto" latinLnBrk="0" hangingPunct="1">
              <a:lnSpc>
                <a:spcPts val="3505"/>
              </a:lnSpc>
              <a:spcBef>
                <a:spcPts val="0"/>
              </a:spcBef>
              <a:spcAft>
                <a:spcPts val="0"/>
              </a:spcAft>
              <a:buClrTx/>
              <a:buSzTx/>
              <a:buFontTx/>
              <a:buNone/>
              <a:tabLst/>
              <a:defRPr/>
            </a:pPr>
            <a:r>
              <a:rPr kumimoji="0" lang="it-IT" sz="1392" b="1" i="0" u="none" strike="noStrike" kern="0" cap="none" spc="0" normalizeH="0" baseline="0" noProof="0" dirty="0">
                <a:ln>
                  <a:noFill/>
                </a:ln>
                <a:solidFill>
                  <a:schemeClr val="bg1"/>
                </a:solidFill>
                <a:effectLst/>
                <a:uLnTx/>
                <a:uFillTx/>
                <a:latin typeface="Tahoma-Bold"/>
              </a:rPr>
              <a:t>NORM</a:t>
            </a:r>
            <a:r>
              <a:rPr kumimoji="0" lang="it-IT" sz="1392" b="1" i="0" u="none" strike="noStrike" kern="0" cap="none" spc="411" normalizeH="0" baseline="0" noProof="0" dirty="0">
                <a:ln>
                  <a:noFill/>
                </a:ln>
                <a:solidFill>
                  <a:schemeClr val="bg1"/>
                </a:solidFill>
                <a:effectLst/>
                <a:uLnTx/>
                <a:uFillTx/>
                <a:latin typeface="Tahoma-Bold"/>
              </a:rPr>
              <a:t>E</a:t>
            </a:r>
            <a:r>
              <a:rPr kumimoji="0" lang="it-IT" sz="1392" b="1" i="0" u="none" strike="noStrike" kern="0" cap="none" spc="0" normalizeH="0" baseline="0" noProof="0" dirty="0">
                <a:ln>
                  <a:noFill/>
                </a:ln>
                <a:solidFill>
                  <a:schemeClr val="bg1"/>
                </a:solidFill>
                <a:effectLst/>
                <a:uLnTx/>
                <a:uFillTx/>
                <a:latin typeface="Tahoma-Bold"/>
              </a:rPr>
              <a:t>TECNICHE</a:t>
            </a:r>
            <a:r>
              <a:rPr kumimoji="0" lang="it-IT" sz="1392" b="1" i="0" u="none" strike="noStrike" kern="0" cap="none" spc="430" normalizeH="0" baseline="0" noProof="0" dirty="0">
                <a:ln>
                  <a:noFill/>
                </a:ln>
                <a:solidFill>
                  <a:schemeClr val="bg1"/>
                </a:solidFill>
                <a:effectLst/>
                <a:uLnTx/>
                <a:uFillTx/>
                <a:latin typeface="Tahoma-Bold"/>
              </a:rPr>
              <a:t>:</a:t>
            </a:r>
            <a:r>
              <a:rPr kumimoji="0" lang="it-IT" sz="1392" b="0" i="0" u="sng" strike="noStrike" kern="0" cap="none" spc="0"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clicc</a:t>
            </a:r>
            <a:r>
              <a:rPr kumimoji="0" lang="it-IT" sz="1392" b="0" i="0" u="sng" strike="noStrike" kern="0" cap="none" spc="471"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a</a:t>
            </a:r>
            <a:r>
              <a:rPr kumimoji="0" lang="it-IT" sz="1392" b="0" i="0" u="sng" strike="noStrike" kern="0" cap="none" spc="0" normalizeH="0" baseline="0" noProof="0" dirty="0">
                <a:ln>
                  <a:noFill/>
                </a:ln>
                <a:solidFill>
                  <a:srgbClr val="0000FF"/>
                </a:solidFill>
                <a:effectLst/>
                <a:uLnTx/>
                <a:uFillTx/>
                <a:latin typeface="Tahoma"/>
                <a:hlinkClick r:id="rId2">
                  <a:extLst>
                    <a:ext uri="{A12FA001-AC4F-418D-AE19-62706E023703}">
                      <ahyp:hlinkClr xmlns:ahyp="http://schemas.microsoft.com/office/drawing/2018/hyperlinkcolor" val="tx"/>
                    </a:ext>
                  </a:extLst>
                </a:hlinkClick>
              </a:rPr>
              <a:t>qui.</a:t>
            </a:r>
          </a:p>
        </p:txBody>
      </p:sp>
      <p:sp>
        <p:nvSpPr>
          <p:cNvPr id="320" name="Rectangle 320"/>
          <p:cNvSpPr/>
          <p:nvPr/>
        </p:nvSpPr>
        <p:spPr>
          <a:xfrm>
            <a:off x="818692" y="712293"/>
            <a:ext cx="2769989" cy="27732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1" i="0" u="none" strike="noStrike" kern="0" cap="none" spc="0" normalizeH="0" baseline="0" noProof="0" dirty="0">
                <a:ln>
                  <a:noFill/>
                </a:ln>
                <a:solidFill>
                  <a:schemeClr val="bg1"/>
                </a:solidFill>
                <a:effectLst/>
                <a:uLnTx/>
                <a:uFillTx/>
                <a:latin typeface="Tahoma-Bold"/>
              </a:rPr>
              <a:t>Area industriale di TITO</a:t>
            </a:r>
          </a:p>
        </p:txBody>
      </p:sp>
      <p:pic>
        <p:nvPicPr>
          <p:cNvPr id="2" name="Picture 103">
            <a:extLst>
              <a:ext uri="{FF2B5EF4-FFF2-40B4-BE49-F238E27FC236}">
                <a16:creationId xmlns:a16="http://schemas.microsoft.com/office/drawing/2014/main" id="{AEB08B72-DD18-0572-9810-478243CEB200}"/>
              </a:ext>
            </a:extLst>
          </p:cNvPr>
          <p:cNvPicPr>
            <a:picLocks noChangeArrowheads="1"/>
          </p:cNvPicPr>
          <p:nvPr/>
        </p:nvPicPr>
        <p:blipFill>
          <a:blip r:embed="rId3"/>
          <a:srcRect/>
          <a:stretch/>
        </p:blipFill>
        <p:spPr>
          <a:xfrm>
            <a:off x="10304687" y="5638799"/>
            <a:ext cx="1650167" cy="1106424"/>
          </a:xfrm>
          <a:prstGeom prst="rect">
            <a:avLst/>
          </a:prstGeom>
          <a:noFill/>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23" name="Picture 323"/>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802892" y="347624"/>
            <a:ext cx="8586216" cy="5675376"/>
          </a:xfrm>
          <a:prstGeom prst="rect">
            <a:avLst/>
          </a:prstGeom>
          <a:noFill/>
        </p:spPr>
      </p:pic>
      <p:sp>
        <p:nvSpPr>
          <p:cNvPr id="324" name="Rectangle 324"/>
          <p:cNvSpPr/>
          <p:nvPr/>
        </p:nvSpPr>
        <p:spPr>
          <a:xfrm>
            <a:off x="1036319" y="6281776"/>
            <a:ext cx="5692165"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00000"/>
                </a:solidFill>
                <a:effectLst/>
                <a:uLnTx/>
                <a:uFillTx/>
                <a:latin typeface="Calibri"/>
                <a:hlinkClick r:id="rId3"/>
              </a:rPr>
              <a:t>https://www.apibas.it/wp-content/uploads/2022/11/Tito.pdf</a:t>
            </a:r>
          </a:p>
        </p:txBody>
      </p:sp>
      <p:pic>
        <p:nvPicPr>
          <p:cNvPr id="2" name="Picture 103">
            <a:extLst>
              <a:ext uri="{FF2B5EF4-FFF2-40B4-BE49-F238E27FC236}">
                <a16:creationId xmlns:a16="http://schemas.microsoft.com/office/drawing/2014/main" id="{E521C75B-C33A-EA60-E647-6A444D9EDFEE}"/>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27" name="Picture 32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487424" y="437388"/>
            <a:ext cx="9217152" cy="5754623"/>
          </a:xfrm>
          <a:prstGeom prst="rect">
            <a:avLst/>
          </a:prstGeom>
          <a:noFill/>
        </p:spPr>
      </p:pic>
      <p:sp>
        <p:nvSpPr>
          <p:cNvPr id="328" name="Rectangle 328"/>
          <p:cNvSpPr/>
          <p:nvPr/>
        </p:nvSpPr>
        <p:spPr>
          <a:xfrm>
            <a:off x="1057046" y="6332678"/>
            <a:ext cx="6562623"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00000"/>
                </a:solidFill>
                <a:effectLst/>
                <a:uLnTx/>
                <a:uFillTx/>
                <a:latin typeface="Calibri"/>
                <a:hlinkClick r:id="rId3"/>
              </a:rPr>
              <a:t>https://www.apibas.it/wp-content/uploads/2022/11/Tito_Viabilita.pdf</a:t>
            </a:r>
          </a:p>
        </p:txBody>
      </p:sp>
      <p:pic>
        <p:nvPicPr>
          <p:cNvPr id="2" name="Picture 103">
            <a:extLst>
              <a:ext uri="{FF2B5EF4-FFF2-40B4-BE49-F238E27FC236}">
                <a16:creationId xmlns:a16="http://schemas.microsoft.com/office/drawing/2014/main" id="{A4D2AD9E-8EC5-17B5-639F-3DA8CC6645D2}"/>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2" name="Freeform 332">
            <a:hlinkClick r:id="rId2"/>
          </p:cNvPr>
          <p:cNvSpPr/>
          <p:nvPr/>
        </p:nvSpPr>
        <p:spPr>
          <a:xfrm>
            <a:off x="6273632" y="1254250"/>
            <a:ext cx="5608320" cy="4349497"/>
          </a:xfrm>
          <a:custGeom>
            <a:avLst/>
            <a:gdLst/>
            <a:ahLst/>
            <a:cxnLst/>
            <a:rect l="0" t="0" r="0" b="0"/>
            <a:pathLst>
              <a:path w="5608320" h="4349497">
                <a:moveTo>
                  <a:pt x="0" y="4349497"/>
                </a:moveTo>
                <a:lnTo>
                  <a:pt x="5608320" y="4349497"/>
                </a:lnTo>
                <a:lnTo>
                  <a:pt x="5608320" y="0"/>
                </a:lnTo>
                <a:lnTo>
                  <a:pt x="0" y="0"/>
                </a:lnTo>
                <a:lnTo>
                  <a:pt x="0" y="4349497"/>
                </a:lnTo>
                <a:close/>
              </a:path>
            </a:pathLst>
          </a:custGeom>
          <a:noFill/>
          <a:ln w="12700" cap="flat" cmpd="sng">
            <a:solidFill>
              <a:srgbClr val="4472C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pic>
        <p:nvPicPr>
          <p:cNvPr id="333" name="Picture 33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78736" y="1420367"/>
            <a:ext cx="5791200" cy="4017264"/>
          </a:xfrm>
          <a:prstGeom prst="rect">
            <a:avLst/>
          </a:prstGeom>
          <a:noFill/>
        </p:spPr>
      </p:pic>
      <p:sp>
        <p:nvSpPr>
          <p:cNvPr id="336" name="Rectangle 336"/>
          <p:cNvSpPr/>
          <p:nvPr/>
        </p:nvSpPr>
        <p:spPr>
          <a:xfrm>
            <a:off x="6531441" y="1567433"/>
            <a:ext cx="1804981"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Calibri-Bold"/>
              </a:rPr>
              <a:t>LOTTI DISPONIBILI </a:t>
            </a:r>
          </a:p>
        </p:txBody>
      </p:sp>
      <p:sp>
        <p:nvSpPr>
          <p:cNvPr id="337" name="Rectangle 337"/>
          <p:cNvSpPr/>
          <p:nvPr/>
        </p:nvSpPr>
        <p:spPr>
          <a:xfrm>
            <a:off x="6531441" y="1948380"/>
            <a:ext cx="2498674"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tab pos="344805" algn="l"/>
              </a:tabLst>
              <a:defRPr/>
            </a:pPr>
            <a:r>
              <a:rPr kumimoji="0" lang="it-IT" sz="1800" b="0" i="0" u="none" strike="noStrike" kern="0" cap="none" spc="0" normalizeH="0" baseline="0" noProof="0" dirty="0">
                <a:ln>
                  <a:noFill/>
                </a:ln>
                <a:solidFill>
                  <a:srgbClr val="000000"/>
                </a:solidFill>
                <a:effectLst/>
                <a:uLnTx/>
                <a:uFillTx/>
                <a:latin typeface="Calibri"/>
                <a:hlinkClick r:id="rId2"/>
              </a:rPr>
              <a:t>1)	</a:t>
            </a:r>
            <a:r>
              <a:rPr kumimoji="0" lang="it-IT" sz="1800" b="0" i="0" u="none" strike="noStrike" kern="0" cap="none" spc="0" normalizeH="0" baseline="0" noProof="0" dirty="0">
                <a:ln>
                  <a:noFill/>
                </a:ln>
                <a:solidFill>
                  <a:srgbClr val="0563C1"/>
                </a:solidFill>
                <a:effectLst/>
                <a:uLnTx/>
                <a:uFillTx/>
                <a:latin typeface="Calibri"/>
                <a:hlinkClick r:id="rId2"/>
              </a:rPr>
              <a:t>13_1256.pdf (apibas.it)</a:t>
            </a:r>
          </a:p>
        </p:txBody>
      </p:sp>
      <p:sp>
        <p:nvSpPr>
          <p:cNvPr id="338" name="Rectangle 338"/>
          <p:cNvSpPr/>
          <p:nvPr/>
        </p:nvSpPr>
        <p:spPr>
          <a:xfrm>
            <a:off x="524535" y="5646420"/>
            <a:ext cx="4415256"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4"/>
              </a:rPr>
              <a:t>API-Bas S.p.A. Area industriale di Tito (apibas.it)</a:t>
            </a:r>
          </a:p>
        </p:txBody>
      </p:sp>
      <p:sp>
        <p:nvSpPr>
          <p:cNvPr id="2" name="Rectangle 1">
            <a:extLst>
              <a:ext uri="{FF2B5EF4-FFF2-40B4-BE49-F238E27FC236}">
                <a16:creationId xmlns:a16="http://schemas.microsoft.com/office/drawing/2014/main" id="{C20F82B5-F993-0FC5-5302-BCFCED2E7BDA}"/>
              </a:ext>
            </a:extLst>
          </p:cNvPr>
          <p:cNvSpPr/>
          <p:nvPr/>
        </p:nvSpPr>
        <p:spPr>
          <a:xfrm>
            <a:off x="6583518" y="2600752"/>
            <a:ext cx="3453318" cy="26653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dirty="0">
                <a:solidFill>
                  <a:schemeClr val="bg1"/>
                </a:solidFill>
              </a:rPr>
              <a:t>Informazioni Lotto 1</a:t>
            </a:r>
          </a:p>
          <a:p>
            <a:endParaRPr lang="it-IT" dirty="0">
              <a:solidFill>
                <a:schemeClr val="bg1"/>
              </a:solidFill>
            </a:endParaRPr>
          </a:p>
          <a:p>
            <a:r>
              <a:rPr lang="it-IT" dirty="0">
                <a:solidFill>
                  <a:schemeClr val="bg1"/>
                </a:solidFill>
              </a:rPr>
              <a:t>Foglio 13 particella 1256;</a:t>
            </a:r>
          </a:p>
          <a:p>
            <a:r>
              <a:rPr lang="it-IT" dirty="0">
                <a:solidFill>
                  <a:schemeClr val="bg1"/>
                </a:solidFill>
              </a:rPr>
              <a:t>Superfici: 25.991 mq</a:t>
            </a:r>
          </a:p>
          <a:p>
            <a:r>
              <a:rPr lang="it-IT" dirty="0">
                <a:solidFill>
                  <a:schemeClr val="bg1"/>
                </a:solidFill>
              </a:rPr>
              <a:t>Superficie Coperta: 1.200 mq</a:t>
            </a:r>
          </a:p>
          <a:p>
            <a:endParaRPr lang="it-IT" dirty="0">
              <a:solidFill>
                <a:schemeClr val="bg1"/>
              </a:solidFill>
            </a:endParaRPr>
          </a:p>
          <a:p>
            <a:r>
              <a:rPr lang="it-IT" dirty="0">
                <a:solidFill>
                  <a:schemeClr val="bg1"/>
                </a:solidFill>
              </a:rPr>
              <a:t>Ufficio Tecnico API-</a:t>
            </a:r>
            <a:r>
              <a:rPr lang="it-IT" dirty="0" err="1">
                <a:solidFill>
                  <a:schemeClr val="bg1"/>
                </a:solidFill>
              </a:rPr>
              <a:t>Bas</a:t>
            </a:r>
            <a:endParaRPr lang="it-IT" dirty="0">
              <a:solidFill>
                <a:schemeClr val="bg1"/>
              </a:solidFill>
            </a:endParaRPr>
          </a:p>
          <a:p>
            <a:r>
              <a:rPr lang="it-IT" dirty="0">
                <a:solidFill>
                  <a:schemeClr val="bg1"/>
                </a:solidFill>
              </a:rPr>
              <a:t>Scala 1: 1000</a:t>
            </a:r>
          </a:p>
          <a:p>
            <a:r>
              <a:rPr lang="it-IT" dirty="0">
                <a:solidFill>
                  <a:schemeClr val="bg1"/>
                </a:solidFill>
              </a:rPr>
              <a:t>Data: 2024</a:t>
            </a:r>
          </a:p>
        </p:txBody>
      </p:sp>
      <p:pic>
        <p:nvPicPr>
          <p:cNvPr id="3" name="Picture 103">
            <a:extLst>
              <a:ext uri="{FF2B5EF4-FFF2-40B4-BE49-F238E27FC236}">
                <a16:creationId xmlns:a16="http://schemas.microsoft.com/office/drawing/2014/main" id="{AE19C384-C819-01AA-D360-3A0DE411EC9C}"/>
              </a:ext>
            </a:extLst>
          </p:cNvPr>
          <p:cNvPicPr>
            <a:picLocks noChangeArrowheads="1"/>
          </p:cNvPicPr>
          <p:nvPr/>
        </p:nvPicPr>
        <p:blipFill>
          <a:blip r:embed="rId5"/>
          <a:srcRect/>
          <a:stretch/>
        </p:blipFill>
        <p:spPr>
          <a:xfrm>
            <a:off x="10304687" y="5638799"/>
            <a:ext cx="1650167" cy="1106424"/>
          </a:xfrm>
          <a:prstGeom prst="rect">
            <a:avLst/>
          </a:prstGeom>
          <a:noFill/>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41" name="Rectangle 341"/>
          <p:cNvSpPr/>
          <p:nvPr/>
        </p:nvSpPr>
        <p:spPr>
          <a:xfrm>
            <a:off x="747369" y="1232573"/>
            <a:ext cx="11110648" cy="984885"/>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L’area industriale </a:t>
            </a:r>
            <a:r>
              <a:rPr kumimoji="0" lang="it-IT" sz="1600" b="1" i="0" u="none" strike="noStrike" kern="0" cap="none" spc="0" normalizeH="0" baseline="0" noProof="0" dirty="0">
                <a:ln>
                  <a:noFill/>
                </a:ln>
                <a:solidFill>
                  <a:schemeClr val="bg1"/>
                </a:solidFill>
                <a:effectLst/>
                <a:uLnTx/>
                <a:uFillTx/>
                <a:latin typeface="Calibri-Bold"/>
              </a:rPr>
              <a:t>di Baragiano, in </a:t>
            </a:r>
            <a:r>
              <a:rPr kumimoji="0" lang="it-IT" sz="1600" b="0" i="0" u="none" strike="noStrike" kern="0" cap="none" spc="0" normalizeH="0" baseline="0" noProof="0" dirty="0">
                <a:ln>
                  <a:noFill/>
                </a:ln>
                <a:solidFill>
                  <a:schemeClr val="bg1"/>
                </a:solidFill>
                <a:effectLst/>
                <a:uLnTx/>
                <a:uFillTx/>
                <a:latin typeface="Calibri"/>
              </a:rPr>
              <a:t>prossimità dell’area di Balvano, è ubicata a Nord Ovest della Basilicata e confinante con la regione Campania. Entrambe si estendono per una superficie complessiva di circa 62 ha, di cui 46 ha perimetrano l’area di Baragiano. aziende operanti in settori tra loro variegati: agroindustria, lavorazione del legno, industria delle bevande, trattamenti dei rifiuti, meccanica, prefabbricazione.</a:t>
            </a:r>
          </a:p>
        </p:txBody>
      </p:sp>
      <p:sp>
        <p:nvSpPr>
          <p:cNvPr id="343" name="Rectangle 343"/>
          <p:cNvSpPr/>
          <p:nvPr/>
        </p:nvSpPr>
        <p:spPr>
          <a:xfrm>
            <a:off x="747369" y="2641866"/>
            <a:ext cx="11110648" cy="49244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Il collegamento più importante dell’area è garantito dalla SP 51 che si innesta direttamente sulla Basentana nonché il collegamento ferroviario Potenza-Salerno.</a:t>
            </a:r>
          </a:p>
        </p:txBody>
      </p:sp>
      <p:sp>
        <p:nvSpPr>
          <p:cNvPr id="344" name="Rectangle 344"/>
          <p:cNvSpPr/>
          <p:nvPr/>
        </p:nvSpPr>
        <p:spPr>
          <a:xfrm>
            <a:off x="747369" y="3261615"/>
            <a:ext cx="4719575" cy="97199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chemeClr val="bg1"/>
                </a:solidFill>
                <a:effectLst/>
                <a:uLnTx/>
                <a:uFillTx/>
                <a:latin typeface="Calibri-Bold"/>
              </a:rPr>
              <a:t>PARAMETRI URBANISTICI</a:t>
            </a:r>
          </a:p>
          <a:p>
            <a:pPr marL="0" marR="0" lvl="0" indent="0" defTabSz="914400" eaLnBrk="1" fontAlgn="auto" latinLnBrk="0" hangingPunct="1">
              <a:lnSpc>
                <a:spcPts val="2978"/>
              </a:lnSpc>
              <a:spcBef>
                <a:spcPts val="0"/>
              </a:spcBef>
              <a:spcAft>
                <a:spcPts val="0"/>
              </a:spcAft>
              <a:buClrTx/>
              <a:buSzTx/>
              <a:buFontTx/>
              <a:buNone/>
              <a:tabLst>
                <a:tab pos="170688" algn="l"/>
              </a:tabLst>
              <a:defRPr/>
            </a:pPr>
            <a:r>
              <a:rPr kumimoji="0" lang="it-IT" sz="1600"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Calibri"/>
              </a:rPr>
              <a:t>Indice di copertura 1/2</a:t>
            </a:r>
          </a:p>
          <a:p>
            <a:pPr marL="0" marR="0" lvl="0" indent="0" defTabSz="914400" eaLnBrk="1" fontAlgn="auto" latinLnBrk="0" hangingPunct="1">
              <a:lnSpc>
                <a:spcPts val="3000"/>
              </a:lnSpc>
              <a:spcBef>
                <a:spcPts val="0"/>
              </a:spcBef>
              <a:spcAft>
                <a:spcPts val="0"/>
              </a:spcAft>
              <a:buClrTx/>
              <a:buSzTx/>
              <a:buFontTx/>
              <a:buNone/>
              <a:tabLst>
                <a:tab pos="170688" algn="l"/>
              </a:tabLst>
              <a:defRPr/>
            </a:pPr>
            <a:r>
              <a:rPr kumimoji="0" lang="it-IT" sz="1600"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Calibri"/>
              </a:rPr>
              <a:t>Distanza confini 5 mt</a:t>
            </a:r>
          </a:p>
        </p:txBody>
      </p:sp>
      <p:sp>
        <p:nvSpPr>
          <p:cNvPr id="345" name="Rectangle 345"/>
          <p:cNvSpPr/>
          <p:nvPr/>
        </p:nvSpPr>
        <p:spPr>
          <a:xfrm>
            <a:off x="747369" y="4399153"/>
            <a:ext cx="8591183"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Per fabbricati destinati ad uffici, guardianie e spazi collettiv</a:t>
            </a:r>
            <a:r>
              <a:rPr kumimoji="0" lang="it-IT" sz="1600" b="0" i="0" u="none" strike="noStrike" kern="0" cap="none" spc="470" normalizeH="0" baseline="0" noProof="0" dirty="0">
                <a:ln>
                  <a:noFill/>
                </a:ln>
                <a:solidFill>
                  <a:schemeClr val="bg1"/>
                </a:solidFill>
                <a:effectLst/>
                <a:uLnTx/>
                <a:uFillTx/>
                <a:latin typeface="Calibri"/>
              </a:rPr>
              <a:t>i</a:t>
            </a:r>
            <a:r>
              <a:rPr kumimoji="0" lang="it-IT" sz="1600" b="0" i="0" u="none" strike="noStrike" kern="0" cap="none" spc="0" normalizeH="0" baseline="0" noProof="0" dirty="0">
                <a:ln>
                  <a:noFill/>
                </a:ln>
                <a:solidFill>
                  <a:schemeClr val="bg1"/>
                </a:solidFill>
                <a:effectLst/>
                <a:uLnTx/>
                <a:uFillTx/>
                <a:latin typeface="Calibri"/>
              </a:rPr>
              <a:t>altezza massima 3 piani fuori terra</a:t>
            </a:r>
          </a:p>
        </p:txBody>
      </p:sp>
      <p:sp>
        <p:nvSpPr>
          <p:cNvPr id="346" name="Rectangle 346"/>
          <p:cNvSpPr/>
          <p:nvPr/>
        </p:nvSpPr>
        <p:spPr>
          <a:xfrm>
            <a:off x="747369" y="4776877"/>
            <a:ext cx="2731122" cy="246221"/>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chemeClr val="bg1"/>
                </a:solidFill>
                <a:effectLst/>
                <a:uLnTx/>
                <a:uFillTx/>
                <a:latin typeface="Calibri-Bold"/>
              </a:rPr>
              <a:t>COSTO SUOLI €/mq 20,02 </a:t>
            </a:r>
          </a:p>
        </p:txBody>
      </p:sp>
      <p:sp>
        <p:nvSpPr>
          <p:cNvPr id="348" name="Rectangle 348"/>
          <p:cNvSpPr/>
          <p:nvPr/>
        </p:nvSpPr>
        <p:spPr>
          <a:xfrm>
            <a:off x="747369" y="577850"/>
            <a:ext cx="3630802"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Tahoma-Bold"/>
              </a:rPr>
              <a:t>Area industriale di BARAGIANO</a:t>
            </a:r>
          </a:p>
        </p:txBody>
      </p:sp>
      <p:pic>
        <p:nvPicPr>
          <p:cNvPr id="2" name="Picture 103">
            <a:extLst>
              <a:ext uri="{FF2B5EF4-FFF2-40B4-BE49-F238E27FC236}">
                <a16:creationId xmlns:a16="http://schemas.microsoft.com/office/drawing/2014/main" id="{1A374560-4706-00E5-5B17-BFBDE92108C7}"/>
              </a:ext>
            </a:extLst>
          </p:cNvPr>
          <p:cNvPicPr>
            <a:picLocks noChangeArrowheads="1"/>
          </p:cNvPicPr>
          <p:nvPr/>
        </p:nvPicPr>
        <p:blipFill>
          <a:blip r:embed="rId2"/>
          <a:srcRect/>
          <a:stretch/>
        </p:blipFill>
        <p:spPr>
          <a:xfrm>
            <a:off x="10304687" y="5638799"/>
            <a:ext cx="1650167" cy="1106424"/>
          </a:xfrm>
          <a:prstGeom prst="rect">
            <a:avLst/>
          </a:prstGeom>
          <a:noFill/>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51" name="Picture 35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2240280" y="542199"/>
            <a:ext cx="7723631" cy="5315711"/>
          </a:xfrm>
          <a:prstGeom prst="rect">
            <a:avLst/>
          </a:prstGeom>
          <a:noFill/>
        </p:spPr>
      </p:pic>
      <p:sp>
        <p:nvSpPr>
          <p:cNvPr id="353" name="Rectangle 353"/>
          <p:cNvSpPr/>
          <p:nvPr/>
        </p:nvSpPr>
        <p:spPr>
          <a:xfrm>
            <a:off x="1241095" y="6202679"/>
            <a:ext cx="1998370"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3"/>
              </a:rPr>
              <a:t>SIT API-Bas (apibas.it)</a:t>
            </a:r>
          </a:p>
        </p:txBody>
      </p:sp>
      <p:pic>
        <p:nvPicPr>
          <p:cNvPr id="2" name="Picture 103">
            <a:extLst>
              <a:ext uri="{FF2B5EF4-FFF2-40B4-BE49-F238E27FC236}">
                <a16:creationId xmlns:a16="http://schemas.microsoft.com/office/drawing/2014/main" id="{BC6BC34E-8D0A-05FC-E493-66C790740FB9}"/>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56" name="Picture 356"/>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2040636" y="455440"/>
            <a:ext cx="8110728" cy="5577840"/>
          </a:xfrm>
          <a:prstGeom prst="rect">
            <a:avLst/>
          </a:prstGeom>
          <a:noFill/>
        </p:spPr>
      </p:pic>
      <p:sp>
        <p:nvSpPr>
          <p:cNvPr id="358" name="Rectangle 358"/>
          <p:cNvSpPr/>
          <p:nvPr/>
        </p:nvSpPr>
        <p:spPr>
          <a:xfrm>
            <a:off x="1115386" y="6242304"/>
            <a:ext cx="1998751"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3"/>
              </a:rPr>
              <a:t>SIT API-Bas (apibas.it)</a:t>
            </a:r>
          </a:p>
        </p:txBody>
      </p:sp>
      <p:pic>
        <p:nvPicPr>
          <p:cNvPr id="2" name="Picture 103">
            <a:extLst>
              <a:ext uri="{FF2B5EF4-FFF2-40B4-BE49-F238E27FC236}">
                <a16:creationId xmlns:a16="http://schemas.microsoft.com/office/drawing/2014/main" id="{FDB98BA3-DD0F-B12D-0BF9-34A44385C185}"/>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62" name="Freeform 362">
            <a:hlinkClick r:id="rId2"/>
          </p:cNvPr>
          <p:cNvSpPr/>
          <p:nvPr/>
        </p:nvSpPr>
        <p:spPr>
          <a:xfrm>
            <a:off x="6207946" y="1032611"/>
            <a:ext cx="5608320" cy="4349497"/>
          </a:xfrm>
          <a:custGeom>
            <a:avLst/>
            <a:gdLst/>
            <a:ahLst/>
            <a:cxnLst/>
            <a:rect l="0" t="0" r="0" b="0"/>
            <a:pathLst>
              <a:path w="5608320" h="4349497">
                <a:moveTo>
                  <a:pt x="0" y="4349497"/>
                </a:moveTo>
                <a:lnTo>
                  <a:pt x="5608320" y="4349497"/>
                </a:lnTo>
                <a:lnTo>
                  <a:pt x="5608320" y="0"/>
                </a:lnTo>
                <a:lnTo>
                  <a:pt x="0" y="0"/>
                </a:lnTo>
                <a:lnTo>
                  <a:pt x="0" y="4349497"/>
                </a:lnTo>
                <a:close/>
              </a:path>
            </a:pathLst>
          </a:custGeom>
          <a:noFill/>
          <a:ln w="12700" cap="flat" cmpd="sng">
            <a:solidFill>
              <a:srgbClr val="4472C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txBody>
          <a:bodyPr/>
          <a:lstStyle/>
          <a:p>
            <a:endParaRPr lang="it-IT" dirty="0"/>
          </a:p>
        </p:txBody>
      </p:sp>
      <p:pic>
        <p:nvPicPr>
          <p:cNvPr id="363" name="Picture 36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55202" y="1032612"/>
            <a:ext cx="5650991" cy="4349496"/>
          </a:xfrm>
          <a:prstGeom prst="rect">
            <a:avLst/>
          </a:prstGeom>
          <a:noFill/>
        </p:spPr>
      </p:pic>
      <p:sp>
        <p:nvSpPr>
          <p:cNvPr id="366" name="Rectangle 366"/>
          <p:cNvSpPr/>
          <p:nvPr/>
        </p:nvSpPr>
        <p:spPr>
          <a:xfrm>
            <a:off x="6456027" y="1345795"/>
            <a:ext cx="1804981"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Calibri-Bold"/>
              </a:rPr>
              <a:t>LOTTI DISPONIBILI </a:t>
            </a:r>
          </a:p>
        </p:txBody>
      </p:sp>
      <p:sp>
        <p:nvSpPr>
          <p:cNvPr id="367" name="Rectangle 367"/>
          <p:cNvSpPr/>
          <p:nvPr/>
        </p:nvSpPr>
        <p:spPr>
          <a:xfrm>
            <a:off x="6456027" y="1816220"/>
            <a:ext cx="3220364"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tab pos="344805" algn="l"/>
              </a:tabLst>
              <a:defRPr/>
            </a:pPr>
            <a:r>
              <a:rPr kumimoji="0" lang="it-IT" sz="1800" b="0" i="0" u="none" strike="noStrike" kern="0" cap="none" spc="0" normalizeH="0" baseline="0" noProof="0" dirty="0">
                <a:ln>
                  <a:noFill/>
                </a:ln>
                <a:solidFill>
                  <a:srgbClr val="000000"/>
                </a:solidFill>
                <a:effectLst/>
                <a:uLnTx/>
                <a:uFillTx/>
                <a:latin typeface="Calibri"/>
                <a:hlinkClick r:id="rId2"/>
              </a:rPr>
              <a:t>1)	</a:t>
            </a:r>
            <a:r>
              <a:rPr kumimoji="0" lang="it-IT" sz="1800" b="0" i="0" u="none" strike="noStrike" kern="0" cap="none" spc="0" normalizeH="0" baseline="0" noProof="0" dirty="0">
                <a:ln>
                  <a:noFill/>
                </a:ln>
                <a:solidFill>
                  <a:srgbClr val="0563C1"/>
                </a:solidFill>
                <a:effectLst/>
                <a:uLnTx/>
                <a:uFillTx/>
                <a:latin typeface="Calibri"/>
                <a:hlinkClick r:id="rId2"/>
              </a:rPr>
              <a:t>5_181_285_BAR.pdf (apibas.it)</a:t>
            </a:r>
          </a:p>
        </p:txBody>
      </p:sp>
      <p:sp>
        <p:nvSpPr>
          <p:cNvPr id="368" name="Rectangle 368"/>
          <p:cNvSpPr/>
          <p:nvPr/>
        </p:nvSpPr>
        <p:spPr>
          <a:xfrm>
            <a:off x="586740" y="5740159"/>
            <a:ext cx="4990262"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4"/>
              </a:rPr>
              <a:t>API-Bas S.p.A. Area Industriale di Baragiano (apibas.it)</a:t>
            </a:r>
          </a:p>
        </p:txBody>
      </p:sp>
      <p:sp>
        <p:nvSpPr>
          <p:cNvPr id="2" name="Rectangle 1">
            <a:extLst>
              <a:ext uri="{FF2B5EF4-FFF2-40B4-BE49-F238E27FC236}">
                <a16:creationId xmlns:a16="http://schemas.microsoft.com/office/drawing/2014/main" id="{7CC79CE5-A369-3D0A-00C9-93CC98462AE3}"/>
              </a:ext>
            </a:extLst>
          </p:cNvPr>
          <p:cNvSpPr/>
          <p:nvPr/>
        </p:nvSpPr>
        <p:spPr>
          <a:xfrm>
            <a:off x="6508104" y="2395365"/>
            <a:ext cx="3453318" cy="26653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dirty="0">
                <a:solidFill>
                  <a:schemeClr val="bg1"/>
                </a:solidFill>
              </a:rPr>
              <a:t>Informazioni Lotto 1</a:t>
            </a:r>
          </a:p>
          <a:p>
            <a:endParaRPr lang="it-IT" dirty="0">
              <a:solidFill>
                <a:schemeClr val="bg1"/>
              </a:solidFill>
            </a:endParaRPr>
          </a:p>
          <a:p>
            <a:r>
              <a:rPr lang="it-IT" dirty="0">
                <a:solidFill>
                  <a:schemeClr val="bg1"/>
                </a:solidFill>
              </a:rPr>
              <a:t>Foglio 5 particella 181-285;</a:t>
            </a:r>
          </a:p>
          <a:p>
            <a:r>
              <a:rPr lang="it-IT" dirty="0">
                <a:solidFill>
                  <a:schemeClr val="bg1"/>
                </a:solidFill>
              </a:rPr>
              <a:t>Superfici: 1.800 mq</a:t>
            </a:r>
          </a:p>
          <a:p>
            <a:endParaRPr lang="it-IT" dirty="0">
              <a:solidFill>
                <a:schemeClr val="bg1"/>
              </a:solidFill>
            </a:endParaRPr>
          </a:p>
          <a:p>
            <a:r>
              <a:rPr lang="it-IT" dirty="0">
                <a:solidFill>
                  <a:schemeClr val="bg1"/>
                </a:solidFill>
              </a:rPr>
              <a:t>Ufficio Tecnico API-</a:t>
            </a:r>
            <a:r>
              <a:rPr lang="it-IT" dirty="0" err="1">
                <a:solidFill>
                  <a:schemeClr val="bg1"/>
                </a:solidFill>
              </a:rPr>
              <a:t>Bas</a:t>
            </a:r>
            <a:endParaRPr lang="it-IT" dirty="0">
              <a:solidFill>
                <a:schemeClr val="bg1"/>
              </a:solidFill>
            </a:endParaRPr>
          </a:p>
          <a:p>
            <a:r>
              <a:rPr lang="it-IT" dirty="0">
                <a:solidFill>
                  <a:schemeClr val="bg1"/>
                </a:solidFill>
              </a:rPr>
              <a:t>Scala 1: 500</a:t>
            </a:r>
          </a:p>
          <a:p>
            <a:r>
              <a:rPr lang="it-IT" dirty="0">
                <a:solidFill>
                  <a:schemeClr val="bg1"/>
                </a:solidFill>
              </a:rPr>
              <a:t>Data: 2024</a:t>
            </a:r>
          </a:p>
        </p:txBody>
      </p:sp>
      <p:pic>
        <p:nvPicPr>
          <p:cNvPr id="3" name="Picture 103">
            <a:extLst>
              <a:ext uri="{FF2B5EF4-FFF2-40B4-BE49-F238E27FC236}">
                <a16:creationId xmlns:a16="http://schemas.microsoft.com/office/drawing/2014/main" id="{98F2B8D1-D6AE-5029-B6DF-72C6260B6496}"/>
              </a:ext>
            </a:extLst>
          </p:cNvPr>
          <p:cNvPicPr>
            <a:picLocks noChangeArrowheads="1"/>
          </p:cNvPicPr>
          <p:nvPr/>
        </p:nvPicPr>
        <p:blipFill>
          <a:blip r:embed="rId5"/>
          <a:srcRect/>
          <a:stretch/>
        </p:blipFill>
        <p:spPr>
          <a:xfrm>
            <a:off x="10304687" y="5638799"/>
            <a:ext cx="1650167" cy="1106424"/>
          </a:xfrm>
          <a:prstGeom prst="rect">
            <a:avLst/>
          </a:prstGeom>
          <a:noFill/>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72" name="Picture 37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7743644" y="2486472"/>
            <a:ext cx="3955020" cy="3121662"/>
          </a:xfrm>
          <a:prstGeom prst="rect">
            <a:avLst/>
          </a:prstGeom>
          <a:noFill/>
        </p:spPr>
      </p:pic>
      <p:sp>
        <p:nvSpPr>
          <p:cNvPr id="373" name="Rectangle 373"/>
          <p:cNvSpPr/>
          <p:nvPr/>
        </p:nvSpPr>
        <p:spPr>
          <a:xfrm>
            <a:off x="651967" y="1362710"/>
            <a:ext cx="11157412" cy="49244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L’ area industriale di Balvano, in prossimità dell’area di Baragiano, è ubicata a Nord Ovest della Basilicata e confinante con la regione Campania. Entrambe si estendono per una superficie complessiva di circa 62 ha, di cui 16 ha perimetrano l’area industriale di Balvano.</a:t>
            </a:r>
          </a:p>
        </p:txBody>
      </p:sp>
      <p:sp>
        <p:nvSpPr>
          <p:cNvPr id="374" name="Rectangle 374"/>
          <p:cNvSpPr/>
          <p:nvPr/>
        </p:nvSpPr>
        <p:spPr>
          <a:xfrm>
            <a:off x="651967" y="1994028"/>
            <a:ext cx="11157412" cy="49244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L’are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di</a:t>
            </a:r>
            <a:r>
              <a:rPr kumimoji="0" lang="it-IT" sz="1600" b="0" i="0" u="none" strike="noStrike" kern="0" cap="none" spc="136"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Balvano,</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infrastrutturat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per</a:t>
            </a:r>
            <a:r>
              <a:rPr kumimoji="0" lang="it-IT" sz="1600" b="0" i="0" u="none" strike="noStrike" kern="0" cap="none" spc="158"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circ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15</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h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risult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un’are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pressoché</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mono-impres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con</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il</a:t>
            </a:r>
            <a:r>
              <a:rPr kumimoji="0" lang="it-IT" sz="1600" b="0" i="0" u="none" strike="noStrike" kern="0" cap="none" spc="137"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98%</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di</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addetti</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occupati</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in</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un’aziend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dell’industria</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alimentare</a:t>
            </a:r>
            <a:r>
              <a:rPr kumimoji="0" lang="it-IT" sz="1600" b="0" i="0" u="none" strike="noStrike" kern="0" cap="none" spc="134" normalizeH="0" baseline="0" noProof="0" dirty="0">
                <a:ln>
                  <a:noFill/>
                </a:ln>
                <a:solidFill>
                  <a:schemeClr val="bg1"/>
                </a:solidFill>
                <a:effectLst/>
                <a:uLnTx/>
                <a:uFillTx/>
                <a:latin typeface="Calibri"/>
              </a:rPr>
              <a:t> </a:t>
            </a:r>
            <a:r>
              <a:rPr kumimoji="0" lang="it-IT" sz="1600" b="0" i="0" u="none" strike="noStrike" kern="0" cap="none" spc="0" normalizeH="0" baseline="0" noProof="0" dirty="0">
                <a:ln>
                  <a:noFill/>
                </a:ln>
                <a:solidFill>
                  <a:schemeClr val="bg1"/>
                </a:solidFill>
                <a:effectLst/>
                <a:uLnTx/>
                <a:uFillTx/>
                <a:latin typeface="Calibri"/>
              </a:rPr>
              <a:t>(la Ferrero spa). </a:t>
            </a:r>
          </a:p>
        </p:txBody>
      </p:sp>
      <p:sp>
        <p:nvSpPr>
          <p:cNvPr id="375" name="Rectangle 375"/>
          <p:cNvSpPr/>
          <p:nvPr/>
        </p:nvSpPr>
        <p:spPr>
          <a:xfrm>
            <a:off x="651967" y="3000503"/>
            <a:ext cx="6332824" cy="246221"/>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chemeClr val="bg1"/>
                </a:solidFill>
                <a:effectLst/>
                <a:uLnTx/>
                <a:uFillTx/>
                <a:latin typeface="Calibri-Bold"/>
              </a:rPr>
              <a:t>L’area non presenta spazi di ampliament</a:t>
            </a:r>
            <a:r>
              <a:rPr kumimoji="0" lang="it-IT" sz="1600" b="1" i="0" u="none" strike="noStrike" kern="0" cap="none" spc="495" normalizeH="0" baseline="0" noProof="0" dirty="0">
                <a:ln>
                  <a:noFill/>
                </a:ln>
                <a:solidFill>
                  <a:schemeClr val="bg1"/>
                </a:solidFill>
                <a:effectLst/>
                <a:uLnTx/>
                <a:uFillTx/>
                <a:latin typeface="Calibri-Bold"/>
              </a:rPr>
              <a:t>o</a:t>
            </a:r>
            <a:r>
              <a:rPr kumimoji="0" lang="it-IT" sz="1600" b="1" i="0" u="none" strike="noStrike" kern="0" cap="none" spc="0" normalizeH="0" baseline="0" noProof="0" dirty="0">
                <a:ln>
                  <a:noFill/>
                </a:ln>
                <a:solidFill>
                  <a:schemeClr val="bg1"/>
                </a:solidFill>
                <a:effectLst/>
                <a:uLnTx/>
                <a:uFillTx/>
                <a:latin typeface="Calibri-Bold"/>
              </a:rPr>
              <a:t>e non presenta lotti disponibili. </a:t>
            </a:r>
          </a:p>
        </p:txBody>
      </p:sp>
      <p:sp>
        <p:nvSpPr>
          <p:cNvPr id="376" name="Rectangle 376"/>
          <p:cNvSpPr/>
          <p:nvPr/>
        </p:nvSpPr>
        <p:spPr>
          <a:xfrm>
            <a:off x="651967" y="3381503"/>
            <a:ext cx="3702937" cy="246221"/>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Gli addetti si aggirano intorno alle 310 unità.</a:t>
            </a:r>
          </a:p>
        </p:txBody>
      </p:sp>
      <p:sp>
        <p:nvSpPr>
          <p:cNvPr id="377" name="Rectangle 377"/>
          <p:cNvSpPr/>
          <p:nvPr/>
        </p:nvSpPr>
        <p:spPr>
          <a:xfrm>
            <a:off x="651967" y="3759709"/>
            <a:ext cx="2167260" cy="971997"/>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chemeClr val="bg1"/>
                </a:solidFill>
                <a:effectLst/>
                <a:uLnTx/>
                <a:uFillTx/>
                <a:latin typeface="Calibri-Bold"/>
              </a:rPr>
              <a:t>PARAMETRI URBANISTICI</a:t>
            </a:r>
          </a:p>
          <a:p>
            <a:pPr marL="0" marR="0" lvl="0" indent="0" defTabSz="914400" eaLnBrk="1" fontAlgn="auto" latinLnBrk="0" hangingPunct="1">
              <a:lnSpc>
                <a:spcPts val="2975"/>
              </a:lnSpc>
              <a:spcBef>
                <a:spcPts val="0"/>
              </a:spcBef>
              <a:spcAft>
                <a:spcPts val="0"/>
              </a:spcAft>
              <a:buClrTx/>
              <a:buSzTx/>
              <a:buFontTx/>
              <a:buNone/>
              <a:tabLst>
                <a:tab pos="170688" algn="l"/>
              </a:tabLst>
              <a:defRPr/>
            </a:pPr>
            <a:r>
              <a:rPr kumimoji="0" lang="it-IT" sz="1600"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Calibri"/>
              </a:rPr>
              <a:t>Indice di copertura 1/2</a:t>
            </a:r>
          </a:p>
          <a:p>
            <a:pPr marL="0" marR="0" lvl="0" indent="0" defTabSz="914400" eaLnBrk="1" fontAlgn="auto" latinLnBrk="0" hangingPunct="1">
              <a:lnSpc>
                <a:spcPts val="2978"/>
              </a:lnSpc>
              <a:spcBef>
                <a:spcPts val="0"/>
              </a:spcBef>
              <a:spcAft>
                <a:spcPts val="0"/>
              </a:spcAft>
              <a:buClrTx/>
              <a:buSzTx/>
              <a:buFontTx/>
              <a:buNone/>
              <a:tabLst>
                <a:tab pos="170688" algn="l"/>
              </a:tabLst>
              <a:defRPr/>
            </a:pPr>
            <a:r>
              <a:rPr kumimoji="0" lang="it-IT" sz="1600" b="0" i="0" u="none" strike="noStrike" kern="0" cap="none" spc="0" normalizeH="0" baseline="0" noProof="0" dirty="0">
                <a:ln>
                  <a:noFill/>
                </a:ln>
                <a:solidFill>
                  <a:schemeClr val="bg1"/>
                </a:solidFill>
                <a:effectLst/>
                <a:uLnTx/>
                <a:uFillTx/>
                <a:latin typeface="ArialMT"/>
              </a:rPr>
              <a:t>•	</a:t>
            </a:r>
            <a:r>
              <a:rPr kumimoji="0" lang="it-IT" sz="1600" b="0" i="0" u="none" strike="noStrike" kern="0" cap="none" spc="0" normalizeH="0" baseline="0" noProof="0" dirty="0">
                <a:ln>
                  <a:noFill/>
                </a:ln>
                <a:solidFill>
                  <a:schemeClr val="bg1"/>
                </a:solidFill>
                <a:effectLst/>
                <a:uLnTx/>
                <a:uFillTx/>
                <a:latin typeface="Calibri"/>
              </a:rPr>
              <a:t>Distanza confini 5 mt</a:t>
            </a:r>
          </a:p>
        </p:txBody>
      </p:sp>
      <p:sp>
        <p:nvSpPr>
          <p:cNvPr id="378" name="Rectangle 378"/>
          <p:cNvSpPr/>
          <p:nvPr/>
        </p:nvSpPr>
        <p:spPr>
          <a:xfrm>
            <a:off x="651967" y="4893590"/>
            <a:ext cx="6719794" cy="492443"/>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Per fabbricati destinati ad uffici, guardianie e spazi collettivi altezza massima 3 piani fuori terra.</a:t>
            </a:r>
          </a:p>
        </p:txBody>
      </p:sp>
      <p:sp>
        <p:nvSpPr>
          <p:cNvPr id="379" name="Rectangle 379"/>
          <p:cNvSpPr/>
          <p:nvPr/>
        </p:nvSpPr>
        <p:spPr>
          <a:xfrm>
            <a:off x="651827" y="5512007"/>
            <a:ext cx="2136803" cy="246221"/>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a:ln>
                  <a:noFill/>
                </a:ln>
                <a:solidFill>
                  <a:schemeClr val="bg1"/>
                </a:solidFill>
                <a:effectLst/>
                <a:uLnTx/>
                <a:uFillTx/>
                <a:latin typeface="Calibri"/>
              </a:rPr>
              <a:t>COSTO SUOLI €/mq 20,02</a:t>
            </a:r>
          </a:p>
        </p:txBody>
      </p:sp>
      <p:sp>
        <p:nvSpPr>
          <p:cNvPr id="380" name="Rectangle 380"/>
          <p:cNvSpPr/>
          <p:nvPr/>
        </p:nvSpPr>
        <p:spPr>
          <a:xfrm>
            <a:off x="651827" y="5904131"/>
            <a:ext cx="3233257" cy="184666"/>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Calibri"/>
                <a:hlinkClick r:id="rId3">
                  <a:extLst>
                    <a:ext uri="{A12FA001-AC4F-418D-AE19-62706E023703}">
                      <ahyp:hlinkClr xmlns:ahyp="http://schemas.microsoft.com/office/drawing/2018/hyperlinkcolor" val="tx"/>
                    </a:ext>
                  </a:extLst>
                </a:hlinkClick>
              </a:rPr>
              <a:t>API-Bas S.p.A. Area Industriale di Balvano (apibas.it)</a:t>
            </a:r>
          </a:p>
        </p:txBody>
      </p:sp>
      <p:sp>
        <p:nvSpPr>
          <p:cNvPr id="381" name="Rectangle 381"/>
          <p:cNvSpPr/>
          <p:nvPr/>
        </p:nvSpPr>
        <p:spPr>
          <a:xfrm>
            <a:off x="747369" y="593725"/>
            <a:ext cx="3374322"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Tahoma-Bold"/>
              </a:rPr>
              <a:t>Area industriale di BALVANO </a:t>
            </a:r>
          </a:p>
        </p:txBody>
      </p:sp>
      <p:pic>
        <p:nvPicPr>
          <p:cNvPr id="2" name="Picture 103">
            <a:extLst>
              <a:ext uri="{FF2B5EF4-FFF2-40B4-BE49-F238E27FC236}">
                <a16:creationId xmlns:a16="http://schemas.microsoft.com/office/drawing/2014/main" id="{D26E730C-97CC-E6A7-CAB3-92BDD0381266}"/>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84" name="Rectangle 384"/>
          <p:cNvSpPr/>
          <p:nvPr/>
        </p:nvSpPr>
        <p:spPr>
          <a:xfrm>
            <a:off x="866241" y="1328674"/>
            <a:ext cx="9393149"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chemeClr val="bg1"/>
                </a:solidFill>
                <a:effectLst/>
                <a:uLnTx/>
                <a:uFillTx/>
                <a:latin typeface="Calibri"/>
              </a:rPr>
              <a:t>L’ area industriale di Isca Pantanell</a:t>
            </a:r>
            <a:r>
              <a:rPr kumimoji="0" lang="it-IT" sz="1400" b="0" i="0" u="none" strike="noStrike" kern="0" cap="none" spc="688" normalizeH="0" baseline="0" noProof="0" dirty="0">
                <a:ln>
                  <a:noFill/>
                </a:ln>
                <a:solidFill>
                  <a:schemeClr val="bg1"/>
                </a:solidFill>
                <a:effectLst/>
                <a:uLnTx/>
                <a:uFillTx/>
                <a:latin typeface="Calibri"/>
              </a:rPr>
              <a:t>e</a:t>
            </a:r>
            <a:r>
              <a:rPr kumimoji="0" lang="it-IT" sz="1400" b="0" i="0" u="none" strike="noStrike" kern="0" cap="none" spc="0" normalizeH="0" baseline="0" noProof="0" dirty="0">
                <a:ln>
                  <a:noFill/>
                </a:ln>
                <a:solidFill>
                  <a:schemeClr val="bg1"/>
                </a:solidFill>
                <a:effectLst/>
                <a:uLnTx/>
                <a:uFillTx/>
                <a:latin typeface="Calibri"/>
              </a:rPr>
              <a:t>del comune di Sant’Angelo le Fratte</a:t>
            </a:r>
            <a:r>
              <a:rPr kumimoji="0" lang="it-IT" sz="1400" b="0" i="0" u="none" strike="noStrike" kern="0" cap="none" spc="521" normalizeH="0" baseline="0" noProof="0" dirty="0">
                <a:ln>
                  <a:noFill/>
                </a:ln>
                <a:solidFill>
                  <a:schemeClr val="bg1"/>
                </a:solidFill>
                <a:effectLst/>
                <a:uLnTx/>
                <a:uFillTx/>
                <a:latin typeface="Calibri"/>
              </a:rPr>
              <a:t>,</a:t>
            </a:r>
            <a:r>
              <a:rPr kumimoji="0" lang="it-IT" sz="1400" b="0" i="0" u="none" strike="noStrike" kern="0" cap="none" spc="0" normalizeH="0" baseline="0" noProof="0" dirty="0">
                <a:ln>
                  <a:noFill/>
                </a:ln>
                <a:solidFill>
                  <a:schemeClr val="bg1"/>
                </a:solidFill>
                <a:effectLst/>
                <a:uLnTx/>
                <a:uFillTx/>
                <a:latin typeface="Calibri"/>
              </a:rPr>
              <a:t>sono insediate 11 attività produttive tutte in esercizio.</a:t>
            </a:r>
          </a:p>
        </p:txBody>
      </p:sp>
      <p:sp>
        <p:nvSpPr>
          <p:cNvPr id="385" name="Rectangle 385"/>
          <p:cNvSpPr/>
          <p:nvPr/>
        </p:nvSpPr>
        <p:spPr>
          <a:xfrm>
            <a:off x="866241" y="1706880"/>
            <a:ext cx="9433673"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chemeClr val="bg1"/>
                </a:solidFill>
                <a:effectLst/>
                <a:uLnTx/>
                <a:uFillTx/>
                <a:latin typeface="Calibri"/>
              </a:rPr>
              <a:t>L’agglomerato misura una superficie di circa 144.000 mq, di cui coperta 36.000 mq. Gli addetti si attestano intorno alle 140 unità.</a:t>
            </a:r>
          </a:p>
        </p:txBody>
      </p:sp>
      <p:sp>
        <p:nvSpPr>
          <p:cNvPr id="386" name="Rectangle 386"/>
          <p:cNvSpPr/>
          <p:nvPr/>
        </p:nvSpPr>
        <p:spPr>
          <a:xfrm>
            <a:off x="866241" y="2084833"/>
            <a:ext cx="1896353" cy="93467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chemeClr val="bg1"/>
                </a:solidFill>
                <a:effectLst/>
                <a:uLnTx/>
                <a:uFillTx/>
                <a:latin typeface="Calibri-Bold"/>
              </a:rPr>
              <a:t>PARAMETRI URBANISTICI</a:t>
            </a:r>
          </a:p>
          <a:p>
            <a:pPr marL="0" marR="0" lvl="0" indent="0" defTabSz="914400" eaLnBrk="1" fontAlgn="auto" latinLnBrk="0" hangingPunct="1">
              <a:lnSpc>
                <a:spcPts val="2978"/>
              </a:lnSpc>
              <a:spcBef>
                <a:spcPts val="0"/>
              </a:spcBef>
              <a:spcAft>
                <a:spcPts val="0"/>
              </a:spcAft>
              <a:buClrTx/>
              <a:buSzTx/>
              <a:buFontTx/>
              <a:buNone/>
              <a:tabLst>
                <a:tab pos="170688" algn="l"/>
              </a:tabLst>
              <a:defRPr/>
            </a:pPr>
            <a:r>
              <a:rPr kumimoji="0" lang="it-IT" sz="1400" b="0" i="0" u="none" strike="noStrike" kern="0" cap="none" spc="0" normalizeH="0" baseline="0" noProof="0" dirty="0">
                <a:ln>
                  <a:noFill/>
                </a:ln>
                <a:solidFill>
                  <a:schemeClr val="bg1"/>
                </a:solidFill>
                <a:effectLst/>
                <a:uLnTx/>
                <a:uFillTx/>
                <a:latin typeface="ArialMT"/>
              </a:rPr>
              <a:t>•	</a:t>
            </a:r>
            <a:r>
              <a:rPr kumimoji="0" lang="it-IT" sz="1400" b="0" i="0" u="none" strike="noStrike" kern="0" cap="none" spc="0" normalizeH="0" baseline="0" noProof="0" dirty="0">
                <a:ln>
                  <a:noFill/>
                </a:ln>
                <a:solidFill>
                  <a:schemeClr val="bg1"/>
                </a:solidFill>
                <a:effectLst/>
                <a:uLnTx/>
                <a:uFillTx/>
                <a:latin typeface="Calibri"/>
              </a:rPr>
              <a:t>Indice di copertura 1/2</a:t>
            </a:r>
          </a:p>
          <a:p>
            <a:pPr marL="0" marR="0" lvl="0" indent="0" defTabSz="914400" eaLnBrk="1" fontAlgn="auto" latinLnBrk="0" hangingPunct="1">
              <a:lnSpc>
                <a:spcPts val="3000"/>
              </a:lnSpc>
              <a:spcBef>
                <a:spcPts val="0"/>
              </a:spcBef>
              <a:spcAft>
                <a:spcPts val="0"/>
              </a:spcAft>
              <a:buClrTx/>
              <a:buSzTx/>
              <a:buFontTx/>
              <a:buNone/>
              <a:tabLst>
                <a:tab pos="170688" algn="l"/>
              </a:tabLst>
              <a:defRPr/>
            </a:pPr>
            <a:r>
              <a:rPr kumimoji="0" lang="it-IT" sz="1400" b="0" i="0" u="none" strike="noStrike" kern="0" cap="none" spc="0" normalizeH="0" baseline="0" noProof="0" dirty="0">
                <a:ln>
                  <a:noFill/>
                </a:ln>
                <a:solidFill>
                  <a:schemeClr val="bg1"/>
                </a:solidFill>
                <a:effectLst/>
                <a:uLnTx/>
                <a:uFillTx/>
                <a:latin typeface="ArialMT"/>
              </a:rPr>
              <a:t>•	</a:t>
            </a:r>
            <a:r>
              <a:rPr kumimoji="0" lang="it-IT" sz="1400" b="0" i="0" u="none" strike="noStrike" kern="0" cap="none" spc="0" normalizeH="0" baseline="0" noProof="0" dirty="0">
                <a:ln>
                  <a:noFill/>
                </a:ln>
                <a:solidFill>
                  <a:schemeClr val="bg1"/>
                </a:solidFill>
                <a:effectLst/>
                <a:uLnTx/>
                <a:uFillTx/>
                <a:latin typeface="Calibri"/>
              </a:rPr>
              <a:t>Distnaza confini 5 mt</a:t>
            </a:r>
          </a:p>
        </p:txBody>
      </p:sp>
      <p:sp>
        <p:nvSpPr>
          <p:cNvPr id="387" name="Rectangle 387"/>
          <p:cNvSpPr/>
          <p:nvPr/>
        </p:nvSpPr>
        <p:spPr>
          <a:xfrm>
            <a:off x="866241" y="3222372"/>
            <a:ext cx="6904134"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chemeClr val="bg1"/>
                </a:solidFill>
                <a:effectLst/>
                <a:uLnTx/>
                <a:uFillTx/>
                <a:latin typeface="Calibri"/>
              </a:rPr>
              <a:t>Per fabbricati destinati ad uffici, guardianie e spazi collettivi altezza massima 3 piani fuori terra</a:t>
            </a:r>
          </a:p>
        </p:txBody>
      </p:sp>
      <p:sp>
        <p:nvSpPr>
          <p:cNvPr id="388" name="Rectangle 388"/>
          <p:cNvSpPr/>
          <p:nvPr/>
        </p:nvSpPr>
        <p:spPr>
          <a:xfrm>
            <a:off x="866241" y="3600095"/>
            <a:ext cx="1901161"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chemeClr val="bg1"/>
                </a:solidFill>
                <a:effectLst/>
                <a:uLnTx/>
                <a:uFillTx/>
                <a:latin typeface="Calibri-Bold"/>
              </a:rPr>
              <a:t>COSTO SUOLI €/mq 20,02</a:t>
            </a:r>
          </a:p>
        </p:txBody>
      </p:sp>
      <p:sp>
        <p:nvSpPr>
          <p:cNvPr id="389" name="Rectangle 389"/>
          <p:cNvSpPr/>
          <p:nvPr/>
        </p:nvSpPr>
        <p:spPr>
          <a:xfrm>
            <a:off x="747369" y="577850"/>
            <a:ext cx="3734384" cy="27592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b="1" i="0" u="none" strike="noStrike" kern="0" cap="none" spc="0" normalizeH="0" baseline="0" noProof="0" dirty="0">
                <a:ln>
                  <a:noFill/>
                </a:ln>
                <a:solidFill>
                  <a:schemeClr val="bg1"/>
                </a:solidFill>
                <a:effectLst/>
                <a:uLnTx/>
                <a:uFillTx/>
                <a:latin typeface="Tahoma-Bold"/>
              </a:rPr>
              <a:t>Area industriale Isca Pantanelle </a:t>
            </a:r>
          </a:p>
        </p:txBody>
      </p:sp>
      <p:pic>
        <p:nvPicPr>
          <p:cNvPr id="2" name="Picture 103">
            <a:extLst>
              <a:ext uri="{FF2B5EF4-FFF2-40B4-BE49-F238E27FC236}">
                <a16:creationId xmlns:a16="http://schemas.microsoft.com/office/drawing/2014/main" id="{11279981-45A9-6BC8-40DC-9D99C65DD043}"/>
              </a:ext>
            </a:extLst>
          </p:cNvPr>
          <p:cNvPicPr>
            <a:picLocks noChangeArrowheads="1"/>
          </p:cNvPicPr>
          <p:nvPr/>
        </p:nvPicPr>
        <p:blipFill>
          <a:blip r:embed="rId2"/>
          <a:srcRect/>
          <a:stretch/>
        </p:blipFill>
        <p:spPr>
          <a:xfrm>
            <a:off x="10304687" y="5638799"/>
            <a:ext cx="1650167" cy="1106424"/>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town on a hill&#10;&#10;Description automatically generated">
            <a:extLst>
              <a:ext uri="{FF2B5EF4-FFF2-40B4-BE49-F238E27FC236}">
                <a16:creationId xmlns:a16="http://schemas.microsoft.com/office/drawing/2014/main" id="{8D800684-1874-A857-68E3-B6A9982A567D}"/>
              </a:ext>
            </a:extLst>
          </p:cNvPr>
          <p:cNvPicPr>
            <a:picLocks noChangeAspect="1"/>
          </p:cNvPicPr>
          <p:nvPr/>
        </p:nvPicPr>
        <p:blipFill rotWithShape="1">
          <a:blip r:embed="rId3"/>
          <a:srcRect l="38122" r="34666" b="42511"/>
          <a:stretch/>
        </p:blipFill>
        <p:spPr>
          <a:xfrm>
            <a:off x="0" y="1536817"/>
            <a:ext cx="4474723" cy="5317613"/>
          </a:xfrm>
          <a:prstGeom prst="rect">
            <a:avLst/>
          </a:prstGeom>
        </p:spPr>
      </p:pic>
      <p:sp>
        <p:nvSpPr>
          <p:cNvPr id="14" name="Rettangolo 13">
            <a:extLst>
              <a:ext uri="{FF2B5EF4-FFF2-40B4-BE49-F238E27FC236}">
                <a16:creationId xmlns:a16="http://schemas.microsoft.com/office/drawing/2014/main" id="{5FAECF2F-DAB9-A993-FD4E-8E10E0669755}"/>
              </a:ext>
            </a:extLst>
          </p:cNvPr>
          <p:cNvSpPr/>
          <p:nvPr/>
        </p:nvSpPr>
        <p:spPr>
          <a:xfrm>
            <a:off x="0" y="3570"/>
            <a:ext cx="12192000" cy="6854430"/>
          </a:xfrm>
          <a:prstGeom prst="rect">
            <a:avLst/>
          </a:prstGeom>
          <a:solidFill>
            <a:srgbClr val="00000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it-IT" sz="1199" dirty="0">
              <a:solidFill>
                <a:srgbClr val="2E2E38"/>
              </a:solidFill>
              <a:latin typeface="EYInterstate Light"/>
            </a:endParaRPr>
          </a:p>
        </p:txBody>
      </p:sp>
      <p:sp>
        <p:nvSpPr>
          <p:cNvPr id="2" name="Title 1"/>
          <p:cNvSpPr>
            <a:spLocks noGrp="1"/>
          </p:cNvSpPr>
          <p:nvPr>
            <p:ph type="title" idx="4294967295"/>
          </p:nvPr>
        </p:nvSpPr>
        <p:spPr>
          <a:xfrm>
            <a:off x="619935" y="308594"/>
            <a:ext cx="11366184" cy="590243"/>
          </a:xfrm>
        </p:spPr>
        <p:txBody>
          <a:bodyPr/>
          <a:lstStyle/>
          <a:p>
            <a:pPr>
              <a:spcAft>
                <a:spcPts val="800"/>
              </a:spcAft>
            </a:pPr>
            <a:r>
              <a:rPr lang="it-IT" sz="1899" dirty="0">
                <a:solidFill>
                  <a:schemeClr val="tx2"/>
                </a:solidFill>
              </a:rPr>
              <a:t>EY Smart Funding e Confindustria Basilicata | Bando Legge 181/89</a:t>
            </a:r>
            <a:br>
              <a:rPr lang="it-IT" sz="1899" dirty="0">
                <a:solidFill>
                  <a:schemeClr val="tx2"/>
                </a:solidFill>
              </a:rPr>
            </a:br>
            <a:r>
              <a:rPr lang="it-IT" sz="1600" i="1" dirty="0">
                <a:solidFill>
                  <a:schemeClr val="tx2"/>
                </a:solidFill>
              </a:rPr>
              <a:t>“Progetto di riconversione e riqualificazione industriale dell’area di crisi industriale complessa dei sistemi locali del lavoro di </a:t>
            </a:r>
            <a:r>
              <a:rPr lang="it-IT" sz="1600" b="1" i="1" dirty="0">
                <a:solidFill>
                  <a:schemeClr val="tx2"/>
                </a:solidFill>
              </a:rPr>
              <a:t>Melfi, Potenza e Rionero in Vulture</a:t>
            </a:r>
            <a:r>
              <a:rPr lang="it-IT" sz="1600" i="1" dirty="0">
                <a:solidFill>
                  <a:schemeClr val="tx2"/>
                </a:solidFill>
              </a:rPr>
              <a:t>“</a:t>
            </a:r>
            <a:endParaRPr lang="en-US" sz="1899" i="1" dirty="0">
              <a:solidFill>
                <a:schemeClr val="tx2"/>
              </a:solidFill>
            </a:endParaRPr>
          </a:p>
        </p:txBody>
      </p:sp>
      <p:graphicFrame>
        <p:nvGraphicFramePr>
          <p:cNvPr id="4" name="Tabella 6">
            <a:extLst>
              <a:ext uri="{FF2B5EF4-FFF2-40B4-BE49-F238E27FC236}">
                <a16:creationId xmlns:a16="http://schemas.microsoft.com/office/drawing/2014/main" id="{C829524B-B9D3-4213-99F8-8AAEA20A4311}"/>
              </a:ext>
            </a:extLst>
          </p:cNvPr>
          <p:cNvGraphicFramePr>
            <a:graphicFrameLocks noGrp="1"/>
          </p:cNvGraphicFramePr>
          <p:nvPr>
            <p:extLst>
              <p:ext uri="{D42A27DB-BD31-4B8C-83A1-F6EECF244321}">
                <p14:modId xmlns:p14="http://schemas.microsoft.com/office/powerpoint/2010/main" val="4050374806"/>
              </p:ext>
            </p:extLst>
          </p:nvPr>
        </p:nvGraphicFramePr>
        <p:xfrm>
          <a:off x="4861034" y="1910446"/>
          <a:ext cx="6786056" cy="4455458"/>
        </p:xfrm>
        <a:graphic>
          <a:graphicData uri="http://schemas.openxmlformats.org/drawingml/2006/table">
            <a:tbl>
              <a:tblPr firstRow="1" bandRow="1">
                <a:tableStyleId>{2D5ABB26-0587-4C30-8999-92F81FD0307C}</a:tableStyleId>
              </a:tblPr>
              <a:tblGrid>
                <a:gridCol w="3854949">
                  <a:extLst>
                    <a:ext uri="{9D8B030D-6E8A-4147-A177-3AD203B41FA5}">
                      <a16:colId xmlns:a16="http://schemas.microsoft.com/office/drawing/2014/main" val="30240099"/>
                    </a:ext>
                  </a:extLst>
                </a:gridCol>
                <a:gridCol w="2931107">
                  <a:extLst>
                    <a:ext uri="{9D8B030D-6E8A-4147-A177-3AD203B41FA5}">
                      <a16:colId xmlns:a16="http://schemas.microsoft.com/office/drawing/2014/main" val="2406982606"/>
                    </a:ext>
                  </a:extLst>
                </a:gridCol>
              </a:tblGrid>
              <a:tr h="791222">
                <a:tc>
                  <a:txBody>
                    <a:bodyPr/>
                    <a:lstStyle/>
                    <a:p>
                      <a:pPr algn="l">
                        <a:lnSpc>
                          <a:spcPct val="100000"/>
                        </a:lnSpc>
                        <a:spcAft>
                          <a:spcPts val="120"/>
                        </a:spcAft>
                      </a:pPr>
                      <a:r>
                        <a:rPr lang="it-IT" sz="1400" kern="1200" dirty="0">
                          <a:solidFill>
                            <a:schemeClr val="tx2"/>
                          </a:solidFill>
                          <a:latin typeface="+mn-lt"/>
                          <a:ea typeface="+mn-ea"/>
                          <a:cs typeface="+mn-cs"/>
                        </a:rPr>
                        <a:t>Contesto territoriale: Melfi, Potenza e Rionero in Vulture</a:t>
                      </a:r>
                      <a:endParaRPr lang="it-IT" sz="1400" dirty="0">
                        <a:solidFill>
                          <a:schemeClr val="tx2"/>
                        </a:solidFill>
                        <a:latin typeface="+mn-lt"/>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err="1">
                          <a:ln>
                            <a:noFill/>
                          </a:ln>
                          <a:solidFill>
                            <a:schemeClr val="bg1"/>
                          </a:solidFill>
                          <a:effectLst/>
                          <a:uLnTx/>
                          <a:uFillTx/>
                          <a:latin typeface="+mn-lt"/>
                          <a:ea typeface="+mn-ea"/>
                          <a:cs typeface="Georgia"/>
                        </a:rPr>
                        <a:t>Overview</a:t>
                      </a:r>
                      <a:endParaRPr kumimoji="0" lang="it-IT" sz="1400" b="0" i="0" u="none" strike="noStrike" kern="1200" cap="none" spc="0" normalizeH="0" baseline="0" noProof="0" dirty="0">
                        <a:ln>
                          <a:noFill/>
                        </a:ln>
                        <a:solidFill>
                          <a:schemeClr val="bg1"/>
                        </a:solidFill>
                        <a:effectLst/>
                        <a:uLnTx/>
                        <a:uFillTx/>
                        <a:latin typeface="+mn-lt"/>
                        <a:ea typeface="+mn-ea"/>
                        <a:cs typeface="Georgia"/>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La aree industriali ricomprese nell’area di crisi complessa</a:t>
                      </a:r>
                    </a:p>
                  </a:txBody>
                  <a:tcPr marL="91392" marR="91392" marT="45696" marB="45696" anchor="ctr">
                    <a:lnR w="9525" cap="flat" cmpd="sng" algn="ctr">
                      <a:solidFill>
                        <a:srgbClr val="C4C4CD"/>
                      </a:solidFill>
                      <a:prstDash val="solid"/>
                      <a:round/>
                      <a:headEnd type="none" w="med" len="med"/>
                      <a:tailEnd type="none" w="med" len="med"/>
                    </a:lnR>
                    <a:lnB w="9525" cap="flat" cmpd="sng" algn="ctr">
                      <a:solidFill>
                        <a:srgbClr val="C4C4CD"/>
                      </a:solidFill>
                      <a:prstDash val="solid"/>
                      <a:round/>
                      <a:headEnd type="none" w="med" len="med"/>
                      <a:tailEnd type="none" w="med" len="med"/>
                    </a:lnB>
                  </a:tcPr>
                </a:tc>
                <a:tc>
                  <a:txBody>
                    <a:bodyPr/>
                    <a:lstStyle/>
                    <a:p>
                      <a:pPr algn="l"/>
                      <a:r>
                        <a:rPr lang="it-IT" sz="1400" dirty="0">
                          <a:solidFill>
                            <a:schemeClr val="bg1"/>
                          </a:solidFill>
                          <a:latin typeface="+mn-lt"/>
                        </a:rPr>
                        <a:t>Confindustria Basilicata</a:t>
                      </a:r>
                    </a:p>
                  </a:txBody>
                  <a:tcPr marL="91392" marR="91392" marT="45696" marB="45696" anchor="ctr">
                    <a:lnL w="9525" cap="flat" cmpd="sng" algn="ctr">
                      <a:solidFill>
                        <a:srgbClr val="C4C4CD"/>
                      </a:solidFill>
                      <a:prstDash val="solid"/>
                      <a:round/>
                      <a:headEnd type="none" w="med" len="med"/>
                      <a:tailEnd type="none" w="med" len="med"/>
                    </a:lnL>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793673744"/>
                  </a:ext>
                </a:extLst>
              </a:tr>
              <a:tr h="1180537">
                <a:tc>
                  <a:txBody>
                    <a:bodyPr/>
                    <a:lstStyle/>
                    <a:p>
                      <a:pPr algn="l">
                        <a:lnSpc>
                          <a:spcPct val="100000"/>
                        </a:lnSpc>
                        <a:spcAft>
                          <a:spcPts val="120"/>
                        </a:spcAft>
                      </a:pPr>
                      <a:r>
                        <a:rPr lang="it-IT" sz="1400" dirty="0">
                          <a:solidFill>
                            <a:schemeClr val="bg2">
                              <a:lumMod val="50000"/>
                              <a:lumOff val="50000"/>
                            </a:schemeClr>
                          </a:solidFill>
                          <a:latin typeface="+mn-lt"/>
                        </a:rPr>
                        <a:t>Legge 181/89 – Un’opportunità per il territorio</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Overview</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beneficiar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investimenti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spese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agevolazione</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presentazione della domand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graduatoria di ammissione alla fase di valutazione istruttori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iter di valutazione</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tc>
                  <a:txBody>
                    <a:bodyPr/>
                    <a:lstStyle/>
                    <a:p>
                      <a:pPr algn="l"/>
                      <a:r>
                        <a:rPr lang="it-IT" sz="1400" b="1" dirty="0">
                          <a:solidFill>
                            <a:schemeClr val="bg2">
                              <a:lumMod val="50000"/>
                              <a:lumOff val="50000"/>
                            </a:schemeClr>
                          </a:solidFill>
                          <a:latin typeface="+mn-lt"/>
                        </a:rPr>
                        <a:t>Maria Irene Cristini</a:t>
                      </a:r>
                      <a:r>
                        <a:rPr lang="it-IT" sz="1400" dirty="0">
                          <a:solidFill>
                            <a:schemeClr val="bg2">
                              <a:lumMod val="50000"/>
                              <a:lumOff val="50000"/>
                            </a:schemeClr>
                          </a:solidFill>
                          <a:latin typeface="+mn-lt"/>
                        </a:rPr>
                        <a:t>, Manager EY</a:t>
                      </a:r>
                    </a:p>
                    <a:p>
                      <a:pPr algn="l"/>
                      <a:r>
                        <a:rPr lang="it-IT" sz="1400" b="1" dirty="0">
                          <a:solidFill>
                            <a:schemeClr val="bg2">
                              <a:lumMod val="50000"/>
                              <a:lumOff val="50000"/>
                            </a:schemeClr>
                          </a:solidFill>
                          <a:latin typeface="+mn-lt"/>
                        </a:rPr>
                        <a:t>Lorenzo Cenciarelli</a:t>
                      </a:r>
                      <a:r>
                        <a:rPr lang="it-IT" sz="1400" dirty="0">
                          <a:solidFill>
                            <a:schemeClr val="bg2">
                              <a:lumMod val="50000"/>
                              <a:lumOff val="50000"/>
                            </a:schemeClr>
                          </a:solidFill>
                          <a:latin typeface="+mn-lt"/>
                        </a:rPr>
                        <a:t>, Senior EY</a:t>
                      </a: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360720546"/>
                  </a:ext>
                </a:extLst>
              </a:tr>
              <a:tr h="427162">
                <a:tc>
                  <a:txBody>
                    <a:bodyPr/>
                    <a:lstStyle/>
                    <a:p>
                      <a:pPr algn="l">
                        <a:spcAft>
                          <a:spcPts val="120"/>
                        </a:spcAft>
                      </a:pPr>
                      <a:r>
                        <a:rPr lang="it-IT" sz="1400" dirty="0">
                          <a:solidFill>
                            <a:schemeClr val="bg2">
                              <a:lumMod val="50000"/>
                              <a:lumOff val="50000"/>
                            </a:schemeClr>
                          </a:solidFill>
                          <a:latin typeface="+mn-lt"/>
                        </a:rPr>
                        <a:t>Chiusura lavori e sessione di Q&amp;A</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l"/>
                      <a:endParaRPr lang="it-IT" sz="1400" dirty="0">
                        <a:solidFill>
                          <a:schemeClr val="bg2">
                            <a:lumMod val="50000"/>
                            <a:lumOff val="50000"/>
                          </a:schemeClr>
                        </a:solidFill>
                        <a:latin typeface="+mn-lt"/>
                      </a:endParaRP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094908054"/>
                  </a:ext>
                </a:extLst>
              </a:tr>
              <a:tr h="274177">
                <a:tc gridSpan="2">
                  <a:txBody>
                    <a:bodyPr/>
                    <a:lstStyle/>
                    <a:p>
                      <a:endParaRPr lang="it-IT" sz="1400" dirty="0">
                        <a:solidFill>
                          <a:schemeClr val="tx2"/>
                        </a:solidFill>
                        <a:latin typeface="+mn-lt"/>
                      </a:endParaRPr>
                    </a:p>
                  </a:txBody>
                  <a:tcPr marL="91392" marR="91392" marT="45696" marB="45696" anchor="ctr">
                    <a:lnT w="9525" cap="flat" cmpd="sng" algn="ctr">
                      <a:noFill/>
                      <a:prstDash val="solid"/>
                      <a:round/>
                      <a:headEnd type="none" w="med" len="med"/>
                      <a:tailEnd type="none" w="med" len="med"/>
                    </a:lnT>
                  </a:tcPr>
                </a:tc>
                <a:tc hMerge="1">
                  <a:txBody>
                    <a:bodyPr/>
                    <a:lstStyle/>
                    <a:p>
                      <a:endParaRPr lang="it-IT" sz="1200" dirty="0">
                        <a:solidFill>
                          <a:schemeClr val="bg1"/>
                        </a:solidFill>
                      </a:endParaRPr>
                    </a:p>
                  </a:txBody>
                  <a:tcPr anchor="ctr"/>
                </a:tc>
                <a:extLst>
                  <a:ext uri="{0D108BD9-81ED-4DB2-BD59-A6C34878D82A}">
                    <a16:rowId xmlns:a16="http://schemas.microsoft.com/office/drawing/2014/main" val="1011467762"/>
                  </a:ext>
                </a:extLst>
              </a:tr>
            </a:tbl>
          </a:graphicData>
        </a:graphic>
      </p:graphicFrame>
      <p:sp>
        <p:nvSpPr>
          <p:cNvPr id="19" name="Title 1">
            <a:extLst>
              <a:ext uri="{FF2B5EF4-FFF2-40B4-BE49-F238E27FC236}">
                <a16:creationId xmlns:a16="http://schemas.microsoft.com/office/drawing/2014/main" id="{847FE9A9-60E2-A24E-E391-556544674FB7}"/>
              </a:ext>
            </a:extLst>
          </p:cNvPr>
          <p:cNvSpPr txBox="1">
            <a:spLocks/>
          </p:cNvSpPr>
          <p:nvPr/>
        </p:nvSpPr>
        <p:spPr>
          <a:xfrm>
            <a:off x="4861034" y="1499357"/>
            <a:ext cx="889316" cy="25435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defRPr/>
            </a:pPr>
            <a:r>
              <a:rPr lang="en-US" sz="1899" dirty="0">
                <a:solidFill>
                  <a:srgbClr val="FFE600"/>
                </a:solidFill>
              </a:rPr>
              <a:t>Agenda</a:t>
            </a:r>
          </a:p>
        </p:txBody>
      </p:sp>
      <p:sp>
        <p:nvSpPr>
          <p:cNvPr id="5" name="Title 1">
            <a:extLst>
              <a:ext uri="{FF2B5EF4-FFF2-40B4-BE49-F238E27FC236}">
                <a16:creationId xmlns:a16="http://schemas.microsoft.com/office/drawing/2014/main" id="{301452BA-E441-CB3E-701F-FEF1D3EB819B}"/>
              </a:ext>
            </a:extLst>
          </p:cNvPr>
          <p:cNvSpPr txBox="1">
            <a:spLocks/>
          </p:cNvSpPr>
          <p:nvPr/>
        </p:nvSpPr>
        <p:spPr>
          <a:xfrm>
            <a:off x="619935" y="2170612"/>
            <a:ext cx="3705664" cy="125838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it-IT" sz="1800" dirty="0">
                <a:latin typeface="Georgia" panose="02040502050405020303" pitchFamily="18" charset="0"/>
              </a:rPr>
              <a:t>Realizzazione di iniziative imprenditoriali che mirano all’</a:t>
            </a:r>
            <a:r>
              <a:rPr lang="it-IT" sz="1800" dirty="0">
                <a:solidFill>
                  <a:schemeClr val="tx2"/>
                </a:solidFill>
                <a:latin typeface="Georgia" panose="02040502050405020303" pitchFamily="18" charset="0"/>
              </a:rPr>
              <a:t>incremento</a:t>
            </a:r>
            <a:r>
              <a:rPr lang="it-IT" sz="1800" dirty="0">
                <a:latin typeface="Georgia" panose="02040502050405020303" pitchFamily="18" charset="0"/>
              </a:rPr>
              <a:t> o alla </a:t>
            </a:r>
            <a:r>
              <a:rPr lang="it-IT" sz="1800" dirty="0">
                <a:solidFill>
                  <a:schemeClr val="tx2"/>
                </a:solidFill>
                <a:latin typeface="Georgia" panose="02040502050405020303" pitchFamily="18" charset="0"/>
              </a:rPr>
              <a:t>salvaguardia </a:t>
            </a:r>
            <a:r>
              <a:rPr lang="it-IT" sz="1800" dirty="0">
                <a:latin typeface="Georgia" panose="02040502050405020303" pitchFamily="18" charset="0"/>
              </a:rPr>
              <a:t>dei </a:t>
            </a:r>
            <a:r>
              <a:rPr lang="it-IT" sz="1800" dirty="0">
                <a:solidFill>
                  <a:schemeClr val="tx2"/>
                </a:solidFill>
                <a:latin typeface="Georgia" panose="02040502050405020303" pitchFamily="18" charset="0"/>
              </a:rPr>
              <a:t>livelli occupazionali</a:t>
            </a:r>
            <a:r>
              <a:rPr lang="it-IT" sz="1800" dirty="0">
                <a:latin typeface="Georgia" panose="02040502050405020303" pitchFamily="18" charset="0"/>
              </a:rPr>
              <a:t>, al </a:t>
            </a:r>
            <a:r>
              <a:rPr lang="it-IT" sz="1800" dirty="0">
                <a:solidFill>
                  <a:schemeClr val="tx2"/>
                </a:solidFill>
                <a:latin typeface="Georgia" panose="02040502050405020303" pitchFamily="18" charset="0"/>
              </a:rPr>
              <a:t>recupero </a:t>
            </a:r>
            <a:r>
              <a:rPr lang="it-IT" sz="1800" dirty="0">
                <a:latin typeface="Georgia" panose="02040502050405020303" pitchFamily="18" charset="0"/>
              </a:rPr>
              <a:t>della</a:t>
            </a:r>
            <a:r>
              <a:rPr lang="it-IT" sz="1800" dirty="0">
                <a:solidFill>
                  <a:schemeClr val="tx2"/>
                </a:solidFill>
                <a:latin typeface="Georgia" panose="02040502050405020303" pitchFamily="18" charset="0"/>
              </a:rPr>
              <a:t> capacità produttiva</a:t>
            </a:r>
            <a:r>
              <a:rPr lang="it-IT" sz="1800" dirty="0">
                <a:latin typeface="Georgia" panose="02040502050405020303" pitchFamily="18" charset="0"/>
              </a:rPr>
              <a:t> dei territori e all’</a:t>
            </a:r>
            <a:r>
              <a:rPr lang="it-IT" sz="1800" dirty="0">
                <a:solidFill>
                  <a:schemeClr val="tx2"/>
                </a:solidFill>
                <a:latin typeface="Georgia" panose="02040502050405020303" pitchFamily="18" charset="0"/>
              </a:rPr>
              <a:t>attrazione</a:t>
            </a:r>
            <a:r>
              <a:rPr lang="it-IT" sz="1800" dirty="0">
                <a:latin typeface="Georgia" panose="02040502050405020303" pitchFamily="18" charset="0"/>
              </a:rPr>
              <a:t> di </a:t>
            </a:r>
            <a:r>
              <a:rPr lang="it-IT" sz="1800" dirty="0">
                <a:solidFill>
                  <a:schemeClr val="tx2"/>
                </a:solidFill>
                <a:latin typeface="Georgia" panose="02040502050405020303" pitchFamily="18" charset="0"/>
              </a:rPr>
              <a:t>nuovi investimenti: </a:t>
            </a:r>
            <a:r>
              <a:rPr lang="it-IT" sz="1800" dirty="0">
                <a:solidFill>
                  <a:prstClr val="white"/>
                </a:solidFill>
                <a:latin typeface="Georgia" panose="02040502050405020303" pitchFamily="18" charset="0"/>
              </a:rPr>
              <a:t>le opportunità per la </a:t>
            </a:r>
            <a:r>
              <a:rPr lang="it-IT" sz="1800" dirty="0">
                <a:solidFill>
                  <a:schemeClr val="tx2"/>
                </a:solidFill>
                <a:latin typeface="Georgia" panose="02040502050405020303" pitchFamily="18" charset="0"/>
              </a:rPr>
              <a:t>riconversione e riqualificazione </a:t>
            </a:r>
            <a:r>
              <a:rPr lang="it-IT" sz="1800" dirty="0">
                <a:latin typeface="Georgia" panose="02040502050405020303" pitchFamily="18" charset="0"/>
              </a:rPr>
              <a:t>dell'area industriale di </a:t>
            </a:r>
            <a:r>
              <a:rPr lang="it-IT" sz="1800" dirty="0">
                <a:solidFill>
                  <a:schemeClr val="tx2"/>
                </a:solidFill>
                <a:latin typeface="Georgia" panose="02040502050405020303" pitchFamily="18" charset="0"/>
              </a:rPr>
              <a:t>Melfi, Potenza e Rionero in Vulture</a:t>
            </a:r>
            <a:r>
              <a:rPr lang="it-IT" sz="1599" dirty="0">
                <a:solidFill>
                  <a:schemeClr val="tx2"/>
                </a:solidFill>
                <a:latin typeface="Georgia" panose="02040502050405020303" pitchFamily="18" charset="0"/>
              </a:rPr>
              <a:t>.</a:t>
            </a:r>
          </a:p>
          <a:p>
            <a:pPr algn="just" defTabSz="913943">
              <a:defRPr/>
            </a:pPr>
            <a:endParaRPr lang="it-IT" sz="1599" dirty="0">
              <a:solidFill>
                <a:schemeClr val="tx2"/>
              </a:solidFill>
              <a:latin typeface="Georgia" panose="02040502050405020303" pitchFamily="18" charset="0"/>
            </a:endParaRPr>
          </a:p>
          <a:p>
            <a:pPr algn="just" defTabSz="913943">
              <a:defRPr/>
            </a:pPr>
            <a:endParaRPr lang="it-IT" sz="1599" dirty="0">
              <a:solidFill>
                <a:schemeClr val="tx2"/>
              </a:solidFill>
              <a:latin typeface="Georgia" panose="02040502050405020303" pitchFamily="18" charset="0"/>
            </a:endParaRPr>
          </a:p>
          <a:p>
            <a:pPr algn="just" defTabSz="913943">
              <a:defRPr/>
            </a:pPr>
            <a:endParaRPr lang="en-US" sz="2399" dirty="0">
              <a:solidFill>
                <a:srgbClr val="FFE600"/>
              </a:solidFill>
              <a:latin typeface="Georgia" panose="02040502050405020303" pitchFamily="18" charset="0"/>
            </a:endParaRPr>
          </a:p>
        </p:txBody>
      </p:sp>
    </p:spTree>
    <p:extLst>
      <p:ext uri="{BB962C8B-B14F-4D97-AF65-F5344CB8AC3E}">
        <p14:creationId xmlns:p14="http://schemas.microsoft.com/office/powerpoint/2010/main" val="9119291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92" name="Picture 39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2653284" y="517532"/>
            <a:ext cx="6885431" cy="5550408"/>
          </a:xfrm>
          <a:prstGeom prst="rect">
            <a:avLst/>
          </a:prstGeom>
          <a:noFill/>
        </p:spPr>
      </p:pic>
      <p:sp>
        <p:nvSpPr>
          <p:cNvPr id="394" name="Rectangle 394"/>
          <p:cNvSpPr/>
          <p:nvPr/>
        </p:nvSpPr>
        <p:spPr>
          <a:xfrm>
            <a:off x="586740" y="6217920"/>
            <a:ext cx="1998675"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3"/>
              </a:rPr>
              <a:t>SIT API-Bas (apibas.it)</a:t>
            </a:r>
          </a:p>
        </p:txBody>
      </p:sp>
      <p:pic>
        <p:nvPicPr>
          <p:cNvPr id="2" name="Picture 103">
            <a:extLst>
              <a:ext uri="{FF2B5EF4-FFF2-40B4-BE49-F238E27FC236}">
                <a16:creationId xmlns:a16="http://schemas.microsoft.com/office/drawing/2014/main" id="{B97E1A90-D75C-3A04-46EA-63E0C642923D}"/>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97" name="Picture 39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1757172" y="444789"/>
            <a:ext cx="8677656" cy="5507735"/>
          </a:xfrm>
          <a:prstGeom prst="rect">
            <a:avLst/>
          </a:prstGeom>
          <a:noFill/>
        </p:spPr>
      </p:pic>
      <p:sp>
        <p:nvSpPr>
          <p:cNvPr id="399" name="Rectangle 399"/>
          <p:cNvSpPr/>
          <p:nvPr/>
        </p:nvSpPr>
        <p:spPr>
          <a:xfrm>
            <a:off x="802335" y="6035040"/>
            <a:ext cx="2002561"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3"/>
              </a:rPr>
              <a:t>SIT API-Bas (apibas.it)</a:t>
            </a:r>
          </a:p>
        </p:txBody>
      </p:sp>
      <p:pic>
        <p:nvPicPr>
          <p:cNvPr id="2" name="Picture 103">
            <a:extLst>
              <a:ext uri="{FF2B5EF4-FFF2-40B4-BE49-F238E27FC236}">
                <a16:creationId xmlns:a16="http://schemas.microsoft.com/office/drawing/2014/main" id="{340FB4D4-3AE7-BB9D-F91C-7EAE223F59A9}"/>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03" name="Freeform 403">
            <a:hlinkClick r:id="rId2"/>
          </p:cNvPr>
          <p:cNvSpPr/>
          <p:nvPr/>
        </p:nvSpPr>
        <p:spPr>
          <a:xfrm>
            <a:off x="6235926" y="1136307"/>
            <a:ext cx="5608320" cy="4349497"/>
          </a:xfrm>
          <a:custGeom>
            <a:avLst/>
            <a:gdLst/>
            <a:ahLst/>
            <a:cxnLst/>
            <a:rect l="0" t="0" r="0" b="0"/>
            <a:pathLst>
              <a:path w="5608320" h="4349497">
                <a:moveTo>
                  <a:pt x="0" y="4349497"/>
                </a:moveTo>
                <a:lnTo>
                  <a:pt x="5608320" y="4349497"/>
                </a:lnTo>
                <a:lnTo>
                  <a:pt x="5608320" y="0"/>
                </a:lnTo>
                <a:lnTo>
                  <a:pt x="0" y="0"/>
                </a:lnTo>
                <a:lnTo>
                  <a:pt x="0" y="4349497"/>
                </a:lnTo>
                <a:close/>
              </a:path>
            </a:pathLst>
          </a:custGeom>
          <a:noFill/>
          <a:ln w="12700" cap="flat" cmpd="sng">
            <a:solidFill>
              <a:srgbClr val="4472C4">
                <a:alpha val="100000"/>
              </a:srgbClr>
            </a:solidFill>
            <a:miter lim="127000"/>
          </a:ln>
        </p:spPr>
        <p:style>
          <a:lnRef idx="2">
            <a:schemeClr val="accent1">
              <a:shade val="50000"/>
            </a:schemeClr>
          </a:lnRef>
          <a:fillRef idx="1">
            <a:schemeClr val="accent1"/>
          </a:fillRef>
          <a:effectRef idx="0">
            <a:schemeClr val="accent1"/>
          </a:effectRef>
          <a:fontRef idx="minor">
            <a:schemeClr val="lt1"/>
          </a:fontRef>
        </p:style>
      </p:sp>
      <p:pic>
        <p:nvPicPr>
          <p:cNvPr id="404" name="Picture 40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347189" y="1186709"/>
            <a:ext cx="5739384" cy="4251959"/>
          </a:xfrm>
          <a:prstGeom prst="rect">
            <a:avLst/>
          </a:prstGeom>
          <a:noFill/>
        </p:spPr>
      </p:pic>
      <p:sp>
        <p:nvSpPr>
          <p:cNvPr id="407" name="Rectangle 407"/>
          <p:cNvSpPr/>
          <p:nvPr/>
        </p:nvSpPr>
        <p:spPr>
          <a:xfrm>
            <a:off x="6493735" y="1449490"/>
            <a:ext cx="1804981" cy="2769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Calibri-Bold"/>
              </a:rPr>
              <a:t>LOTTI DISPONIBILI </a:t>
            </a:r>
          </a:p>
        </p:txBody>
      </p:sp>
      <p:sp>
        <p:nvSpPr>
          <p:cNvPr id="408" name="Rectangle 408"/>
          <p:cNvSpPr/>
          <p:nvPr/>
        </p:nvSpPr>
        <p:spPr>
          <a:xfrm>
            <a:off x="6486471" y="1845266"/>
            <a:ext cx="3720998"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tab pos="344805" algn="l"/>
              </a:tabLst>
              <a:defRPr/>
            </a:pPr>
            <a:r>
              <a:rPr kumimoji="0" lang="it-IT" sz="1800" b="0" i="0" u="none" strike="noStrike" kern="0" cap="none" spc="0" normalizeH="0" baseline="0" noProof="0" dirty="0">
                <a:ln>
                  <a:noFill/>
                </a:ln>
                <a:solidFill>
                  <a:srgbClr val="000000"/>
                </a:solidFill>
                <a:effectLst/>
                <a:uLnTx/>
                <a:uFillTx/>
                <a:latin typeface="Calibri"/>
                <a:hlinkClick r:id="rId2"/>
              </a:rPr>
              <a:t>1)	</a:t>
            </a:r>
            <a:r>
              <a:rPr kumimoji="0" lang="it-IT" sz="1800" b="0" i="0" u="none" strike="noStrike" kern="0" cap="none" spc="0" normalizeH="0" baseline="0" noProof="0" dirty="0">
                <a:ln>
                  <a:noFill/>
                </a:ln>
                <a:solidFill>
                  <a:srgbClr val="0563C1"/>
                </a:solidFill>
                <a:effectLst/>
                <a:uLnTx/>
                <a:uFillTx/>
                <a:latin typeface="Calibri"/>
                <a:hlinkClick r:id="rId2"/>
              </a:rPr>
              <a:t>18_711_19_935_ISCA.pdf (apibas.it)</a:t>
            </a:r>
          </a:p>
        </p:txBody>
      </p:sp>
      <p:sp>
        <p:nvSpPr>
          <p:cNvPr id="409" name="Rectangle 409"/>
          <p:cNvSpPr/>
          <p:nvPr/>
        </p:nvSpPr>
        <p:spPr>
          <a:xfrm>
            <a:off x="554990" y="5896355"/>
            <a:ext cx="3376193" cy="2286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563C1"/>
                </a:solidFill>
                <a:effectLst/>
                <a:uLnTx/>
                <a:uFillTx/>
                <a:latin typeface="Calibri"/>
                <a:hlinkClick r:id="rId2"/>
              </a:rPr>
              <a:t>18_711_19_935_ISCA.pdf (apibas.it)</a:t>
            </a:r>
          </a:p>
        </p:txBody>
      </p:sp>
      <p:sp>
        <p:nvSpPr>
          <p:cNvPr id="2" name="Rectangle 1">
            <a:extLst>
              <a:ext uri="{FF2B5EF4-FFF2-40B4-BE49-F238E27FC236}">
                <a16:creationId xmlns:a16="http://schemas.microsoft.com/office/drawing/2014/main" id="{A1371FFD-29D9-97F2-EC8C-8233AA2384EE}"/>
              </a:ext>
            </a:extLst>
          </p:cNvPr>
          <p:cNvSpPr/>
          <p:nvPr/>
        </p:nvSpPr>
        <p:spPr>
          <a:xfrm>
            <a:off x="6545812" y="2499060"/>
            <a:ext cx="3453318" cy="26653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dirty="0">
                <a:solidFill>
                  <a:schemeClr val="bg1"/>
                </a:solidFill>
              </a:rPr>
              <a:t>Informazioni Lotto 1 - 2</a:t>
            </a:r>
          </a:p>
          <a:p>
            <a:endParaRPr lang="it-IT" dirty="0">
              <a:solidFill>
                <a:schemeClr val="bg1"/>
              </a:solidFill>
            </a:endParaRPr>
          </a:p>
          <a:p>
            <a:r>
              <a:rPr lang="it-IT" dirty="0">
                <a:solidFill>
                  <a:schemeClr val="bg1"/>
                </a:solidFill>
              </a:rPr>
              <a:t>Foglio 18 particella 711;</a:t>
            </a:r>
          </a:p>
          <a:p>
            <a:r>
              <a:rPr lang="it-IT" dirty="0">
                <a:solidFill>
                  <a:schemeClr val="bg1"/>
                </a:solidFill>
              </a:rPr>
              <a:t>Foglio 19 particella 935;</a:t>
            </a:r>
          </a:p>
          <a:p>
            <a:endParaRPr lang="it-IT" dirty="0">
              <a:solidFill>
                <a:schemeClr val="bg1"/>
              </a:solidFill>
            </a:endParaRPr>
          </a:p>
          <a:p>
            <a:r>
              <a:rPr lang="it-IT" dirty="0">
                <a:solidFill>
                  <a:schemeClr val="bg1"/>
                </a:solidFill>
              </a:rPr>
              <a:t>Superficie: 11.421 mq</a:t>
            </a:r>
          </a:p>
          <a:p>
            <a:endParaRPr lang="it-IT" dirty="0">
              <a:solidFill>
                <a:schemeClr val="bg1"/>
              </a:solidFill>
            </a:endParaRPr>
          </a:p>
          <a:p>
            <a:r>
              <a:rPr lang="it-IT" dirty="0">
                <a:solidFill>
                  <a:schemeClr val="bg1"/>
                </a:solidFill>
              </a:rPr>
              <a:t>Ufficio Tecnico API-</a:t>
            </a:r>
            <a:r>
              <a:rPr lang="it-IT" dirty="0" err="1">
                <a:solidFill>
                  <a:schemeClr val="bg1"/>
                </a:solidFill>
              </a:rPr>
              <a:t>Bas</a:t>
            </a:r>
            <a:endParaRPr lang="it-IT" dirty="0">
              <a:solidFill>
                <a:schemeClr val="bg1"/>
              </a:solidFill>
            </a:endParaRPr>
          </a:p>
          <a:p>
            <a:r>
              <a:rPr lang="it-IT" dirty="0">
                <a:solidFill>
                  <a:schemeClr val="bg1"/>
                </a:solidFill>
              </a:rPr>
              <a:t>Scala 1: 1000</a:t>
            </a:r>
          </a:p>
          <a:p>
            <a:r>
              <a:rPr lang="it-IT" dirty="0">
                <a:solidFill>
                  <a:schemeClr val="bg1"/>
                </a:solidFill>
              </a:rPr>
              <a:t>Data: 2024</a:t>
            </a:r>
          </a:p>
        </p:txBody>
      </p:sp>
      <p:pic>
        <p:nvPicPr>
          <p:cNvPr id="3" name="Picture 103">
            <a:extLst>
              <a:ext uri="{FF2B5EF4-FFF2-40B4-BE49-F238E27FC236}">
                <a16:creationId xmlns:a16="http://schemas.microsoft.com/office/drawing/2014/main" id="{509225BE-DCB3-8D6F-4E90-D63425CA52C4}"/>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12" name="Rectangle 412"/>
          <p:cNvSpPr/>
          <p:nvPr/>
        </p:nvSpPr>
        <p:spPr>
          <a:xfrm>
            <a:off x="1134770" y="2066296"/>
            <a:ext cx="9674812" cy="1940127"/>
          </a:xfrm>
          <a:prstGeom prst="rect">
            <a:avLst/>
          </a:prstGeom>
        </p:spPr>
        <p:txBody>
          <a:bodyPr wrap="non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Il presente documento rappresent</a:t>
            </a:r>
            <a:r>
              <a:rPr kumimoji="0" lang="it-IT" sz="1392" b="0" i="0" u="none" strike="noStrike" kern="0" cap="none" spc="1023" normalizeH="0" baseline="0" noProof="0" dirty="0">
                <a:ln>
                  <a:noFill/>
                </a:ln>
                <a:solidFill>
                  <a:schemeClr val="bg1"/>
                </a:solidFill>
                <a:effectLst/>
                <a:uLnTx/>
                <a:uFillTx/>
                <a:latin typeface="Verdana"/>
              </a:rPr>
              <a:t>a</a:t>
            </a:r>
            <a:r>
              <a:rPr kumimoji="0" lang="it-IT" sz="1392" b="0" i="0" u="none" strike="noStrike" kern="0" cap="none" spc="0" normalizeH="0" baseline="0" noProof="0" dirty="0">
                <a:ln>
                  <a:noFill/>
                </a:ln>
                <a:solidFill>
                  <a:schemeClr val="bg1"/>
                </a:solidFill>
                <a:effectLst/>
                <a:uLnTx/>
                <a:uFillTx/>
                <a:latin typeface="Verdana"/>
              </a:rPr>
              <a:t>un primo dossier sulla consistenza delle aree industriali della Provincia </a:t>
            </a:r>
          </a:p>
          <a:p>
            <a:pPr marL="0" marR="0" lvl="0" indent="0" algn="ctr" defTabSz="914400" eaLnBrk="1" fontAlgn="auto" latinLnBrk="0" hangingPunct="1">
              <a:lnSpc>
                <a:spcPts val="2520"/>
              </a:lnSpc>
              <a:spcBef>
                <a:spcPts val="0"/>
              </a:spcBef>
              <a:spcAft>
                <a:spcPts val="0"/>
              </a:spcAft>
              <a:buClrTx/>
              <a:buSzTx/>
              <a:buFontTx/>
              <a:buNone/>
              <a:tabLst/>
              <a:defRPr/>
            </a:pPr>
            <a:r>
              <a:rPr kumimoji="0" lang="it-IT" sz="1394" b="0" i="0" u="none" strike="noStrike" kern="0" cap="none" spc="0" normalizeH="0" baseline="0" noProof="0" dirty="0">
                <a:ln>
                  <a:noFill/>
                </a:ln>
                <a:solidFill>
                  <a:schemeClr val="bg1"/>
                </a:solidFill>
                <a:effectLst/>
                <a:uLnTx/>
                <a:uFillTx/>
                <a:latin typeface="Verdana"/>
              </a:rPr>
              <a:t>di</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Potenza,</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ricomprese</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nell’Area</a:t>
            </a:r>
            <a:r>
              <a:rPr kumimoji="0" lang="it-IT" sz="1394" b="0" i="0" u="none" strike="noStrike" kern="0" cap="none" spc="2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di</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Crisi</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compless</a:t>
            </a:r>
            <a:r>
              <a:rPr kumimoji="0" lang="it-IT" sz="1394" b="0" i="0" u="none" strike="noStrike" kern="0" cap="none" spc="1428" normalizeH="0" baseline="0" noProof="0" dirty="0">
                <a:ln>
                  <a:noFill/>
                </a:ln>
                <a:solidFill>
                  <a:schemeClr val="bg1"/>
                </a:solidFill>
                <a:effectLst/>
                <a:uLnTx/>
                <a:uFillTx/>
                <a:latin typeface="Verdana"/>
              </a:rPr>
              <a:t>a</a:t>
            </a:r>
            <a:r>
              <a:rPr kumimoji="0" lang="it-IT" sz="1394" b="0" i="0" u="none" strike="noStrike" kern="0" cap="none" spc="0" normalizeH="0" baseline="0" noProof="0" dirty="0">
                <a:ln>
                  <a:noFill/>
                </a:ln>
                <a:solidFill>
                  <a:schemeClr val="bg1"/>
                </a:solidFill>
                <a:effectLst/>
                <a:uLnTx/>
                <a:uFillTx/>
                <a:latin typeface="Verdana"/>
              </a:rPr>
              <a:t>per</a:t>
            </a:r>
            <a:r>
              <a:rPr kumimoji="0" lang="it-IT" sz="1394" b="0" i="0" u="none" strike="noStrike" kern="0" cap="none" spc="2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SSL</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di</a:t>
            </a:r>
            <a:r>
              <a:rPr kumimoji="0" lang="it-IT" sz="1394" b="0" i="0" u="none" strike="noStrike" kern="0" cap="none" spc="2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Melfi,</a:t>
            </a:r>
            <a:r>
              <a:rPr kumimoji="0" lang="it-IT" sz="1394" b="0" i="0" u="none" strike="noStrike" kern="0" cap="none" spc="2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Rionero</a:t>
            </a:r>
            <a:r>
              <a:rPr kumimoji="0" lang="it-IT" sz="1394" b="0" i="0" u="none" strike="noStrike" kern="0" cap="none" spc="232"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Vulture</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e</a:t>
            </a:r>
            <a:r>
              <a:rPr kumimoji="0" lang="it-IT" sz="1394" b="0" i="0" u="none" strike="noStrike" kern="0" cap="none" spc="2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Potenza,</a:t>
            </a:r>
            <a:r>
              <a:rPr kumimoji="0" lang="it-IT" sz="1394" b="0" i="0" u="none" strike="noStrike" kern="0" cap="none" spc="2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 </a:t>
            </a:r>
          </a:p>
          <a:p>
            <a:pPr marL="0" marR="0" lvl="0" indent="0" algn="ctr" defTabSz="914400" eaLnBrk="1" fontAlgn="auto" latinLnBrk="0" hangingPunct="1">
              <a:lnSpc>
                <a:spcPts val="2521"/>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relazione al quadro delle opportunità per le aziende esogene che decidono, di allocare i propri investimenti </a:t>
            </a:r>
          </a:p>
          <a:p>
            <a:pPr marL="0" marR="0" lvl="0" indent="0" algn="ctr" defTabSz="914400" eaLnBrk="1" fontAlgn="auto" latinLnBrk="0" hangingPunct="1">
              <a:lnSpc>
                <a:spcPts val="2520"/>
              </a:lnSpc>
              <a:spcBef>
                <a:spcPts val="0"/>
              </a:spcBef>
              <a:spcAft>
                <a:spcPts val="0"/>
              </a:spcAft>
              <a:buClrTx/>
              <a:buSzTx/>
              <a:buFontTx/>
              <a:buNone/>
              <a:tabLst/>
              <a:defRPr/>
            </a:pPr>
            <a:r>
              <a:rPr kumimoji="0" lang="it-IT" sz="1394" b="0" i="0" u="none" strike="noStrike" kern="0" cap="none" spc="0" normalizeH="0" baseline="0" noProof="0" dirty="0">
                <a:ln>
                  <a:noFill/>
                </a:ln>
                <a:solidFill>
                  <a:schemeClr val="bg1"/>
                </a:solidFill>
                <a:effectLst/>
                <a:uLnTx/>
                <a:uFillTx/>
                <a:latin typeface="Verdana"/>
              </a:rPr>
              <a:t>sul territorio regionale e sulle aree industrial</a:t>
            </a:r>
            <a:r>
              <a:rPr kumimoji="0" lang="it-IT" sz="1394" b="0" i="0" u="none" strike="noStrike" kern="0" cap="none" spc="1090" normalizeH="0" baseline="0" noProof="0" dirty="0">
                <a:ln>
                  <a:noFill/>
                </a:ln>
                <a:solidFill>
                  <a:schemeClr val="bg1"/>
                </a:solidFill>
                <a:effectLst/>
                <a:uLnTx/>
                <a:uFillTx/>
                <a:latin typeface="Verdana"/>
              </a:rPr>
              <a:t>i</a:t>
            </a:r>
            <a:r>
              <a:rPr kumimoji="0" lang="it-IT" sz="1394" b="0" i="0" u="none" strike="noStrike" kern="0" cap="none" spc="0" normalizeH="0" baseline="0" noProof="0" dirty="0">
                <a:ln>
                  <a:noFill/>
                </a:ln>
                <a:solidFill>
                  <a:schemeClr val="bg1"/>
                </a:solidFill>
                <a:effectLst/>
                <a:uLnTx/>
                <a:uFillTx/>
                <a:latin typeface="Verdana"/>
              </a:rPr>
              <a:t>e/o produttive ivi esistenti. </a:t>
            </a:r>
          </a:p>
          <a:p>
            <a:pPr marL="0" marR="0" lvl="0" indent="0" algn="ctr" defTabSz="914400" eaLnBrk="1" fontAlgn="auto" latinLnBrk="0" hangingPunct="1">
              <a:lnSpc>
                <a:spcPts val="3506"/>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Le informazioni riportate sono stati elaborat</a:t>
            </a:r>
            <a:r>
              <a:rPr kumimoji="0" lang="it-IT" sz="1392" b="0" i="0" u="none" strike="noStrike" kern="0" cap="none" spc="1071" normalizeH="0" baseline="0" noProof="0" dirty="0">
                <a:ln>
                  <a:noFill/>
                </a:ln>
                <a:solidFill>
                  <a:schemeClr val="bg1"/>
                </a:solidFill>
                <a:effectLst/>
                <a:uLnTx/>
                <a:uFillTx/>
                <a:latin typeface="Verdana"/>
              </a:rPr>
              <a:t>e</a:t>
            </a:r>
            <a:r>
              <a:rPr kumimoji="0" lang="it-IT" sz="1392" b="0" i="0" u="none" strike="noStrike" kern="0" cap="none" spc="0" normalizeH="0" baseline="0" noProof="0" dirty="0">
                <a:ln>
                  <a:noFill/>
                </a:ln>
                <a:solidFill>
                  <a:schemeClr val="bg1"/>
                </a:solidFill>
                <a:effectLst/>
                <a:uLnTx/>
                <a:uFillTx/>
                <a:latin typeface="Verdana"/>
              </a:rPr>
              <a:t>sulla base dei dati pubblicati da </a:t>
            </a:r>
            <a:r>
              <a:rPr kumimoji="0" lang="it-IT" sz="1392" b="1" i="1" u="none" strike="noStrike" kern="0" cap="none" spc="0" normalizeH="0" baseline="0" noProof="0" dirty="0">
                <a:ln>
                  <a:noFill/>
                </a:ln>
                <a:solidFill>
                  <a:schemeClr val="bg1"/>
                </a:solidFill>
                <a:effectLst/>
                <a:uLnTx/>
                <a:uFillTx/>
                <a:latin typeface="Verdana-BoldItalic"/>
              </a:rPr>
              <a:t>API BA</a:t>
            </a:r>
            <a:r>
              <a:rPr kumimoji="0" lang="it-IT" sz="1392" b="1" i="1" u="none" strike="noStrike" kern="0" cap="none" spc="1074" normalizeH="0" baseline="0" noProof="0" dirty="0">
                <a:ln>
                  <a:noFill/>
                </a:ln>
                <a:solidFill>
                  <a:schemeClr val="bg1"/>
                </a:solidFill>
                <a:effectLst/>
                <a:uLnTx/>
                <a:uFillTx/>
                <a:latin typeface="Verdana-BoldItalic"/>
              </a:rPr>
              <a:t>S</a:t>
            </a:r>
            <a:r>
              <a:rPr kumimoji="0" lang="it-IT" sz="1392" b="1" i="1" u="none" strike="noStrike" kern="0" cap="none" spc="0" normalizeH="0" baseline="0" noProof="0" dirty="0">
                <a:ln>
                  <a:noFill/>
                </a:ln>
                <a:solidFill>
                  <a:schemeClr val="bg1"/>
                </a:solidFill>
                <a:effectLst/>
                <a:uLnTx/>
                <a:uFillTx/>
                <a:latin typeface="Verdana-BoldItalic"/>
              </a:rPr>
              <a:t>S.p.A </a:t>
            </a:r>
            <a:r>
              <a:rPr kumimoji="0" lang="it-IT" sz="1392" b="0" i="0" u="none" strike="noStrike" kern="0" cap="none" spc="0" normalizeH="0" baseline="0" noProof="0" dirty="0">
                <a:ln>
                  <a:noFill/>
                </a:ln>
                <a:solidFill>
                  <a:schemeClr val="bg1"/>
                </a:solidFill>
                <a:effectLst/>
                <a:uLnTx/>
                <a:uFillTx/>
                <a:latin typeface="Verdana"/>
              </a:rPr>
              <a:t>sul proprio </a:t>
            </a:r>
          </a:p>
          <a:p>
            <a:pPr marL="0" marR="0" lvl="0" indent="0" algn="ctr" defTabSz="914400" eaLnBrk="1" fontAlgn="auto" latinLnBrk="0" hangingPunct="1">
              <a:lnSpc>
                <a:spcPts val="2520"/>
              </a:lnSpc>
              <a:spcBef>
                <a:spcPts val="0"/>
              </a:spcBef>
              <a:spcAft>
                <a:spcPts val="0"/>
              </a:spcAft>
              <a:buClrTx/>
              <a:buSzTx/>
              <a:buFontTx/>
              <a:buNone/>
              <a:tabLst/>
              <a:defRPr/>
            </a:pPr>
            <a:r>
              <a:rPr kumimoji="0" lang="it-IT" sz="1394" b="0" i="0" u="none" strike="noStrike" kern="0" cap="none" spc="0" normalizeH="0" baseline="0" noProof="0" dirty="0">
                <a:ln>
                  <a:noFill/>
                </a:ln>
                <a:solidFill>
                  <a:schemeClr val="bg1"/>
                </a:solidFill>
                <a:effectLst/>
                <a:uLnTx/>
                <a:uFillTx/>
                <a:latin typeface="Verdana"/>
              </a:rPr>
              <a:t>sito istituzionale. </a:t>
            </a:r>
          </a:p>
        </p:txBody>
      </p:sp>
      <p:sp>
        <p:nvSpPr>
          <p:cNvPr id="413" name="Rectangle 413"/>
          <p:cNvSpPr/>
          <p:nvPr/>
        </p:nvSpPr>
        <p:spPr>
          <a:xfrm>
            <a:off x="1134770" y="4316502"/>
            <a:ext cx="51732" cy="22890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2" b="0" i="0" u="none" strike="noStrike" kern="0" cap="none" spc="0" normalizeH="0" baseline="0" noProof="0" dirty="0">
                <a:ln>
                  <a:noFill/>
                </a:ln>
                <a:solidFill>
                  <a:srgbClr val="44546A"/>
                </a:solidFill>
                <a:effectLst/>
                <a:uLnTx/>
                <a:uFillTx/>
                <a:latin typeface="Calibri"/>
              </a:rPr>
              <a:t> </a:t>
            </a:r>
          </a:p>
        </p:txBody>
      </p:sp>
      <p:pic>
        <p:nvPicPr>
          <p:cNvPr id="2" name="Picture 103">
            <a:extLst>
              <a:ext uri="{FF2B5EF4-FFF2-40B4-BE49-F238E27FC236}">
                <a16:creationId xmlns:a16="http://schemas.microsoft.com/office/drawing/2014/main" id="{82FB9B05-0F9F-F4F2-E52F-26AE3E212999}"/>
              </a:ext>
            </a:extLst>
          </p:cNvPr>
          <p:cNvPicPr>
            <a:picLocks noChangeArrowheads="1"/>
          </p:cNvPicPr>
          <p:nvPr/>
        </p:nvPicPr>
        <p:blipFill>
          <a:blip r:embed="rId2"/>
          <a:srcRect/>
          <a:stretch/>
        </p:blipFill>
        <p:spPr>
          <a:xfrm>
            <a:off x="10304687" y="5638799"/>
            <a:ext cx="1650167" cy="1106424"/>
          </a:xfrm>
          <a:prstGeom prst="rect">
            <a:avLst/>
          </a:prstGeom>
          <a:noFill/>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16" name="Freeform 416">
            <a:hlinkClick r:id="rId2"/>
          </p:cNvPr>
          <p:cNvSpPr/>
          <p:nvPr/>
        </p:nvSpPr>
        <p:spPr>
          <a:xfrm>
            <a:off x="6579616" y="5579237"/>
            <a:ext cx="2575560" cy="9144"/>
          </a:xfrm>
          <a:custGeom>
            <a:avLst/>
            <a:gdLst/>
            <a:ahLst/>
            <a:cxnLst/>
            <a:rect l="0" t="0" r="0" b="0"/>
            <a:pathLst>
              <a:path w="2575560" h="9144">
                <a:moveTo>
                  <a:pt x="0" y="0"/>
                </a:moveTo>
                <a:lnTo>
                  <a:pt x="858392" y="0"/>
                </a:lnTo>
                <a:lnTo>
                  <a:pt x="1717040" y="0"/>
                </a:lnTo>
                <a:lnTo>
                  <a:pt x="2575560" y="0"/>
                </a:lnTo>
                <a:lnTo>
                  <a:pt x="2575560" y="9144"/>
                </a:lnTo>
                <a:lnTo>
                  <a:pt x="1717040" y="9144"/>
                </a:lnTo>
                <a:lnTo>
                  <a:pt x="858392" y="9144"/>
                </a:lnTo>
                <a:lnTo>
                  <a:pt x="0" y="9144"/>
                </a:lnTo>
                <a:close/>
                <a:moveTo>
                  <a:pt x="-5300853" y="1278763"/>
                </a:moveTo>
              </a:path>
            </a:pathLst>
          </a:custGeom>
          <a:solidFill>
            <a:srgbClr val="0563C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417" name="Freeform 417">
            <a:hlinkClick r:id="rId3"/>
          </p:cNvPr>
          <p:cNvSpPr/>
          <p:nvPr/>
        </p:nvSpPr>
        <p:spPr>
          <a:xfrm>
            <a:off x="6579616" y="5762117"/>
            <a:ext cx="2712592" cy="9145"/>
          </a:xfrm>
          <a:custGeom>
            <a:avLst/>
            <a:gdLst/>
            <a:ahLst/>
            <a:cxnLst/>
            <a:rect l="0" t="0" r="0" b="0"/>
            <a:pathLst>
              <a:path w="2712592" h="9145">
                <a:moveTo>
                  <a:pt x="0" y="0"/>
                </a:moveTo>
                <a:lnTo>
                  <a:pt x="904240" y="0"/>
                </a:lnTo>
                <a:lnTo>
                  <a:pt x="1808352" y="0"/>
                </a:lnTo>
                <a:lnTo>
                  <a:pt x="2712592" y="0"/>
                </a:lnTo>
                <a:lnTo>
                  <a:pt x="2712592" y="9145"/>
                </a:lnTo>
                <a:lnTo>
                  <a:pt x="1808352" y="9145"/>
                </a:lnTo>
                <a:lnTo>
                  <a:pt x="904240" y="9145"/>
                </a:lnTo>
                <a:lnTo>
                  <a:pt x="0" y="9145"/>
                </a:lnTo>
                <a:close/>
                <a:moveTo>
                  <a:pt x="-5483733" y="1095883"/>
                </a:moveTo>
              </a:path>
            </a:pathLst>
          </a:custGeom>
          <a:solidFill>
            <a:srgbClr val="0563C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418" name="Freeform 418">
            <a:hlinkClick r:id="rId2"/>
          </p:cNvPr>
          <p:cNvSpPr/>
          <p:nvPr/>
        </p:nvSpPr>
        <p:spPr>
          <a:xfrm>
            <a:off x="6579616" y="5935853"/>
            <a:ext cx="2352928" cy="9145"/>
          </a:xfrm>
          <a:custGeom>
            <a:avLst/>
            <a:gdLst/>
            <a:ahLst/>
            <a:cxnLst/>
            <a:rect l="0" t="0" r="0" b="0"/>
            <a:pathLst>
              <a:path w="2352928" h="9145">
                <a:moveTo>
                  <a:pt x="0" y="0"/>
                </a:moveTo>
                <a:lnTo>
                  <a:pt x="1176527" y="0"/>
                </a:lnTo>
                <a:lnTo>
                  <a:pt x="2352928" y="0"/>
                </a:lnTo>
                <a:lnTo>
                  <a:pt x="2352928" y="9145"/>
                </a:lnTo>
                <a:lnTo>
                  <a:pt x="1176527" y="9145"/>
                </a:lnTo>
                <a:lnTo>
                  <a:pt x="0" y="9145"/>
                </a:lnTo>
                <a:close/>
                <a:moveTo>
                  <a:pt x="-5657469" y="922147"/>
                </a:moveTo>
              </a:path>
            </a:pathLst>
          </a:custGeom>
          <a:solidFill>
            <a:srgbClr val="0563C1">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419" name="Rectangle 419"/>
          <p:cNvSpPr/>
          <p:nvPr/>
        </p:nvSpPr>
        <p:spPr>
          <a:xfrm>
            <a:off x="6581267" y="3510534"/>
            <a:ext cx="3864841" cy="2467342"/>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Area Impresa e Politiche Territoriali</a:t>
            </a:r>
          </a:p>
          <a:p>
            <a:pPr marL="0" marR="0" lvl="0" indent="0" defTabSz="914400" eaLnBrk="1" fontAlgn="auto" latinLnBrk="0" hangingPunct="1">
              <a:lnSpc>
                <a:spcPts val="3264"/>
              </a:lnSpc>
              <a:spcBef>
                <a:spcPts val="0"/>
              </a:spcBef>
              <a:spcAft>
                <a:spcPts val="0"/>
              </a:spcAft>
              <a:buClrTx/>
              <a:buSzTx/>
              <a:buFontTx/>
              <a:buNone/>
              <a:tabLst/>
              <a:defRPr/>
            </a:pPr>
            <a:r>
              <a:rPr kumimoji="0" lang="it-IT" sz="1202" b="1" i="0" u="none" strike="noStrike" kern="0" cap="none" spc="0" normalizeH="0" baseline="0" noProof="0" dirty="0">
                <a:ln>
                  <a:noFill/>
                </a:ln>
                <a:solidFill>
                  <a:schemeClr val="bg1"/>
                </a:solidFill>
                <a:effectLst/>
                <a:uLnTx/>
                <a:uFillTx/>
                <a:latin typeface="Verdana-Bold"/>
              </a:rPr>
              <a:t>Sede di Potenza</a:t>
            </a:r>
          </a:p>
          <a:p>
            <a:pPr marL="0" marR="0" lvl="0" indent="0" defTabSz="914400" eaLnBrk="1" fontAlgn="auto" latinLnBrk="0" hangingPunct="1">
              <a:lnSpc>
                <a:spcPts val="144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Via Di Giura - Centro Direzionale - 85100 Potenza</a:t>
            </a:r>
          </a:p>
          <a:p>
            <a:pPr marL="0" marR="0" lvl="0" indent="0" defTabSz="914400" eaLnBrk="1" fontAlgn="auto" latinLnBrk="0" hangingPunct="1">
              <a:lnSpc>
                <a:spcPts val="1392"/>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Tel. +39.0971.292942 - Fax +39.0971.292964</a:t>
            </a:r>
          </a:p>
          <a:p>
            <a:pPr marL="0" marR="0" lvl="0" indent="0" defTabSz="914400" eaLnBrk="1" fontAlgn="auto" latinLnBrk="0" hangingPunct="1">
              <a:lnSpc>
                <a:spcPts val="3146"/>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Sede di Matera</a:t>
            </a:r>
          </a:p>
          <a:p>
            <a:pPr marL="0" marR="0" lvl="0" indent="0" defTabSz="914400" eaLnBrk="1" fontAlgn="auto" latinLnBrk="0" hangingPunct="1">
              <a:lnSpc>
                <a:spcPts val="144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Via XX Settembre, 3 - 75100 Matera</a:t>
            </a:r>
          </a:p>
          <a:p>
            <a:pPr marL="0" marR="0" lvl="0" indent="0" defTabSz="914400" eaLnBrk="1" fontAlgn="auto" latinLnBrk="0" hangingPunct="1">
              <a:lnSpc>
                <a:spcPts val="1367"/>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Tel. +39.0835.292942 - Fax +39.0835.292964</a:t>
            </a:r>
          </a:p>
          <a:p>
            <a:pPr marL="0" marR="0" lvl="0" indent="0" defTabSz="914400" eaLnBrk="1" fontAlgn="auto" latinLnBrk="0" hangingPunct="1">
              <a:lnSpc>
                <a:spcPts val="2954"/>
              </a:lnSpc>
              <a:spcBef>
                <a:spcPts val="0"/>
              </a:spcBef>
              <a:spcAft>
                <a:spcPts val="0"/>
              </a:spcAft>
              <a:buClrTx/>
              <a:buSzTx/>
              <a:buFontTx/>
              <a:buNone/>
              <a:tabLst/>
              <a:defRPr/>
            </a:pPr>
            <a:r>
              <a:rPr kumimoji="0" lang="it-IT" sz="1200" b="0" i="0" u="none" strike="noStrike" kern="0" cap="none" spc="0" normalizeH="0" baseline="0" noProof="0" dirty="0">
                <a:ln>
                  <a:noFill/>
                </a:ln>
                <a:solidFill>
                  <a:srgbClr val="0563C1"/>
                </a:solidFill>
                <a:effectLst/>
                <a:uLnTx/>
                <a:uFillTx/>
                <a:latin typeface="Verdana"/>
                <a:hlinkClick r:id="rId2"/>
              </a:rPr>
              <a:t>n.sileo@confindustria.basilicata.it</a:t>
            </a:r>
          </a:p>
          <a:p>
            <a:pPr marL="0" marR="0" lvl="0" indent="0" defTabSz="914400" eaLnBrk="1" fontAlgn="auto" latinLnBrk="0" hangingPunct="1">
              <a:lnSpc>
                <a:spcPts val="1440"/>
              </a:lnSpc>
              <a:spcBef>
                <a:spcPts val="0"/>
              </a:spcBef>
              <a:spcAft>
                <a:spcPts val="0"/>
              </a:spcAft>
              <a:buClrTx/>
              <a:buSzTx/>
              <a:buFontTx/>
              <a:buNone/>
              <a:tabLst/>
              <a:defRPr/>
            </a:pPr>
            <a:r>
              <a:rPr kumimoji="0" lang="it-IT" sz="1200" b="0" i="0" u="none" strike="noStrike" kern="0" cap="none" spc="0" normalizeH="0" baseline="0" noProof="0" dirty="0">
                <a:ln>
                  <a:noFill/>
                </a:ln>
                <a:solidFill>
                  <a:srgbClr val="0563C1"/>
                </a:solidFill>
                <a:effectLst/>
                <a:uLnTx/>
                <a:uFillTx/>
                <a:latin typeface="Verdana"/>
                <a:hlinkClick r:id="rId3"/>
              </a:rPr>
              <a:t>f.telesca@confindustria.basilicata.it</a:t>
            </a:r>
          </a:p>
          <a:p>
            <a:pPr marL="0" marR="0" lvl="0" indent="0" defTabSz="914400" eaLnBrk="1" fontAlgn="auto" latinLnBrk="0" hangingPunct="1">
              <a:lnSpc>
                <a:spcPts val="1368"/>
              </a:lnSpc>
              <a:spcBef>
                <a:spcPts val="0"/>
              </a:spcBef>
              <a:spcAft>
                <a:spcPts val="0"/>
              </a:spcAft>
              <a:buClrTx/>
              <a:buSzTx/>
              <a:buFontTx/>
              <a:buNone/>
              <a:tabLst/>
              <a:defRPr/>
            </a:pPr>
            <a:r>
              <a:rPr kumimoji="0" lang="it-IT" sz="1200" b="0" i="0" u="none" strike="noStrike" kern="0" cap="none" spc="0" normalizeH="0" baseline="0" noProof="0" dirty="0">
                <a:ln>
                  <a:noFill/>
                </a:ln>
                <a:solidFill>
                  <a:srgbClr val="0563C1"/>
                </a:solidFill>
                <a:effectLst/>
                <a:uLnTx/>
                <a:uFillTx/>
                <a:latin typeface="Verdana"/>
                <a:hlinkClick r:id="rId2"/>
              </a:rPr>
              <a:t>www.confindustria.basilicata.it</a:t>
            </a:r>
          </a:p>
        </p:txBody>
      </p:sp>
      <p:pic>
        <p:nvPicPr>
          <p:cNvPr id="2" name="Picture 103">
            <a:extLst>
              <a:ext uri="{FF2B5EF4-FFF2-40B4-BE49-F238E27FC236}">
                <a16:creationId xmlns:a16="http://schemas.microsoft.com/office/drawing/2014/main" id="{F33D4EA8-712B-E321-7B8D-FE453BD3164E}"/>
              </a:ext>
            </a:extLst>
          </p:cNvPr>
          <p:cNvPicPr>
            <a:picLocks noChangeArrowheads="1"/>
          </p:cNvPicPr>
          <p:nvPr/>
        </p:nvPicPr>
        <p:blipFill>
          <a:blip r:embed="rId4"/>
          <a:srcRect/>
          <a:stretch/>
        </p:blipFill>
        <p:spPr>
          <a:xfrm>
            <a:off x="5529768" y="640398"/>
            <a:ext cx="3882212" cy="2602992"/>
          </a:xfrm>
          <a:prstGeom prst="rect">
            <a:avLst/>
          </a:prstGeom>
          <a:noFill/>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town on a hill&#10;&#10;Description automatically generated">
            <a:extLst>
              <a:ext uri="{FF2B5EF4-FFF2-40B4-BE49-F238E27FC236}">
                <a16:creationId xmlns:a16="http://schemas.microsoft.com/office/drawing/2014/main" id="{8D800684-1874-A857-68E3-B6A9982A567D}"/>
              </a:ext>
            </a:extLst>
          </p:cNvPr>
          <p:cNvPicPr>
            <a:picLocks noChangeAspect="1"/>
          </p:cNvPicPr>
          <p:nvPr/>
        </p:nvPicPr>
        <p:blipFill rotWithShape="1">
          <a:blip r:embed="rId2"/>
          <a:srcRect l="38122" r="34666" b="42511"/>
          <a:stretch/>
        </p:blipFill>
        <p:spPr>
          <a:xfrm>
            <a:off x="0" y="1536817"/>
            <a:ext cx="4474723" cy="5317613"/>
          </a:xfrm>
          <a:prstGeom prst="rect">
            <a:avLst/>
          </a:prstGeom>
        </p:spPr>
      </p:pic>
      <p:sp>
        <p:nvSpPr>
          <p:cNvPr id="14" name="Rettangolo 13">
            <a:extLst>
              <a:ext uri="{FF2B5EF4-FFF2-40B4-BE49-F238E27FC236}">
                <a16:creationId xmlns:a16="http://schemas.microsoft.com/office/drawing/2014/main" id="{5FAECF2F-DAB9-A993-FD4E-8E10E0669755}"/>
              </a:ext>
            </a:extLst>
          </p:cNvPr>
          <p:cNvSpPr/>
          <p:nvPr/>
        </p:nvSpPr>
        <p:spPr>
          <a:xfrm>
            <a:off x="0" y="3570"/>
            <a:ext cx="12192000" cy="6854430"/>
          </a:xfrm>
          <a:prstGeom prst="rect">
            <a:avLst/>
          </a:prstGeom>
          <a:solidFill>
            <a:srgbClr val="00000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it-IT" sz="1199" dirty="0">
              <a:solidFill>
                <a:srgbClr val="2E2E38"/>
              </a:solidFill>
              <a:latin typeface="EYInterstate Light"/>
            </a:endParaRPr>
          </a:p>
        </p:txBody>
      </p:sp>
      <p:sp>
        <p:nvSpPr>
          <p:cNvPr id="2" name="Title 1"/>
          <p:cNvSpPr>
            <a:spLocks noGrp="1"/>
          </p:cNvSpPr>
          <p:nvPr>
            <p:ph type="title" idx="4294967295"/>
          </p:nvPr>
        </p:nvSpPr>
        <p:spPr>
          <a:xfrm>
            <a:off x="619935" y="308594"/>
            <a:ext cx="11366184" cy="590243"/>
          </a:xfrm>
        </p:spPr>
        <p:txBody>
          <a:bodyPr/>
          <a:lstStyle/>
          <a:p>
            <a:pPr>
              <a:spcAft>
                <a:spcPts val="800"/>
              </a:spcAft>
            </a:pPr>
            <a:r>
              <a:rPr lang="it-IT" sz="1899" dirty="0">
                <a:solidFill>
                  <a:schemeClr val="tx2"/>
                </a:solidFill>
              </a:rPr>
              <a:t>EY Smart Funding e Confindustria Basilicata | Bando Legge 181/89</a:t>
            </a:r>
            <a:br>
              <a:rPr lang="it-IT" sz="1899" dirty="0">
                <a:solidFill>
                  <a:schemeClr val="tx2"/>
                </a:solidFill>
              </a:rPr>
            </a:br>
            <a:r>
              <a:rPr lang="it-IT" sz="1600" i="1" dirty="0">
                <a:solidFill>
                  <a:schemeClr val="tx2"/>
                </a:solidFill>
              </a:rPr>
              <a:t>“Progetto di riconversione e riqualificazione industriale dell’area di crisi industriale complessa dei sistemi locali del lavoro di </a:t>
            </a:r>
            <a:r>
              <a:rPr lang="it-IT" sz="1600" b="1" i="1" dirty="0">
                <a:solidFill>
                  <a:schemeClr val="tx2"/>
                </a:solidFill>
              </a:rPr>
              <a:t>Melfi, Potenza e Rionero in Vulture</a:t>
            </a:r>
            <a:r>
              <a:rPr lang="it-IT" sz="1600" i="1" dirty="0">
                <a:solidFill>
                  <a:schemeClr val="tx2"/>
                </a:solidFill>
              </a:rPr>
              <a:t>“</a:t>
            </a:r>
            <a:endParaRPr lang="en-US" sz="1899" i="1" dirty="0">
              <a:solidFill>
                <a:schemeClr val="tx2"/>
              </a:solidFill>
            </a:endParaRPr>
          </a:p>
        </p:txBody>
      </p:sp>
      <p:graphicFrame>
        <p:nvGraphicFramePr>
          <p:cNvPr id="4" name="Tabella 6">
            <a:extLst>
              <a:ext uri="{FF2B5EF4-FFF2-40B4-BE49-F238E27FC236}">
                <a16:creationId xmlns:a16="http://schemas.microsoft.com/office/drawing/2014/main" id="{C829524B-B9D3-4213-99F8-8AAEA20A4311}"/>
              </a:ext>
            </a:extLst>
          </p:cNvPr>
          <p:cNvGraphicFramePr>
            <a:graphicFrameLocks noGrp="1"/>
          </p:cNvGraphicFramePr>
          <p:nvPr>
            <p:extLst>
              <p:ext uri="{D42A27DB-BD31-4B8C-83A1-F6EECF244321}">
                <p14:modId xmlns:p14="http://schemas.microsoft.com/office/powerpoint/2010/main" val="1591449088"/>
              </p:ext>
            </p:extLst>
          </p:nvPr>
        </p:nvGraphicFramePr>
        <p:xfrm>
          <a:off x="4861034" y="1849885"/>
          <a:ext cx="6786056" cy="4455458"/>
        </p:xfrm>
        <a:graphic>
          <a:graphicData uri="http://schemas.openxmlformats.org/drawingml/2006/table">
            <a:tbl>
              <a:tblPr firstRow="1" bandRow="1">
                <a:tableStyleId>{2D5ABB26-0587-4C30-8999-92F81FD0307C}</a:tableStyleId>
              </a:tblPr>
              <a:tblGrid>
                <a:gridCol w="3854949">
                  <a:extLst>
                    <a:ext uri="{9D8B030D-6E8A-4147-A177-3AD203B41FA5}">
                      <a16:colId xmlns:a16="http://schemas.microsoft.com/office/drawing/2014/main" val="30240099"/>
                    </a:ext>
                  </a:extLst>
                </a:gridCol>
                <a:gridCol w="2931107">
                  <a:extLst>
                    <a:ext uri="{9D8B030D-6E8A-4147-A177-3AD203B41FA5}">
                      <a16:colId xmlns:a16="http://schemas.microsoft.com/office/drawing/2014/main" val="2406982606"/>
                    </a:ext>
                  </a:extLst>
                </a:gridCol>
              </a:tblGrid>
              <a:tr h="791222">
                <a:tc>
                  <a:txBody>
                    <a:bodyPr/>
                    <a:lstStyle/>
                    <a:p>
                      <a:pPr algn="l">
                        <a:lnSpc>
                          <a:spcPct val="100000"/>
                        </a:lnSpc>
                        <a:spcAft>
                          <a:spcPts val="120"/>
                        </a:spcAft>
                      </a:pPr>
                      <a:r>
                        <a:rPr lang="it-IT" sz="1400" kern="1200" dirty="0">
                          <a:solidFill>
                            <a:schemeClr val="bg2">
                              <a:lumMod val="50000"/>
                              <a:lumOff val="50000"/>
                            </a:schemeClr>
                          </a:solidFill>
                          <a:latin typeface="+mn-lt"/>
                          <a:ea typeface="+mn-ea"/>
                          <a:cs typeface="+mn-cs"/>
                        </a:rPr>
                        <a:t>Contesto territoriale: Melfi, Potenza e Rionero in Vulture</a:t>
                      </a:r>
                      <a:endParaRPr lang="it-IT" sz="1400" dirty="0">
                        <a:solidFill>
                          <a:schemeClr val="bg2">
                            <a:lumMod val="50000"/>
                            <a:lumOff val="50000"/>
                          </a:schemeClr>
                        </a:solidFill>
                        <a:latin typeface="+mn-lt"/>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err="1">
                          <a:ln>
                            <a:noFill/>
                          </a:ln>
                          <a:solidFill>
                            <a:schemeClr val="bg2">
                              <a:lumMod val="50000"/>
                              <a:lumOff val="50000"/>
                            </a:schemeClr>
                          </a:solidFill>
                          <a:effectLst/>
                          <a:uLnTx/>
                          <a:uFillTx/>
                          <a:latin typeface="+mn-lt"/>
                          <a:ea typeface="+mn-ea"/>
                          <a:cs typeface="Georgia"/>
                        </a:rPr>
                        <a:t>Overview</a:t>
                      </a:r>
                      <a:endPar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La aree industriali ricomprese nell’area di crisi complessa</a:t>
                      </a:r>
                    </a:p>
                  </a:txBody>
                  <a:tcPr marL="91392" marR="91392" marT="45696" marB="45696" anchor="ctr">
                    <a:lnR w="9525" cap="flat" cmpd="sng" algn="ctr">
                      <a:solidFill>
                        <a:srgbClr val="C4C4CD"/>
                      </a:solidFill>
                      <a:prstDash val="solid"/>
                      <a:round/>
                      <a:headEnd type="none" w="med" len="med"/>
                      <a:tailEnd type="none" w="med" len="med"/>
                    </a:lnR>
                    <a:lnB w="9525" cap="flat" cmpd="sng" algn="ctr">
                      <a:solidFill>
                        <a:srgbClr val="C4C4CD"/>
                      </a:solidFill>
                      <a:prstDash val="solid"/>
                      <a:round/>
                      <a:headEnd type="none" w="med" len="med"/>
                      <a:tailEnd type="none" w="med" len="med"/>
                    </a:lnB>
                  </a:tcPr>
                </a:tc>
                <a:tc>
                  <a:txBody>
                    <a:bodyPr/>
                    <a:lstStyle/>
                    <a:p>
                      <a:pPr algn="l"/>
                      <a:r>
                        <a:rPr lang="it-IT" sz="1400" dirty="0">
                          <a:solidFill>
                            <a:schemeClr val="bg2">
                              <a:lumMod val="50000"/>
                              <a:lumOff val="50000"/>
                            </a:schemeClr>
                          </a:solidFill>
                          <a:latin typeface="+mn-lt"/>
                        </a:rPr>
                        <a:t>Confindustria Basilicata</a:t>
                      </a:r>
                    </a:p>
                  </a:txBody>
                  <a:tcPr marL="91392" marR="91392" marT="45696" marB="45696" anchor="ctr">
                    <a:lnL w="9525" cap="flat" cmpd="sng" algn="ctr">
                      <a:solidFill>
                        <a:srgbClr val="C4C4CD"/>
                      </a:solidFill>
                      <a:prstDash val="solid"/>
                      <a:round/>
                      <a:headEnd type="none" w="med" len="med"/>
                      <a:tailEnd type="none" w="med" len="med"/>
                    </a:lnL>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793673744"/>
                  </a:ext>
                </a:extLst>
              </a:tr>
              <a:tr h="1180537">
                <a:tc>
                  <a:txBody>
                    <a:bodyPr/>
                    <a:lstStyle/>
                    <a:p>
                      <a:pPr algn="l">
                        <a:lnSpc>
                          <a:spcPct val="100000"/>
                        </a:lnSpc>
                        <a:spcAft>
                          <a:spcPts val="120"/>
                        </a:spcAft>
                      </a:pPr>
                      <a:r>
                        <a:rPr lang="it-IT" sz="1400" dirty="0">
                          <a:solidFill>
                            <a:schemeClr val="tx2"/>
                          </a:solidFill>
                          <a:latin typeface="+mn-lt"/>
                        </a:rPr>
                        <a:t>Legge 181/89 – Un’opportunità per il territorio</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Overview</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beneficiar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investimenti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spese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agevolazione</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presentazione della domand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graduatoria di ammissione alla fase di valutazione istruttori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1"/>
                          </a:solidFill>
                          <a:effectLst/>
                          <a:uLnTx/>
                          <a:uFillTx/>
                          <a:latin typeface="+mn-lt"/>
                          <a:ea typeface="+mn-ea"/>
                          <a:cs typeface="Georgia"/>
                        </a:rPr>
                        <a:t>Focus iter di valutazione</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tc>
                  <a:txBody>
                    <a:bodyPr/>
                    <a:lstStyle/>
                    <a:p>
                      <a:pPr algn="l"/>
                      <a:r>
                        <a:rPr lang="it-IT" sz="1400" b="1" dirty="0">
                          <a:solidFill>
                            <a:schemeClr val="tx2"/>
                          </a:solidFill>
                          <a:latin typeface="+mn-lt"/>
                        </a:rPr>
                        <a:t>Maria Irene Cristini</a:t>
                      </a:r>
                      <a:r>
                        <a:rPr lang="it-IT" sz="1400" dirty="0">
                          <a:solidFill>
                            <a:schemeClr val="bg1"/>
                          </a:solidFill>
                          <a:latin typeface="+mn-lt"/>
                        </a:rPr>
                        <a:t>, Manager EY</a:t>
                      </a:r>
                    </a:p>
                    <a:p>
                      <a:pPr algn="l"/>
                      <a:r>
                        <a:rPr lang="it-IT" sz="1400" b="1" dirty="0">
                          <a:solidFill>
                            <a:schemeClr val="tx2"/>
                          </a:solidFill>
                          <a:latin typeface="+mn-lt"/>
                        </a:rPr>
                        <a:t>Lorenzo Cenciarelli</a:t>
                      </a:r>
                      <a:r>
                        <a:rPr lang="it-IT" sz="1400" dirty="0">
                          <a:solidFill>
                            <a:schemeClr val="bg1"/>
                          </a:solidFill>
                          <a:latin typeface="+mn-lt"/>
                        </a:rPr>
                        <a:t>, Senior EY</a:t>
                      </a: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360720546"/>
                  </a:ext>
                </a:extLst>
              </a:tr>
              <a:tr h="427162">
                <a:tc>
                  <a:txBody>
                    <a:bodyPr/>
                    <a:lstStyle/>
                    <a:p>
                      <a:pPr algn="l">
                        <a:spcAft>
                          <a:spcPts val="120"/>
                        </a:spcAft>
                      </a:pPr>
                      <a:r>
                        <a:rPr lang="it-IT" sz="1400" dirty="0">
                          <a:solidFill>
                            <a:schemeClr val="bg2">
                              <a:lumMod val="50000"/>
                              <a:lumOff val="50000"/>
                            </a:schemeClr>
                          </a:solidFill>
                          <a:latin typeface="+mn-lt"/>
                        </a:rPr>
                        <a:t>Chiusura lavori e sessione di Q&amp;A</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l"/>
                      <a:endParaRPr lang="it-IT" sz="1400" dirty="0">
                        <a:solidFill>
                          <a:schemeClr val="bg2">
                            <a:lumMod val="50000"/>
                            <a:lumOff val="50000"/>
                          </a:schemeClr>
                        </a:solidFill>
                        <a:latin typeface="+mn-lt"/>
                      </a:endParaRP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094908054"/>
                  </a:ext>
                </a:extLst>
              </a:tr>
              <a:tr h="274177">
                <a:tc gridSpan="2">
                  <a:txBody>
                    <a:bodyPr/>
                    <a:lstStyle/>
                    <a:p>
                      <a:endParaRPr lang="it-IT" sz="1400" dirty="0">
                        <a:solidFill>
                          <a:schemeClr val="tx2"/>
                        </a:solidFill>
                        <a:latin typeface="+mn-lt"/>
                      </a:endParaRPr>
                    </a:p>
                  </a:txBody>
                  <a:tcPr marL="91392" marR="91392" marT="45696" marB="45696" anchor="ctr">
                    <a:lnT w="9525" cap="flat" cmpd="sng" algn="ctr">
                      <a:noFill/>
                      <a:prstDash val="solid"/>
                      <a:round/>
                      <a:headEnd type="none" w="med" len="med"/>
                      <a:tailEnd type="none" w="med" len="med"/>
                    </a:lnT>
                  </a:tcPr>
                </a:tc>
                <a:tc hMerge="1">
                  <a:txBody>
                    <a:bodyPr/>
                    <a:lstStyle/>
                    <a:p>
                      <a:endParaRPr lang="it-IT" sz="1200" dirty="0">
                        <a:solidFill>
                          <a:schemeClr val="bg1"/>
                        </a:solidFill>
                      </a:endParaRPr>
                    </a:p>
                  </a:txBody>
                  <a:tcPr anchor="ctr"/>
                </a:tc>
                <a:extLst>
                  <a:ext uri="{0D108BD9-81ED-4DB2-BD59-A6C34878D82A}">
                    <a16:rowId xmlns:a16="http://schemas.microsoft.com/office/drawing/2014/main" val="1011467762"/>
                  </a:ext>
                </a:extLst>
              </a:tr>
            </a:tbl>
          </a:graphicData>
        </a:graphic>
      </p:graphicFrame>
      <p:sp>
        <p:nvSpPr>
          <p:cNvPr id="19" name="Title 1">
            <a:extLst>
              <a:ext uri="{FF2B5EF4-FFF2-40B4-BE49-F238E27FC236}">
                <a16:creationId xmlns:a16="http://schemas.microsoft.com/office/drawing/2014/main" id="{847FE9A9-60E2-A24E-E391-556544674FB7}"/>
              </a:ext>
            </a:extLst>
          </p:cNvPr>
          <p:cNvSpPr txBox="1">
            <a:spLocks/>
          </p:cNvSpPr>
          <p:nvPr/>
        </p:nvSpPr>
        <p:spPr>
          <a:xfrm>
            <a:off x="4861034" y="1499357"/>
            <a:ext cx="889316" cy="25435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defRPr/>
            </a:pPr>
            <a:r>
              <a:rPr lang="en-US" sz="1899" dirty="0">
                <a:solidFill>
                  <a:srgbClr val="FFE600"/>
                </a:solidFill>
              </a:rPr>
              <a:t>Agenda</a:t>
            </a:r>
          </a:p>
        </p:txBody>
      </p:sp>
      <p:sp>
        <p:nvSpPr>
          <p:cNvPr id="5" name="Title 1">
            <a:extLst>
              <a:ext uri="{FF2B5EF4-FFF2-40B4-BE49-F238E27FC236}">
                <a16:creationId xmlns:a16="http://schemas.microsoft.com/office/drawing/2014/main" id="{301452BA-E441-CB3E-701F-FEF1D3EB819B}"/>
              </a:ext>
            </a:extLst>
          </p:cNvPr>
          <p:cNvSpPr txBox="1">
            <a:spLocks/>
          </p:cNvSpPr>
          <p:nvPr/>
        </p:nvSpPr>
        <p:spPr>
          <a:xfrm>
            <a:off x="619935" y="2170612"/>
            <a:ext cx="3705664" cy="125838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it-IT" sz="1800" dirty="0">
                <a:latin typeface="Georgia" panose="02040502050405020303" pitchFamily="18" charset="0"/>
              </a:rPr>
              <a:t>Realizzazione di iniziative imprenditoriali che mirano all’</a:t>
            </a:r>
            <a:r>
              <a:rPr lang="it-IT" sz="1800" dirty="0">
                <a:solidFill>
                  <a:schemeClr val="tx2"/>
                </a:solidFill>
                <a:latin typeface="Georgia" panose="02040502050405020303" pitchFamily="18" charset="0"/>
              </a:rPr>
              <a:t>incremento</a:t>
            </a:r>
            <a:r>
              <a:rPr lang="it-IT" sz="1800" dirty="0">
                <a:latin typeface="Georgia" panose="02040502050405020303" pitchFamily="18" charset="0"/>
              </a:rPr>
              <a:t> o alla </a:t>
            </a:r>
            <a:r>
              <a:rPr lang="it-IT" sz="1800" dirty="0">
                <a:solidFill>
                  <a:schemeClr val="tx2"/>
                </a:solidFill>
                <a:latin typeface="Georgia" panose="02040502050405020303" pitchFamily="18" charset="0"/>
              </a:rPr>
              <a:t>salvaguardia </a:t>
            </a:r>
            <a:r>
              <a:rPr lang="it-IT" sz="1800" dirty="0">
                <a:latin typeface="Georgia" panose="02040502050405020303" pitchFamily="18" charset="0"/>
              </a:rPr>
              <a:t>dei </a:t>
            </a:r>
            <a:r>
              <a:rPr lang="it-IT" sz="1800" dirty="0">
                <a:solidFill>
                  <a:schemeClr val="tx2"/>
                </a:solidFill>
                <a:latin typeface="Georgia" panose="02040502050405020303" pitchFamily="18" charset="0"/>
              </a:rPr>
              <a:t>livelli occupazionali</a:t>
            </a:r>
            <a:r>
              <a:rPr lang="it-IT" sz="1800" dirty="0">
                <a:latin typeface="Georgia" panose="02040502050405020303" pitchFamily="18" charset="0"/>
              </a:rPr>
              <a:t>, al </a:t>
            </a:r>
            <a:r>
              <a:rPr lang="it-IT" sz="1800" dirty="0">
                <a:solidFill>
                  <a:schemeClr val="tx2"/>
                </a:solidFill>
                <a:latin typeface="Georgia" panose="02040502050405020303" pitchFamily="18" charset="0"/>
              </a:rPr>
              <a:t>recupero </a:t>
            </a:r>
            <a:r>
              <a:rPr lang="it-IT" sz="1800" dirty="0">
                <a:latin typeface="Georgia" panose="02040502050405020303" pitchFamily="18" charset="0"/>
              </a:rPr>
              <a:t>della</a:t>
            </a:r>
            <a:r>
              <a:rPr lang="it-IT" sz="1800" dirty="0">
                <a:solidFill>
                  <a:schemeClr val="tx2"/>
                </a:solidFill>
                <a:latin typeface="Georgia" panose="02040502050405020303" pitchFamily="18" charset="0"/>
              </a:rPr>
              <a:t> capacità produttiva</a:t>
            </a:r>
            <a:r>
              <a:rPr lang="it-IT" sz="1800" dirty="0">
                <a:latin typeface="Georgia" panose="02040502050405020303" pitchFamily="18" charset="0"/>
              </a:rPr>
              <a:t> dei territori e all’</a:t>
            </a:r>
            <a:r>
              <a:rPr lang="it-IT" sz="1800" dirty="0">
                <a:solidFill>
                  <a:schemeClr val="tx2"/>
                </a:solidFill>
                <a:latin typeface="Georgia" panose="02040502050405020303" pitchFamily="18" charset="0"/>
              </a:rPr>
              <a:t>attrazione</a:t>
            </a:r>
            <a:r>
              <a:rPr lang="it-IT" sz="1800" dirty="0">
                <a:latin typeface="Georgia" panose="02040502050405020303" pitchFamily="18" charset="0"/>
              </a:rPr>
              <a:t> di </a:t>
            </a:r>
            <a:r>
              <a:rPr lang="it-IT" sz="1800" dirty="0">
                <a:solidFill>
                  <a:schemeClr val="tx2"/>
                </a:solidFill>
                <a:latin typeface="Georgia" panose="02040502050405020303" pitchFamily="18" charset="0"/>
              </a:rPr>
              <a:t>nuovi investimenti: </a:t>
            </a:r>
            <a:r>
              <a:rPr lang="it-IT" sz="1800" dirty="0">
                <a:solidFill>
                  <a:prstClr val="white"/>
                </a:solidFill>
                <a:latin typeface="Georgia" panose="02040502050405020303" pitchFamily="18" charset="0"/>
              </a:rPr>
              <a:t>le opportunità per la </a:t>
            </a:r>
            <a:r>
              <a:rPr lang="it-IT" sz="1800" dirty="0">
                <a:solidFill>
                  <a:schemeClr val="tx2"/>
                </a:solidFill>
                <a:latin typeface="Georgia" panose="02040502050405020303" pitchFamily="18" charset="0"/>
              </a:rPr>
              <a:t>riconversione e riqualificazione </a:t>
            </a:r>
            <a:r>
              <a:rPr lang="it-IT" sz="1800" dirty="0">
                <a:latin typeface="Georgia" panose="02040502050405020303" pitchFamily="18" charset="0"/>
              </a:rPr>
              <a:t>dell'area industriale di </a:t>
            </a:r>
            <a:r>
              <a:rPr lang="it-IT" sz="1800" dirty="0">
                <a:solidFill>
                  <a:schemeClr val="tx2"/>
                </a:solidFill>
                <a:latin typeface="Georgia" panose="02040502050405020303" pitchFamily="18" charset="0"/>
              </a:rPr>
              <a:t>Melfi, Potenza e Rionero in Vulture</a:t>
            </a:r>
            <a:r>
              <a:rPr lang="it-IT" sz="1599" dirty="0">
                <a:solidFill>
                  <a:schemeClr val="tx2"/>
                </a:solidFill>
                <a:latin typeface="Georgia" panose="02040502050405020303" pitchFamily="18" charset="0"/>
              </a:rPr>
              <a:t>.</a:t>
            </a:r>
          </a:p>
          <a:p>
            <a:pPr algn="just" defTabSz="913943">
              <a:defRPr/>
            </a:pPr>
            <a:endParaRPr lang="it-IT" sz="1599" dirty="0">
              <a:solidFill>
                <a:schemeClr val="tx2"/>
              </a:solidFill>
              <a:latin typeface="Georgia" panose="02040502050405020303" pitchFamily="18" charset="0"/>
            </a:endParaRPr>
          </a:p>
          <a:p>
            <a:pPr algn="just" defTabSz="913943">
              <a:defRPr/>
            </a:pPr>
            <a:endParaRPr lang="it-IT" sz="1599" dirty="0">
              <a:solidFill>
                <a:schemeClr val="tx2"/>
              </a:solidFill>
              <a:latin typeface="Georgia" panose="02040502050405020303" pitchFamily="18" charset="0"/>
            </a:endParaRPr>
          </a:p>
          <a:p>
            <a:pPr algn="just" defTabSz="913943">
              <a:defRPr/>
            </a:pPr>
            <a:endParaRPr lang="en-US" sz="2399" dirty="0">
              <a:solidFill>
                <a:srgbClr val="FFE600"/>
              </a:solidFill>
              <a:latin typeface="Georgia" panose="02040502050405020303" pitchFamily="18" charset="0"/>
            </a:endParaRPr>
          </a:p>
        </p:txBody>
      </p:sp>
    </p:spTree>
    <p:extLst>
      <p:ext uri="{BB962C8B-B14F-4D97-AF65-F5344CB8AC3E}">
        <p14:creationId xmlns:p14="http://schemas.microsoft.com/office/powerpoint/2010/main" val="30551002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err="1"/>
              <a:t>Overview</a:t>
            </a:r>
            <a:endParaRPr lang="it-IT" dirty="0"/>
          </a:p>
        </p:txBody>
      </p:sp>
      <p:sp>
        <p:nvSpPr>
          <p:cNvPr id="9" name="Rectangle 16">
            <a:extLst>
              <a:ext uri="{FF2B5EF4-FFF2-40B4-BE49-F238E27FC236}">
                <a16:creationId xmlns:a16="http://schemas.microsoft.com/office/drawing/2014/main" id="{D9F2DD5C-4176-AF90-6E6F-696927D825A2}"/>
              </a:ext>
            </a:extLst>
          </p:cNvPr>
          <p:cNvSpPr/>
          <p:nvPr/>
        </p:nvSpPr>
        <p:spPr>
          <a:xfrm>
            <a:off x="509048" y="2421548"/>
            <a:ext cx="3449618" cy="2771480"/>
          </a:xfrm>
          <a:prstGeom prst="rect">
            <a:avLst/>
          </a:prstGeom>
          <a:solidFill>
            <a:schemeClr val="bg1">
              <a:alpha val="2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8" name="Rectangle 25">
            <a:extLst>
              <a:ext uri="{FF2B5EF4-FFF2-40B4-BE49-F238E27FC236}">
                <a16:creationId xmlns:a16="http://schemas.microsoft.com/office/drawing/2014/main" id="{0CFC7E56-D369-39B9-5923-72066F7D4AA2}"/>
              </a:ext>
            </a:extLst>
          </p:cNvPr>
          <p:cNvSpPr>
            <a:spLocks/>
          </p:cNvSpPr>
          <p:nvPr/>
        </p:nvSpPr>
        <p:spPr>
          <a:xfrm>
            <a:off x="810151" y="3782614"/>
            <a:ext cx="2883267" cy="523285"/>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E600"/>
                </a:solidFill>
                <a:effectLst/>
                <a:uLnTx/>
                <a:uFillTx/>
                <a:latin typeface="EYInterstate"/>
                <a:ea typeface="+mn-ea"/>
                <a:cs typeface="+mn-cs"/>
              </a:rPr>
              <a:t>RILANCIARE L’ATTIVITÀ DI INDUSTRIALE</a:t>
            </a:r>
            <a:endParaRPr kumimoji="0" lang="en-U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Rectangle 16">
            <a:extLst>
              <a:ext uri="{FF2B5EF4-FFF2-40B4-BE49-F238E27FC236}">
                <a16:creationId xmlns:a16="http://schemas.microsoft.com/office/drawing/2014/main" id="{670FA821-B95B-ECFC-30D0-8001434FA9AE}"/>
              </a:ext>
            </a:extLst>
          </p:cNvPr>
          <p:cNvSpPr/>
          <p:nvPr/>
        </p:nvSpPr>
        <p:spPr>
          <a:xfrm>
            <a:off x="4185986" y="2421548"/>
            <a:ext cx="3449618" cy="2771480"/>
          </a:xfrm>
          <a:prstGeom prst="rect">
            <a:avLst/>
          </a:prstGeom>
          <a:solidFill>
            <a:schemeClr val="bg1">
              <a:alpha val="2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0" name="Rectangle 25">
            <a:extLst>
              <a:ext uri="{FF2B5EF4-FFF2-40B4-BE49-F238E27FC236}">
                <a16:creationId xmlns:a16="http://schemas.microsoft.com/office/drawing/2014/main" id="{43196D6D-527B-40FE-C400-4A9C690959DA}"/>
              </a:ext>
            </a:extLst>
          </p:cNvPr>
          <p:cNvSpPr>
            <a:spLocks/>
          </p:cNvSpPr>
          <p:nvPr/>
        </p:nvSpPr>
        <p:spPr>
          <a:xfrm>
            <a:off x="4487089" y="3782614"/>
            <a:ext cx="2883267" cy="1064972"/>
          </a:xfrm>
          <a:prstGeom prst="rect">
            <a:avLst/>
          </a:prstGeom>
          <a:noFill/>
        </p:spPr>
        <p:txBody>
          <a:bodyPr wrap="square" lIns="0" tIns="0" rIns="0" bIns="0" anchor="t" anchorCtr="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E600"/>
                </a:solidFill>
                <a:effectLst/>
                <a:uLnTx/>
                <a:uFillTx/>
                <a:latin typeface="EYInterstate"/>
                <a:ea typeface="+mn-ea"/>
                <a:cs typeface="+mn-cs"/>
              </a:rPr>
              <a:t>PRESERVARE L'OCCUPAZIONE E LA CREAZIONE DI NUOVE FIGURE PROFESSIONALI </a:t>
            </a:r>
            <a:endParaRPr kumimoji="0" lang="en-US"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8" name="Rectangle 16">
            <a:extLst>
              <a:ext uri="{FF2B5EF4-FFF2-40B4-BE49-F238E27FC236}">
                <a16:creationId xmlns:a16="http://schemas.microsoft.com/office/drawing/2014/main" id="{C6FCB68A-4428-38F2-7E34-50F9D6FC5A3A}"/>
              </a:ext>
            </a:extLst>
          </p:cNvPr>
          <p:cNvSpPr/>
          <p:nvPr/>
        </p:nvSpPr>
        <p:spPr>
          <a:xfrm>
            <a:off x="7862923" y="2421548"/>
            <a:ext cx="3449618" cy="2771480"/>
          </a:xfrm>
          <a:prstGeom prst="rect">
            <a:avLst/>
          </a:prstGeom>
          <a:solidFill>
            <a:schemeClr val="bg1">
              <a:alpha val="2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1" name="Rectangle 25">
            <a:extLst>
              <a:ext uri="{FF2B5EF4-FFF2-40B4-BE49-F238E27FC236}">
                <a16:creationId xmlns:a16="http://schemas.microsoft.com/office/drawing/2014/main" id="{AF7106C0-C80F-6AE5-3878-350B97B2F5A7}"/>
              </a:ext>
            </a:extLst>
          </p:cNvPr>
          <p:cNvSpPr>
            <a:spLocks/>
          </p:cNvSpPr>
          <p:nvPr/>
        </p:nvSpPr>
        <p:spPr>
          <a:xfrm>
            <a:off x="8164026" y="3782614"/>
            <a:ext cx="2883267" cy="1064972"/>
          </a:xfrm>
          <a:prstGeom prst="rect">
            <a:avLst/>
          </a:prstGeom>
          <a:noFill/>
        </p:spPr>
        <p:txBody>
          <a:bodyPr wrap="square" lIns="0" tIns="0" rIns="0" bIns="0" anchor="t" anchorCtr="0">
            <a:spAutoFit/>
          </a:bodyPr>
          <a:lstStyle/>
          <a:p>
            <a:pPr algn="ctr">
              <a:lnSpc>
                <a:spcPct val="110000"/>
              </a:lnSpc>
              <a:defRPr/>
            </a:pPr>
            <a:r>
              <a:rPr lang="it-IT" sz="1600" b="1" dirty="0">
                <a:solidFill>
                  <a:schemeClr val="tx2"/>
                </a:solidFill>
                <a:latin typeface="+mj-lt"/>
              </a:rPr>
              <a:t>SOSTEGNO DEI PROGRAMMI DI INVESTIMENTO E SVILUPPO IMPRENDITORIALE</a:t>
            </a:r>
            <a:endParaRPr kumimoji="0" lang="en-US" sz="1200" b="0" i="0" u="none" strike="noStrike" kern="1200" cap="none" spc="0" normalizeH="0" baseline="0" noProof="0" dirty="0">
              <a:ln>
                <a:noFill/>
              </a:ln>
              <a:solidFill>
                <a:prstClr val="white"/>
              </a:solidFill>
              <a:effectLst/>
              <a:uLnTx/>
              <a:uFillTx/>
              <a:latin typeface="EYInterstate Light"/>
              <a:ea typeface="+mn-ea"/>
              <a:cs typeface="+mn-cs"/>
            </a:endParaRPr>
          </a:p>
        </p:txBody>
      </p:sp>
      <p:pic>
        <p:nvPicPr>
          <p:cNvPr id="27" name="Graphic 26">
            <a:extLst>
              <a:ext uri="{FF2B5EF4-FFF2-40B4-BE49-F238E27FC236}">
                <a16:creationId xmlns:a16="http://schemas.microsoft.com/office/drawing/2014/main" id="{0130FBE6-AB25-E10F-DB83-C7A841DEC1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82742" y="2563897"/>
            <a:ext cx="923141" cy="1022977"/>
          </a:xfrm>
          <a:prstGeom prst="rect">
            <a:avLst/>
          </a:prstGeom>
        </p:spPr>
      </p:pic>
      <p:sp>
        <p:nvSpPr>
          <p:cNvPr id="30" name="object 8">
            <a:extLst>
              <a:ext uri="{FF2B5EF4-FFF2-40B4-BE49-F238E27FC236}">
                <a16:creationId xmlns:a16="http://schemas.microsoft.com/office/drawing/2014/main" id="{2E703DF4-86F4-482C-189B-9DE2560B5A68}"/>
              </a:ext>
            </a:extLst>
          </p:cNvPr>
          <p:cNvSpPr txBox="1"/>
          <p:nvPr/>
        </p:nvSpPr>
        <p:spPr>
          <a:xfrm>
            <a:off x="1507743" y="1467103"/>
            <a:ext cx="9073140" cy="664295"/>
          </a:xfrm>
          <a:prstGeom prst="rect">
            <a:avLst/>
          </a:prstGeom>
        </p:spPr>
        <p:txBody>
          <a:bodyPr vert="horz" wrap="square" lIns="0" tIns="12329" rIns="0" bIns="0" rtlCol="0">
            <a:spAutoFit/>
          </a:bodyPr>
          <a:lstStyle/>
          <a:p>
            <a:pPr marL="12328" algn="ctr" defTabSz="913943">
              <a:lnSpc>
                <a:spcPct val="110000"/>
              </a:lnSpc>
            </a:pPr>
            <a:r>
              <a:rPr lang="it-IT" sz="2000" noProof="1">
                <a:solidFill>
                  <a:prstClr val="white"/>
                </a:solidFill>
                <a:latin typeface="Georgia" panose="02040502050405020303" pitchFamily="18" charset="0"/>
                <a:cs typeface="Georgia"/>
              </a:rPr>
              <a:t>Misura finalizzata alla riconversione e riqualificazione dell'area industriale di </a:t>
            </a:r>
            <a:r>
              <a:rPr lang="it-IT" sz="2000" noProof="1">
                <a:solidFill>
                  <a:schemeClr val="tx2"/>
                </a:solidFill>
                <a:latin typeface="Georgia" panose="02040502050405020303" pitchFamily="18" charset="0"/>
                <a:cs typeface="Georgia"/>
              </a:rPr>
              <a:t>Melfi, Potenza e Rionero in Vulture </a:t>
            </a:r>
            <a:endParaRPr lang="pl-PL" sz="2000" noProof="1">
              <a:solidFill>
                <a:schemeClr val="tx2"/>
              </a:solidFill>
              <a:latin typeface="Georgia" panose="02040502050405020303" pitchFamily="18" charset="0"/>
              <a:cs typeface="Georgia"/>
            </a:endParaRPr>
          </a:p>
        </p:txBody>
      </p:sp>
      <p:grpSp>
        <p:nvGrpSpPr>
          <p:cNvPr id="78" name="Group 77">
            <a:extLst>
              <a:ext uri="{FF2B5EF4-FFF2-40B4-BE49-F238E27FC236}">
                <a16:creationId xmlns:a16="http://schemas.microsoft.com/office/drawing/2014/main" id="{11DD70FD-83C7-87BD-43BB-CBB827349EB7}"/>
              </a:ext>
            </a:extLst>
          </p:cNvPr>
          <p:cNvGrpSpPr/>
          <p:nvPr/>
        </p:nvGrpSpPr>
        <p:grpSpPr>
          <a:xfrm>
            <a:off x="2885875" y="5376206"/>
            <a:ext cx="6293040" cy="1067844"/>
            <a:chOff x="3300655" y="5629841"/>
            <a:chExt cx="5538956" cy="805797"/>
          </a:xfrm>
        </p:grpSpPr>
        <p:grpSp>
          <p:nvGrpSpPr>
            <p:cNvPr id="32" name="Group 217">
              <a:extLst>
                <a:ext uri="{FF2B5EF4-FFF2-40B4-BE49-F238E27FC236}">
                  <a16:creationId xmlns:a16="http://schemas.microsoft.com/office/drawing/2014/main" id="{B95A96D7-421C-41EE-65C7-29395D1A455C}"/>
                </a:ext>
              </a:extLst>
            </p:cNvPr>
            <p:cNvGrpSpPr/>
            <p:nvPr/>
          </p:nvGrpSpPr>
          <p:grpSpPr>
            <a:xfrm>
              <a:off x="3300655" y="5681381"/>
              <a:ext cx="594517" cy="562254"/>
              <a:chOff x="4941888" y="1436688"/>
              <a:chExt cx="1152525" cy="1073150"/>
            </a:xfrm>
            <a:solidFill>
              <a:schemeClr val="bg1"/>
            </a:solidFill>
          </p:grpSpPr>
          <p:sp>
            <p:nvSpPr>
              <p:cNvPr id="33" name="Freeform 74">
                <a:extLst>
                  <a:ext uri="{FF2B5EF4-FFF2-40B4-BE49-F238E27FC236}">
                    <a16:creationId xmlns:a16="http://schemas.microsoft.com/office/drawing/2014/main" id="{DFA9D969-4983-E966-2B5D-8D271D11B44D}"/>
                  </a:ext>
                </a:extLst>
              </p:cNvPr>
              <p:cNvSpPr>
                <a:spLocks noEditPoints="1"/>
              </p:cNvSpPr>
              <p:nvPr/>
            </p:nvSpPr>
            <p:spPr bwMode="auto">
              <a:xfrm>
                <a:off x="4941888" y="1662113"/>
                <a:ext cx="1152525" cy="847725"/>
              </a:xfrm>
              <a:custGeom>
                <a:avLst/>
                <a:gdLst>
                  <a:gd name="T0" fmla="*/ 726 w 726"/>
                  <a:gd name="T1" fmla="*/ 534 h 534"/>
                  <a:gd name="T2" fmla="*/ 0 w 726"/>
                  <a:gd name="T3" fmla="*/ 534 h 534"/>
                  <a:gd name="T4" fmla="*/ 0 w 726"/>
                  <a:gd name="T5" fmla="*/ 0 h 534"/>
                  <a:gd name="T6" fmla="*/ 726 w 726"/>
                  <a:gd name="T7" fmla="*/ 0 h 534"/>
                  <a:gd name="T8" fmla="*/ 726 w 726"/>
                  <a:gd name="T9" fmla="*/ 534 h 534"/>
                  <a:gd name="T10" fmla="*/ 18 w 726"/>
                  <a:gd name="T11" fmla="*/ 516 h 534"/>
                  <a:gd name="T12" fmla="*/ 708 w 726"/>
                  <a:gd name="T13" fmla="*/ 516 h 534"/>
                  <a:gd name="T14" fmla="*/ 708 w 726"/>
                  <a:gd name="T15" fmla="*/ 18 h 534"/>
                  <a:gd name="T16" fmla="*/ 18 w 726"/>
                  <a:gd name="T17" fmla="*/ 18 h 534"/>
                  <a:gd name="T18" fmla="*/ 18 w 726"/>
                  <a:gd name="T19" fmla="*/ 51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6" h="534">
                    <a:moveTo>
                      <a:pt x="726" y="534"/>
                    </a:moveTo>
                    <a:lnTo>
                      <a:pt x="0" y="534"/>
                    </a:lnTo>
                    <a:lnTo>
                      <a:pt x="0" y="0"/>
                    </a:lnTo>
                    <a:lnTo>
                      <a:pt x="726" y="0"/>
                    </a:lnTo>
                    <a:lnTo>
                      <a:pt x="726" y="534"/>
                    </a:lnTo>
                    <a:close/>
                    <a:moveTo>
                      <a:pt x="18" y="516"/>
                    </a:moveTo>
                    <a:lnTo>
                      <a:pt x="708" y="516"/>
                    </a:lnTo>
                    <a:lnTo>
                      <a:pt x="708" y="18"/>
                    </a:lnTo>
                    <a:lnTo>
                      <a:pt x="18" y="18"/>
                    </a:lnTo>
                    <a:lnTo>
                      <a:pt x="18" y="516"/>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34" name="Freeform 75">
                <a:extLst>
                  <a:ext uri="{FF2B5EF4-FFF2-40B4-BE49-F238E27FC236}">
                    <a16:creationId xmlns:a16="http://schemas.microsoft.com/office/drawing/2014/main" id="{9749AD2A-AD85-5F0D-2064-BF6577C9155C}"/>
                  </a:ext>
                </a:extLst>
              </p:cNvPr>
              <p:cNvSpPr>
                <a:spLocks noEditPoints="1"/>
              </p:cNvSpPr>
              <p:nvPr/>
            </p:nvSpPr>
            <p:spPr bwMode="auto">
              <a:xfrm>
                <a:off x="590073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35" name="Freeform 76">
                <a:extLst>
                  <a:ext uri="{FF2B5EF4-FFF2-40B4-BE49-F238E27FC236}">
                    <a16:creationId xmlns:a16="http://schemas.microsoft.com/office/drawing/2014/main" id="{6EF211EA-0936-54F5-A9CF-016DF8A0FEB3}"/>
                  </a:ext>
                </a:extLst>
              </p:cNvPr>
              <p:cNvSpPr>
                <a:spLocks noEditPoints="1"/>
              </p:cNvSpPr>
              <p:nvPr/>
            </p:nvSpPr>
            <p:spPr bwMode="auto">
              <a:xfrm>
                <a:off x="575468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36" name="Freeform 77">
                <a:extLst>
                  <a:ext uri="{FF2B5EF4-FFF2-40B4-BE49-F238E27FC236}">
                    <a16:creationId xmlns:a16="http://schemas.microsoft.com/office/drawing/2014/main" id="{8228EF6E-A440-56A8-2BB2-8DBA8A5FBEDA}"/>
                  </a:ext>
                </a:extLst>
              </p:cNvPr>
              <p:cNvSpPr>
                <a:spLocks noEditPoints="1"/>
              </p:cNvSpPr>
              <p:nvPr/>
            </p:nvSpPr>
            <p:spPr bwMode="auto">
              <a:xfrm>
                <a:off x="560863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37" name="Freeform 78">
                <a:extLst>
                  <a:ext uri="{FF2B5EF4-FFF2-40B4-BE49-F238E27FC236}">
                    <a16:creationId xmlns:a16="http://schemas.microsoft.com/office/drawing/2014/main" id="{D658AD80-F76E-B0CF-ED3D-E927A1860834}"/>
                  </a:ext>
                </a:extLst>
              </p:cNvPr>
              <p:cNvSpPr>
                <a:spLocks noEditPoints="1"/>
              </p:cNvSpPr>
              <p:nvPr/>
            </p:nvSpPr>
            <p:spPr bwMode="auto">
              <a:xfrm>
                <a:off x="546258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38" name="Freeform 79">
                <a:extLst>
                  <a:ext uri="{FF2B5EF4-FFF2-40B4-BE49-F238E27FC236}">
                    <a16:creationId xmlns:a16="http://schemas.microsoft.com/office/drawing/2014/main" id="{BBA54168-FC13-01FF-FD1B-5F31E3E41CBA}"/>
                  </a:ext>
                </a:extLst>
              </p:cNvPr>
              <p:cNvSpPr>
                <a:spLocks noEditPoints="1"/>
              </p:cNvSpPr>
              <p:nvPr/>
            </p:nvSpPr>
            <p:spPr bwMode="auto">
              <a:xfrm>
                <a:off x="531653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39" name="Freeform 80">
                <a:extLst>
                  <a:ext uri="{FF2B5EF4-FFF2-40B4-BE49-F238E27FC236}">
                    <a16:creationId xmlns:a16="http://schemas.microsoft.com/office/drawing/2014/main" id="{F4513FFC-0AEF-BA24-A683-66958ED2CBB7}"/>
                  </a:ext>
                </a:extLst>
              </p:cNvPr>
              <p:cNvSpPr>
                <a:spLocks noEditPoints="1"/>
              </p:cNvSpPr>
              <p:nvPr/>
            </p:nvSpPr>
            <p:spPr bwMode="auto">
              <a:xfrm>
                <a:off x="517048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0" name="Freeform 81">
                <a:extLst>
                  <a:ext uri="{FF2B5EF4-FFF2-40B4-BE49-F238E27FC236}">
                    <a16:creationId xmlns:a16="http://schemas.microsoft.com/office/drawing/2014/main" id="{63C9CE16-D563-5BF9-B916-F47B21A2805C}"/>
                  </a:ext>
                </a:extLst>
              </p:cNvPr>
              <p:cNvSpPr>
                <a:spLocks noEditPoints="1"/>
              </p:cNvSpPr>
              <p:nvPr/>
            </p:nvSpPr>
            <p:spPr bwMode="auto">
              <a:xfrm>
                <a:off x="5024438" y="1884363"/>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1" name="Freeform 82">
                <a:extLst>
                  <a:ext uri="{FF2B5EF4-FFF2-40B4-BE49-F238E27FC236}">
                    <a16:creationId xmlns:a16="http://schemas.microsoft.com/office/drawing/2014/main" id="{53DD8AC6-F566-D05C-6660-C62C79977CD1}"/>
                  </a:ext>
                </a:extLst>
              </p:cNvPr>
              <p:cNvSpPr>
                <a:spLocks noEditPoints="1"/>
              </p:cNvSpPr>
              <p:nvPr/>
            </p:nvSpPr>
            <p:spPr bwMode="auto">
              <a:xfrm>
                <a:off x="5900738" y="202406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2" name="Freeform 83">
                <a:extLst>
                  <a:ext uri="{FF2B5EF4-FFF2-40B4-BE49-F238E27FC236}">
                    <a16:creationId xmlns:a16="http://schemas.microsoft.com/office/drawing/2014/main" id="{19B7177E-E725-AEAE-C5BF-7E0D5C01C84A}"/>
                  </a:ext>
                </a:extLst>
              </p:cNvPr>
              <p:cNvSpPr>
                <a:spLocks noEditPoints="1"/>
              </p:cNvSpPr>
              <p:nvPr/>
            </p:nvSpPr>
            <p:spPr bwMode="auto">
              <a:xfrm>
                <a:off x="5754688" y="202406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3" name="Freeform 84">
                <a:extLst>
                  <a:ext uri="{FF2B5EF4-FFF2-40B4-BE49-F238E27FC236}">
                    <a16:creationId xmlns:a16="http://schemas.microsoft.com/office/drawing/2014/main" id="{1A316055-150F-0476-59DE-E7D634E7122F}"/>
                  </a:ext>
                </a:extLst>
              </p:cNvPr>
              <p:cNvSpPr>
                <a:spLocks noEditPoints="1"/>
              </p:cNvSpPr>
              <p:nvPr/>
            </p:nvSpPr>
            <p:spPr bwMode="auto">
              <a:xfrm>
                <a:off x="5608638" y="20272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4" name="Freeform 85">
                <a:extLst>
                  <a:ext uri="{FF2B5EF4-FFF2-40B4-BE49-F238E27FC236}">
                    <a16:creationId xmlns:a16="http://schemas.microsoft.com/office/drawing/2014/main" id="{FAC49594-027B-BA35-CCB6-E5A5BB2CD0BB}"/>
                  </a:ext>
                </a:extLst>
              </p:cNvPr>
              <p:cNvSpPr>
                <a:spLocks noEditPoints="1"/>
              </p:cNvSpPr>
              <p:nvPr/>
            </p:nvSpPr>
            <p:spPr bwMode="auto">
              <a:xfrm>
                <a:off x="5462588" y="20272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5" name="Freeform 86">
                <a:extLst>
                  <a:ext uri="{FF2B5EF4-FFF2-40B4-BE49-F238E27FC236}">
                    <a16:creationId xmlns:a16="http://schemas.microsoft.com/office/drawing/2014/main" id="{DC2C1C04-1C8F-0F3F-F4E6-2B6BDF7B126D}"/>
                  </a:ext>
                </a:extLst>
              </p:cNvPr>
              <p:cNvSpPr>
                <a:spLocks noEditPoints="1"/>
              </p:cNvSpPr>
              <p:nvPr/>
            </p:nvSpPr>
            <p:spPr bwMode="auto">
              <a:xfrm>
                <a:off x="5316538" y="20272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6" name="Freeform 87">
                <a:extLst>
                  <a:ext uri="{FF2B5EF4-FFF2-40B4-BE49-F238E27FC236}">
                    <a16:creationId xmlns:a16="http://schemas.microsoft.com/office/drawing/2014/main" id="{7EE67C2F-1361-E026-0B0A-EA7E6FA79A0C}"/>
                  </a:ext>
                </a:extLst>
              </p:cNvPr>
              <p:cNvSpPr>
                <a:spLocks noEditPoints="1"/>
              </p:cNvSpPr>
              <p:nvPr/>
            </p:nvSpPr>
            <p:spPr bwMode="auto">
              <a:xfrm>
                <a:off x="5170488" y="20272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7" name="Freeform 88">
                <a:extLst>
                  <a:ext uri="{FF2B5EF4-FFF2-40B4-BE49-F238E27FC236}">
                    <a16:creationId xmlns:a16="http://schemas.microsoft.com/office/drawing/2014/main" id="{9CC0935E-CE86-1FDF-980F-14A8F03F5537}"/>
                  </a:ext>
                </a:extLst>
              </p:cNvPr>
              <p:cNvSpPr>
                <a:spLocks noEditPoints="1"/>
              </p:cNvSpPr>
              <p:nvPr/>
            </p:nvSpPr>
            <p:spPr bwMode="auto">
              <a:xfrm>
                <a:off x="5024438" y="20272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8" name="Freeform 89">
                <a:extLst>
                  <a:ext uri="{FF2B5EF4-FFF2-40B4-BE49-F238E27FC236}">
                    <a16:creationId xmlns:a16="http://schemas.microsoft.com/office/drawing/2014/main" id="{A5BAC99B-3067-D29B-F4FD-6B1CF8192317}"/>
                  </a:ext>
                </a:extLst>
              </p:cNvPr>
              <p:cNvSpPr>
                <a:spLocks noEditPoints="1"/>
              </p:cNvSpPr>
              <p:nvPr/>
            </p:nvSpPr>
            <p:spPr bwMode="auto">
              <a:xfrm>
                <a:off x="5900738" y="21669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49" name="Freeform 90">
                <a:extLst>
                  <a:ext uri="{FF2B5EF4-FFF2-40B4-BE49-F238E27FC236}">
                    <a16:creationId xmlns:a16="http://schemas.microsoft.com/office/drawing/2014/main" id="{A20BE2D7-4E90-94F3-0F4B-A0429654C344}"/>
                  </a:ext>
                </a:extLst>
              </p:cNvPr>
              <p:cNvSpPr>
                <a:spLocks noEditPoints="1"/>
              </p:cNvSpPr>
              <p:nvPr/>
            </p:nvSpPr>
            <p:spPr bwMode="auto">
              <a:xfrm>
                <a:off x="5754688" y="216693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0" name="Freeform 91">
                <a:extLst>
                  <a:ext uri="{FF2B5EF4-FFF2-40B4-BE49-F238E27FC236}">
                    <a16:creationId xmlns:a16="http://schemas.microsoft.com/office/drawing/2014/main" id="{418BE0D5-D982-4BFA-0FA8-F6070DA784BA}"/>
                  </a:ext>
                </a:extLst>
              </p:cNvPr>
              <p:cNvSpPr>
                <a:spLocks noEditPoints="1"/>
              </p:cNvSpPr>
              <p:nvPr/>
            </p:nvSpPr>
            <p:spPr bwMode="auto">
              <a:xfrm>
                <a:off x="5608638" y="217011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1" name="Freeform 92">
                <a:extLst>
                  <a:ext uri="{FF2B5EF4-FFF2-40B4-BE49-F238E27FC236}">
                    <a16:creationId xmlns:a16="http://schemas.microsoft.com/office/drawing/2014/main" id="{2B16DFD5-595B-DB46-51C1-DAEFFB0497F3}"/>
                  </a:ext>
                </a:extLst>
              </p:cNvPr>
              <p:cNvSpPr>
                <a:spLocks noEditPoints="1"/>
              </p:cNvSpPr>
              <p:nvPr/>
            </p:nvSpPr>
            <p:spPr bwMode="auto">
              <a:xfrm>
                <a:off x="5462588" y="217011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2" name="Freeform 93">
                <a:extLst>
                  <a:ext uri="{FF2B5EF4-FFF2-40B4-BE49-F238E27FC236}">
                    <a16:creationId xmlns:a16="http://schemas.microsoft.com/office/drawing/2014/main" id="{D7C9D51E-948D-20FE-0B84-DAF5EC97F898}"/>
                  </a:ext>
                </a:extLst>
              </p:cNvPr>
              <p:cNvSpPr>
                <a:spLocks noEditPoints="1"/>
              </p:cNvSpPr>
              <p:nvPr/>
            </p:nvSpPr>
            <p:spPr bwMode="auto">
              <a:xfrm>
                <a:off x="5316538" y="217011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3" name="Freeform 94">
                <a:extLst>
                  <a:ext uri="{FF2B5EF4-FFF2-40B4-BE49-F238E27FC236}">
                    <a16:creationId xmlns:a16="http://schemas.microsoft.com/office/drawing/2014/main" id="{67D16EE1-7F17-C981-A5CA-7E1109AF7B4C}"/>
                  </a:ext>
                </a:extLst>
              </p:cNvPr>
              <p:cNvSpPr>
                <a:spLocks noEditPoints="1"/>
              </p:cNvSpPr>
              <p:nvPr/>
            </p:nvSpPr>
            <p:spPr bwMode="auto">
              <a:xfrm>
                <a:off x="5170488" y="217011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4" name="Freeform 95">
                <a:extLst>
                  <a:ext uri="{FF2B5EF4-FFF2-40B4-BE49-F238E27FC236}">
                    <a16:creationId xmlns:a16="http://schemas.microsoft.com/office/drawing/2014/main" id="{721ADD95-6C90-281C-6A7A-F4DFCAD4F3B6}"/>
                  </a:ext>
                </a:extLst>
              </p:cNvPr>
              <p:cNvSpPr>
                <a:spLocks noEditPoints="1"/>
              </p:cNvSpPr>
              <p:nvPr/>
            </p:nvSpPr>
            <p:spPr bwMode="auto">
              <a:xfrm>
                <a:off x="5024438" y="2170113"/>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5" name="Freeform 96">
                <a:extLst>
                  <a:ext uri="{FF2B5EF4-FFF2-40B4-BE49-F238E27FC236}">
                    <a16:creationId xmlns:a16="http://schemas.microsoft.com/office/drawing/2014/main" id="{14FA740E-9BA3-1E97-8928-EC83143C788B}"/>
                  </a:ext>
                </a:extLst>
              </p:cNvPr>
              <p:cNvSpPr>
                <a:spLocks noEditPoints="1"/>
              </p:cNvSpPr>
              <p:nvPr/>
            </p:nvSpPr>
            <p:spPr bwMode="auto">
              <a:xfrm>
                <a:off x="5608638" y="2312988"/>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6" name="Freeform 97">
                <a:extLst>
                  <a:ext uri="{FF2B5EF4-FFF2-40B4-BE49-F238E27FC236}">
                    <a16:creationId xmlns:a16="http://schemas.microsoft.com/office/drawing/2014/main" id="{3E768B04-696B-FB95-A887-667A49A07743}"/>
                  </a:ext>
                </a:extLst>
              </p:cNvPr>
              <p:cNvSpPr>
                <a:spLocks noEditPoints="1"/>
              </p:cNvSpPr>
              <p:nvPr/>
            </p:nvSpPr>
            <p:spPr bwMode="auto">
              <a:xfrm>
                <a:off x="5462588" y="2312988"/>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7" name="Freeform 98">
                <a:extLst>
                  <a:ext uri="{FF2B5EF4-FFF2-40B4-BE49-F238E27FC236}">
                    <a16:creationId xmlns:a16="http://schemas.microsoft.com/office/drawing/2014/main" id="{A99A09CD-C577-BC7A-8BBD-30E9F79DDD07}"/>
                  </a:ext>
                </a:extLst>
              </p:cNvPr>
              <p:cNvSpPr>
                <a:spLocks noEditPoints="1"/>
              </p:cNvSpPr>
              <p:nvPr/>
            </p:nvSpPr>
            <p:spPr bwMode="auto">
              <a:xfrm>
                <a:off x="5316538" y="2312988"/>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8" name="Freeform 99">
                <a:extLst>
                  <a:ext uri="{FF2B5EF4-FFF2-40B4-BE49-F238E27FC236}">
                    <a16:creationId xmlns:a16="http://schemas.microsoft.com/office/drawing/2014/main" id="{66F2CE6C-4614-55FC-9B58-5894E541CD05}"/>
                  </a:ext>
                </a:extLst>
              </p:cNvPr>
              <p:cNvSpPr>
                <a:spLocks noEditPoints="1"/>
              </p:cNvSpPr>
              <p:nvPr/>
            </p:nvSpPr>
            <p:spPr bwMode="auto">
              <a:xfrm>
                <a:off x="5170488" y="2312988"/>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59" name="Freeform 100">
                <a:extLst>
                  <a:ext uri="{FF2B5EF4-FFF2-40B4-BE49-F238E27FC236}">
                    <a16:creationId xmlns:a16="http://schemas.microsoft.com/office/drawing/2014/main" id="{3668EBC1-ECD1-32AE-46FF-4D67BA203F35}"/>
                  </a:ext>
                </a:extLst>
              </p:cNvPr>
              <p:cNvSpPr>
                <a:spLocks noEditPoints="1"/>
              </p:cNvSpPr>
              <p:nvPr/>
            </p:nvSpPr>
            <p:spPr bwMode="auto">
              <a:xfrm>
                <a:off x="5900738" y="174148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60" name="Freeform 101">
                <a:extLst>
                  <a:ext uri="{FF2B5EF4-FFF2-40B4-BE49-F238E27FC236}">
                    <a16:creationId xmlns:a16="http://schemas.microsoft.com/office/drawing/2014/main" id="{4F6E4B3F-5691-702B-5748-670D242F8D9F}"/>
                  </a:ext>
                </a:extLst>
              </p:cNvPr>
              <p:cNvSpPr>
                <a:spLocks noEditPoints="1"/>
              </p:cNvSpPr>
              <p:nvPr/>
            </p:nvSpPr>
            <p:spPr bwMode="auto">
              <a:xfrm>
                <a:off x="5754688" y="174148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61" name="Freeform 102">
                <a:extLst>
                  <a:ext uri="{FF2B5EF4-FFF2-40B4-BE49-F238E27FC236}">
                    <a16:creationId xmlns:a16="http://schemas.microsoft.com/office/drawing/2014/main" id="{A4DEE4F6-1038-94DE-FC70-BA8038D91352}"/>
                  </a:ext>
                </a:extLst>
              </p:cNvPr>
              <p:cNvSpPr>
                <a:spLocks noEditPoints="1"/>
              </p:cNvSpPr>
              <p:nvPr/>
            </p:nvSpPr>
            <p:spPr bwMode="auto">
              <a:xfrm>
                <a:off x="5608638" y="174148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62" name="Freeform 103">
                <a:extLst>
                  <a:ext uri="{FF2B5EF4-FFF2-40B4-BE49-F238E27FC236}">
                    <a16:creationId xmlns:a16="http://schemas.microsoft.com/office/drawing/2014/main" id="{027257D4-BC51-DED8-662F-EA4AD490771B}"/>
                  </a:ext>
                </a:extLst>
              </p:cNvPr>
              <p:cNvSpPr>
                <a:spLocks noEditPoints="1"/>
              </p:cNvSpPr>
              <p:nvPr/>
            </p:nvSpPr>
            <p:spPr bwMode="auto">
              <a:xfrm>
                <a:off x="5462588" y="1741488"/>
                <a:ext cx="111125" cy="111125"/>
              </a:xfrm>
              <a:custGeom>
                <a:avLst/>
                <a:gdLst>
                  <a:gd name="T0" fmla="*/ 70 w 70"/>
                  <a:gd name="T1" fmla="*/ 70 h 70"/>
                  <a:gd name="T2" fmla="*/ 0 w 70"/>
                  <a:gd name="T3" fmla="*/ 70 h 70"/>
                  <a:gd name="T4" fmla="*/ 0 w 70"/>
                  <a:gd name="T5" fmla="*/ 0 h 70"/>
                  <a:gd name="T6" fmla="*/ 70 w 70"/>
                  <a:gd name="T7" fmla="*/ 0 h 70"/>
                  <a:gd name="T8" fmla="*/ 70 w 70"/>
                  <a:gd name="T9" fmla="*/ 70 h 70"/>
                  <a:gd name="T10" fmla="*/ 18 w 70"/>
                  <a:gd name="T11" fmla="*/ 52 h 70"/>
                  <a:gd name="T12" fmla="*/ 52 w 70"/>
                  <a:gd name="T13" fmla="*/ 52 h 70"/>
                  <a:gd name="T14" fmla="*/ 52 w 70"/>
                  <a:gd name="T15" fmla="*/ 18 h 70"/>
                  <a:gd name="T16" fmla="*/ 18 w 70"/>
                  <a:gd name="T17" fmla="*/ 18 h 70"/>
                  <a:gd name="T18" fmla="*/ 18 w 70"/>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70" y="70"/>
                    </a:moveTo>
                    <a:lnTo>
                      <a:pt x="0" y="70"/>
                    </a:lnTo>
                    <a:lnTo>
                      <a:pt x="0" y="0"/>
                    </a:lnTo>
                    <a:lnTo>
                      <a:pt x="70" y="0"/>
                    </a:lnTo>
                    <a:lnTo>
                      <a:pt x="70" y="70"/>
                    </a:lnTo>
                    <a:close/>
                    <a:moveTo>
                      <a:pt x="18" y="52"/>
                    </a:moveTo>
                    <a:lnTo>
                      <a:pt x="52" y="52"/>
                    </a:lnTo>
                    <a:lnTo>
                      <a:pt x="52" y="18"/>
                    </a:lnTo>
                    <a:lnTo>
                      <a:pt x="18" y="18"/>
                    </a:lnTo>
                    <a:lnTo>
                      <a:pt x="18" y="52"/>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63" name="Freeform 104">
                <a:extLst>
                  <a:ext uri="{FF2B5EF4-FFF2-40B4-BE49-F238E27FC236}">
                    <a16:creationId xmlns:a16="http://schemas.microsoft.com/office/drawing/2014/main" id="{FFEBF965-BD77-B478-94F9-2A6975FBD76D}"/>
                  </a:ext>
                </a:extLst>
              </p:cNvPr>
              <p:cNvSpPr>
                <a:spLocks noEditPoints="1"/>
              </p:cNvSpPr>
              <p:nvPr/>
            </p:nvSpPr>
            <p:spPr bwMode="auto">
              <a:xfrm>
                <a:off x="5024438" y="2312988"/>
                <a:ext cx="111125" cy="114300"/>
              </a:xfrm>
              <a:custGeom>
                <a:avLst/>
                <a:gdLst>
                  <a:gd name="T0" fmla="*/ 70 w 70"/>
                  <a:gd name="T1" fmla="*/ 72 h 72"/>
                  <a:gd name="T2" fmla="*/ 0 w 70"/>
                  <a:gd name="T3" fmla="*/ 72 h 72"/>
                  <a:gd name="T4" fmla="*/ 0 w 70"/>
                  <a:gd name="T5" fmla="*/ 0 h 72"/>
                  <a:gd name="T6" fmla="*/ 70 w 70"/>
                  <a:gd name="T7" fmla="*/ 0 h 72"/>
                  <a:gd name="T8" fmla="*/ 70 w 70"/>
                  <a:gd name="T9" fmla="*/ 72 h 72"/>
                  <a:gd name="T10" fmla="*/ 18 w 70"/>
                  <a:gd name="T11" fmla="*/ 54 h 72"/>
                  <a:gd name="T12" fmla="*/ 52 w 70"/>
                  <a:gd name="T13" fmla="*/ 54 h 72"/>
                  <a:gd name="T14" fmla="*/ 52 w 70"/>
                  <a:gd name="T15" fmla="*/ 18 h 72"/>
                  <a:gd name="T16" fmla="*/ 18 w 70"/>
                  <a:gd name="T17" fmla="*/ 18 h 72"/>
                  <a:gd name="T18" fmla="*/ 18 w 70"/>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2">
                    <a:moveTo>
                      <a:pt x="70" y="72"/>
                    </a:moveTo>
                    <a:lnTo>
                      <a:pt x="0" y="72"/>
                    </a:lnTo>
                    <a:lnTo>
                      <a:pt x="0" y="0"/>
                    </a:lnTo>
                    <a:lnTo>
                      <a:pt x="70" y="0"/>
                    </a:lnTo>
                    <a:lnTo>
                      <a:pt x="70" y="72"/>
                    </a:lnTo>
                    <a:close/>
                    <a:moveTo>
                      <a:pt x="18" y="54"/>
                    </a:moveTo>
                    <a:lnTo>
                      <a:pt x="52" y="54"/>
                    </a:lnTo>
                    <a:lnTo>
                      <a:pt x="52" y="18"/>
                    </a:lnTo>
                    <a:lnTo>
                      <a:pt x="18" y="18"/>
                    </a:lnTo>
                    <a:lnTo>
                      <a:pt x="18" y="54"/>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64" name="Freeform 105">
                <a:extLst>
                  <a:ext uri="{FF2B5EF4-FFF2-40B4-BE49-F238E27FC236}">
                    <a16:creationId xmlns:a16="http://schemas.microsoft.com/office/drawing/2014/main" id="{90284B8E-9346-5672-5AEF-492A0B5ED1A8}"/>
                  </a:ext>
                </a:extLst>
              </p:cNvPr>
              <p:cNvSpPr>
                <a:spLocks noEditPoints="1"/>
              </p:cNvSpPr>
              <p:nvPr/>
            </p:nvSpPr>
            <p:spPr bwMode="auto">
              <a:xfrm>
                <a:off x="4941888" y="1436688"/>
                <a:ext cx="1152525" cy="254000"/>
              </a:xfrm>
              <a:custGeom>
                <a:avLst/>
                <a:gdLst>
                  <a:gd name="T0" fmla="*/ 0 w 726"/>
                  <a:gd name="T1" fmla="*/ 160 h 160"/>
                  <a:gd name="T2" fmla="*/ 86 w 726"/>
                  <a:gd name="T3" fmla="*/ 38 h 160"/>
                  <a:gd name="T4" fmla="*/ 88 w 726"/>
                  <a:gd name="T5" fmla="*/ 30 h 160"/>
                  <a:gd name="T6" fmla="*/ 98 w 726"/>
                  <a:gd name="T7" fmla="*/ 16 h 160"/>
                  <a:gd name="T8" fmla="*/ 110 w 726"/>
                  <a:gd name="T9" fmla="*/ 6 h 160"/>
                  <a:gd name="T10" fmla="*/ 126 w 726"/>
                  <a:gd name="T11" fmla="*/ 0 h 160"/>
                  <a:gd name="T12" fmla="*/ 134 w 726"/>
                  <a:gd name="T13" fmla="*/ 0 h 160"/>
                  <a:gd name="T14" fmla="*/ 150 w 726"/>
                  <a:gd name="T15" fmla="*/ 2 h 160"/>
                  <a:gd name="T16" fmla="*/ 164 w 726"/>
                  <a:gd name="T17" fmla="*/ 10 h 160"/>
                  <a:gd name="T18" fmla="*/ 176 w 726"/>
                  <a:gd name="T19" fmla="*/ 22 h 160"/>
                  <a:gd name="T20" fmla="*/ 180 w 726"/>
                  <a:gd name="T21" fmla="*/ 38 h 160"/>
                  <a:gd name="T22" fmla="*/ 546 w 726"/>
                  <a:gd name="T23" fmla="*/ 38 h 160"/>
                  <a:gd name="T24" fmla="*/ 552 w 726"/>
                  <a:gd name="T25" fmla="*/ 22 h 160"/>
                  <a:gd name="T26" fmla="*/ 562 w 726"/>
                  <a:gd name="T27" fmla="*/ 10 h 160"/>
                  <a:gd name="T28" fmla="*/ 576 w 726"/>
                  <a:gd name="T29" fmla="*/ 2 h 160"/>
                  <a:gd name="T30" fmla="*/ 592 w 726"/>
                  <a:gd name="T31" fmla="*/ 0 h 160"/>
                  <a:gd name="T32" fmla="*/ 602 w 726"/>
                  <a:gd name="T33" fmla="*/ 0 h 160"/>
                  <a:gd name="T34" fmla="*/ 618 w 726"/>
                  <a:gd name="T35" fmla="*/ 6 h 160"/>
                  <a:gd name="T36" fmla="*/ 630 w 726"/>
                  <a:gd name="T37" fmla="*/ 16 h 160"/>
                  <a:gd name="T38" fmla="*/ 638 w 726"/>
                  <a:gd name="T39" fmla="*/ 30 h 160"/>
                  <a:gd name="T40" fmla="*/ 726 w 726"/>
                  <a:gd name="T41" fmla="*/ 38 h 160"/>
                  <a:gd name="T42" fmla="*/ 18 w 726"/>
                  <a:gd name="T43" fmla="*/ 142 h 160"/>
                  <a:gd name="T44" fmla="*/ 708 w 726"/>
                  <a:gd name="T45" fmla="*/ 56 h 160"/>
                  <a:gd name="T46" fmla="*/ 624 w 726"/>
                  <a:gd name="T47" fmla="*/ 48 h 160"/>
                  <a:gd name="T48" fmla="*/ 622 w 726"/>
                  <a:gd name="T49" fmla="*/ 42 h 160"/>
                  <a:gd name="T50" fmla="*/ 614 w 726"/>
                  <a:gd name="T51" fmla="*/ 26 h 160"/>
                  <a:gd name="T52" fmla="*/ 600 w 726"/>
                  <a:gd name="T53" fmla="*/ 18 h 160"/>
                  <a:gd name="T54" fmla="*/ 592 w 726"/>
                  <a:gd name="T55" fmla="*/ 18 h 160"/>
                  <a:gd name="T56" fmla="*/ 582 w 726"/>
                  <a:gd name="T57" fmla="*/ 20 h 160"/>
                  <a:gd name="T58" fmla="*/ 566 w 726"/>
                  <a:gd name="T59" fmla="*/ 36 h 160"/>
                  <a:gd name="T60" fmla="*/ 562 w 726"/>
                  <a:gd name="T61" fmla="*/ 48 h 160"/>
                  <a:gd name="T62" fmla="*/ 164 w 726"/>
                  <a:gd name="T63" fmla="*/ 56 h 160"/>
                  <a:gd name="T64" fmla="*/ 164 w 726"/>
                  <a:gd name="T65" fmla="*/ 48 h 160"/>
                  <a:gd name="T66" fmla="*/ 162 w 726"/>
                  <a:gd name="T67" fmla="*/ 36 h 160"/>
                  <a:gd name="T68" fmla="*/ 146 w 726"/>
                  <a:gd name="T69" fmla="*/ 20 h 160"/>
                  <a:gd name="T70" fmla="*/ 134 w 726"/>
                  <a:gd name="T71" fmla="*/ 18 h 160"/>
                  <a:gd name="T72" fmla="*/ 128 w 726"/>
                  <a:gd name="T73" fmla="*/ 18 h 160"/>
                  <a:gd name="T74" fmla="*/ 112 w 726"/>
                  <a:gd name="T75" fmla="*/ 26 h 160"/>
                  <a:gd name="T76" fmla="*/ 104 w 726"/>
                  <a:gd name="T77" fmla="*/ 42 h 160"/>
                  <a:gd name="T78" fmla="*/ 104 w 726"/>
                  <a:gd name="T79" fmla="*/ 56 h 160"/>
                  <a:gd name="T80" fmla="*/ 18 w 726"/>
                  <a:gd name="T81" fmla="*/ 142 h 160"/>
                  <a:gd name="T82" fmla="*/ 642 w 726"/>
                  <a:gd name="T83" fmla="*/ 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6" h="160">
                    <a:moveTo>
                      <a:pt x="726" y="160"/>
                    </a:moveTo>
                    <a:lnTo>
                      <a:pt x="0" y="160"/>
                    </a:lnTo>
                    <a:lnTo>
                      <a:pt x="0" y="38"/>
                    </a:lnTo>
                    <a:lnTo>
                      <a:pt x="86" y="38"/>
                    </a:lnTo>
                    <a:lnTo>
                      <a:pt x="86" y="38"/>
                    </a:lnTo>
                    <a:lnTo>
                      <a:pt x="88" y="30"/>
                    </a:lnTo>
                    <a:lnTo>
                      <a:pt x="92" y="22"/>
                    </a:lnTo>
                    <a:lnTo>
                      <a:pt x="98" y="16"/>
                    </a:lnTo>
                    <a:lnTo>
                      <a:pt x="102" y="10"/>
                    </a:lnTo>
                    <a:lnTo>
                      <a:pt x="110" y="6"/>
                    </a:lnTo>
                    <a:lnTo>
                      <a:pt x="118" y="2"/>
                    </a:lnTo>
                    <a:lnTo>
                      <a:pt x="126" y="0"/>
                    </a:lnTo>
                    <a:lnTo>
                      <a:pt x="134" y="0"/>
                    </a:lnTo>
                    <a:lnTo>
                      <a:pt x="134" y="0"/>
                    </a:lnTo>
                    <a:lnTo>
                      <a:pt x="142" y="0"/>
                    </a:lnTo>
                    <a:lnTo>
                      <a:pt x="150" y="2"/>
                    </a:lnTo>
                    <a:lnTo>
                      <a:pt x="158" y="6"/>
                    </a:lnTo>
                    <a:lnTo>
                      <a:pt x="164" y="10"/>
                    </a:lnTo>
                    <a:lnTo>
                      <a:pt x="170" y="16"/>
                    </a:lnTo>
                    <a:lnTo>
                      <a:pt x="176" y="22"/>
                    </a:lnTo>
                    <a:lnTo>
                      <a:pt x="178" y="30"/>
                    </a:lnTo>
                    <a:lnTo>
                      <a:pt x="180" y="38"/>
                    </a:lnTo>
                    <a:lnTo>
                      <a:pt x="546" y="38"/>
                    </a:lnTo>
                    <a:lnTo>
                      <a:pt x="546" y="38"/>
                    </a:lnTo>
                    <a:lnTo>
                      <a:pt x="548" y="30"/>
                    </a:lnTo>
                    <a:lnTo>
                      <a:pt x="552" y="22"/>
                    </a:lnTo>
                    <a:lnTo>
                      <a:pt x="556" y="16"/>
                    </a:lnTo>
                    <a:lnTo>
                      <a:pt x="562" y="10"/>
                    </a:lnTo>
                    <a:lnTo>
                      <a:pt x="568" y="6"/>
                    </a:lnTo>
                    <a:lnTo>
                      <a:pt x="576" y="2"/>
                    </a:lnTo>
                    <a:lnTo>
                      <a:pt x="584" y="0"/>
                    </a:lnTo>
                    <a:lnTo>
                      <a:pt x="592" y="0"/>
                    </a:lnTo>
                    <a:lnTo>
                      <a:pt x="592" y="0"/>
                    </a:lnTo>
                    <a:lnTo>
                      <a:pt x="602" y="0"/>
                    </a:lnTo>
                    <a:lnTo>
                      <a:pt x="610" y="2"/>
                    </a:lnTo>
                    <a:lnTo>
                      <a:pt x="618" y="6"/>
                    </a:lnTo>
                    <a:lnTo>
                      <a:pt x="624" y="10"/>
                    </a:lnTo>
                    <a:lnTo>
                      <a:pt x="630" y="16"/>
                    </a:lnTo>
                    <a:lnTo>
                      <a:pt x="634" y="22"/>
                    </a:lnTo>
                    <a:lnTo>
                      <a:pt x="638" y="30"/>
                    </a:lnTo>
                    <a:lnTo>
                      <a:pt x="640" y="38"/>
                    </a:lnTo>
                    <a:lnTo>
                      <a:pt x="726" y="38"/>
                    </a:lnTo>
                    <a:lnTo>
                      <a:pt x="726" y="160"/>
                    </a:lnTo>
                    <a:close/>
                    <a:moveTo>
                      <a:pt x="18" y="142"/>
                    </a:moveTo>
                    <a:lnTo>
                      <a:pt x="708" y="142"/>
                    </a:lnTo>
                    <a:lnTo>
                      <a:pt x="708" y="56"/>
                    </a:lnTo>
                    <a:lnTo>
                      <a:pt x="624" y="56"/>
                    </a:lnTo>
                    <a:lnTo>
                      <a:pt x="624" y="48"/>
                    </a:lnTo>
                    <a:lnTo>
                      <a:pt x="624" y="48"/>
                    </a:lnTo>
                    <a:lnTo>
                      <a:pt x="622" y="42"/>
                    </a:lnTo>
                    <a:lnTo>
                      <a:pt x="620" y="36"/>
                    </a:lnTo>
                    <a:lnTo>
                      <a:pt x="614" y="26"/>
                    </a:lnTo>
                    <a:lnTo>
                      <a:pt x="604" y="20"/>
                    </a:lnTo>
                    <a:lnTo>
                      <a:pt x="600" y="18"/>
                    </a:lnTo>
                    <a:lnTo>
                      <a:pt x="592" y="18"/>
                    </a:lnTo>
                    <a:lnTo>
                      <a:pt x="592" y="18"/>
                    </a:lnTo>
                    <a:lnTo>
                      <a:pt x="586" y="18"/>
                    </a:lnTo>
                    <a:lnTo>
                      <a:pt x="582" y="20"/>
                    </a:lnTo>
                    <a:lnTo>
                      <a:pt x="572" y="26"/>
                    </a:lnTo>
                    <a:lnTo>
                      <a:pt x="566" y="36"/>
                    </a:lnTo>
                    <a:lnTo>
                      <a:pt x="564" y="42"/>
                    </a:lnTo>
                    <a:lnTo>
                      <a:pt x="562" y="48"/>
                    </a:lnTo>
                    <a:lnTo>
                      <a:pt x="562" y="56"/>
                    </a:lnTo>
                    <a:lnTo>
                      <a:pt x="164" y="56"/>
                    </a:lnTo>
                    <a:lnTo>
                      <a:pt x="164" y="48"/>
                    </a:lnTo>
                    <a:lnTo>
                      <a:pt x="164" y="48"/>
                    </a:lnTo>
                    <a:lnTo>
                      <a:pt x="164" y="42"/>
                    </a:lnTo>
                    <a:lnTo>
                      <a:pt x="162" y="36"/>
                    </a:lnTo>
                    <a:lnTo>
                      <a:pt x="154" y="26"/>
                    </a:lnTo>
                    <a:lnTo>
                      <a:pt x="146" y="20"/>
                    </a:lnTo>
                    <a:lnTo>
                      <a:pt x="140" y="18"/>
                    </a:lnTo>
                    <a:lnTo>
                      <a:pt x="134" y="18"/>
                    </a:lnTo>
                    <a:lnTo>
                      <a:pt x="134" y="18"/>
                    </a:lnTo>
                    <a:lnTo>
                      <a:pt x="128" y="18"/>
                    </a:lnTo>
                    <a:lnTo>
                      <a:pt x="122" y="20"/>
                    </a:lnTo>
                    <a:lnTo>
                      <a:pt x="112" y="26"/>
                    </a:lnTo>
                    <a:lnTo>
                      <a:pt x="106" y="36"/>
                    </a:lnTo>
                    <a:lnTo>
                      <a:pt x="104" y="42"/>
                    </a:lnTo>
                    <a:lnTo>
                      <a:pt x="104" y="48"/>
                    </a:lnTo>
                    <a:lnTo>
                      <a:pt x="104" y="56"/>
                    </a:lnTo>
                    <a:lnTo>
                      <a:pt x="18" y="56"/>
                    </a:lnTo>
                    <a:lnTo>
                      <a:pt x="18" y="142"/>
                    </a:lnTo>
                    <a:close/>
                    <a:moveTo>
                      <a:pt x="642" y="48"/>
                    </a:moveTo>
                    <a:lnTo>
                      <a:pt x="642" y="48"/>
                    </a:lnTo>
                    <a:lnTo>
                      <a:pt x="642" y="48"/>
                    </a:ln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sp>
            <p:nvSpPr>
              <p:cNvPr id="65" name="Rectangle 106">
                <a:extLst>
                  <a:ext uri="{FF2B5EF4-FFF2-40B4-BE49-F238E27FC236}">
                    <a16:creationId xmlns:a16="http://schemas.microsoft.com/office/drawing/2014/main" id="{5A3E67BB-2715-2654-42EB-084C6CF63021}"/>
                  </a:ext>
                </a:extLst>
              </p:cNvPr>
              <p:cNvSpPr>
                <a:spLocks noChangeArrowheads="1"/>
              </p:cNvSpPr>
              <p:nvPr/>
            </p:nvSpPr>
            <p:spPr bwMode="auto">
              <a:xfrm>
                <a:off x="5053013" y="1585913"/>
                <a:ext cx="930275" cy="28575"/>
              </a:xfrm>
              <a:prstGeom prst="rect">
                <a:avLst/>
              </a:prstGeom>
              <a:grpFill/>
              <a:ln>
                <a:noFill/>
              </a:ln>
            </p:spPr>
            <p:txBody>
              <a:bodyPr vert="horz" wrap="square" lIns="82918" tIns="41459" rIns="82918" bIns="41459" numCol="1" anchor="t" anchorCtr="0" compatLnSpc="1">
                <a:prstTxWarp prst="textNoShape">
                  <a:avLst/>
                </a:prstTxWarp>
              </a:bodyPr>
              <a:lstStyle/>
              <a:p>
                <a:pPr defTabSz="829178"/>
                <a:endParaRPr lang="en-IN" sz="1600">
                  <a:solidFill>
                    <a:schemeClr val="bg1"/>
                  </a:solidFill>
                  <a:latin typeface="EYInterstate Light" panose="02000506000000020004" pitchFamily="2" charset="0"/>
                </a:endParaRPr>
              </a:p>
            </p:txBody>
          </p:sp>
        </p:grpSp>
        <p:cxnSp>
          <p:nvCxnSpPr>
            <p:cNvPr id="66" name="Straight Connector 65">
              <a:extLst>
                <a:ext uri="{FF2B5EF4-FFF2-40B4-BE49-F238E27FC236}">
                  <a16:creationId xmlns:a16="http://schemas.microsoft.com/office/drawing/2014/main" id="{6D344CA6-11B9-A6D8-2629-C64927822FE7}"/>
                </a:ext>
              </a:extLst>
            </p:cNvPr>
            <p:cNvCxnSpPr>
              <a:cxnSpLocks/>
            </p:cNvCxnSpPr>
            <p:nvPr/>
          </p:nvCxnSpPr>
          <p:spPr>
            <a:xfrm flipV="1">
              <a:off x="4211262" y="6076563"/>
              <a:ext cx="2727641" cy="1"/>
            </a:xfrm>
            <a:prstGeom prst="line">
              <a:avLst/>
            </a:prstGeom>
            <a:ln w="28575">
              <a:solidFill>
                <a:srgbClr val="FFE6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415701F-7D20-3D53-B251-9AD7CB23ED0D}"/>
                </a:ext>
              </a:extLst>
            </p:cNvPr>
            <p:cNvCxnSpPr>
              <a:cxnSpLocks/>
            </p:cNvCxnSpPr>
            <p:nvPr/>
          </p:nvCxnSpPr>
          <p:spPr>
            <a:xfrm flipV="1">
              <a:off x="4858733" y="5833567"/>
              <a:ext cx="0" cy="216000"/>
            </a:xfrm>
            <a:prstGeom prst="line">
              <a:avLst/>
            </a:prstGeom>
            <a:ln w="28575">
              <a:solidFill>
                <a:srgbClr val="FFE600"/>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202A4C99-1C24-B7A4-711D-8D8CA0806A32}"/>
                </a:ext>
              </a:extLst>
            </p:cNvPr>
            <p:cNvSpPr txBox="1"/>
            <p:nvPr/>
          </p:nvSpPr>
          <p:spPr>
            <a:xfrm>
              <a:off x="4224723" y="6127861"/>
              <a:ext cx="1355396" cy="307777"/>
            </a:xfrm>
            <a:prstGeom prst="rect">
              <a:avLst/>
            </a:prstGeom>
            <a:noFill/>
          </p:spPr>
          <p:txBody>
            <a:bodyPr wrap="square" rtlCol="0">
              <a:spAutoFit/>
            </a:bodyPr>
            <a:lstStyle/>
            <a:p>
              <a:pPr algn="ctr"/>
              <a:r>
                <a:rPr lang="it-IT" sz="1400" b="1" dirty="0">
                  <a:solidFill>
                    <a:schemeClr val="bg1"/>
                  </a:solidFill>
                  <a:latin typeface="EYInterstate Light" panose="02000506000000020004" pitchFamily="2" charset="0"/>
                </a:rPr>
                <a:t>APERTURA</a:t>
              </a:r>
            </a:p>
          </p:txBody>
        </p:sp>
        <p:sp>
          <p:nvSpPr>
            <p:cNvPr id="69" name="TextBox 68">
              <a:extLst>
                <a:ext uri="{FF2B5EF4-FFF2-40B4-BE49-F238E27FC236}">
                  <a16:creationId xmlns:a16="http://schemas.microsoft.com/office/drawing/2014/main" id="{0CBF0DDE-F749-C6D0-0869-6BA56FBB8CE6}"/>
                </a:ext>
              </a:extLst>
            </p:cNvPr>
            <p:cNvSpPr txBox="1"/>
            <p:nvPr/>
          </p:nvSpPr>
          <p:spPr>
            <a:xfrm>
              <a:off x="5552967" y="6127861"/>
              <a:ext cx="1146298" cy="307777"/>
            </a:xfrm>
            <a:prstGeom prst="rect">
              <a:avLst/>
            </a:prstGeom>
            <a:noFill/>
          </p:spPr>
          <p:txBody>
            <a:bodyPr wrap="square" rtlCol="0">
              <a:spAutoFit/>
            </a:bodyPr>
            <a:lstStyle/>
            <a:p>
              <a:pPr algn="ctr"/>
              <a:r>
                <a:rPr lang="it-IT" sz="1400" b="1">
                  <a:solidFill>
                    <a:schemeClr val="bg1"/>
                  </a:solidFill>
                  <a:latin typeface="EYInterstate Light" panose="02000506000000020004" pitchFamily="2" charset="0"/>
                </a:rPr>
                <a:t>SCADENZA</a:t>
              </a:r>
            </a:p>
          </p:txBody>
        </p:sp>
        <p:sp>
          <p:nvSpPr>
            <p:cNvPr id="70" name="TextBox 69">
              <a:extLst>
                <a:ext uri="{FF2B5EF4-FFF2-40B4-BE49-F238E27FC236}">
                  <a16:creationId xmlns:a16="http://schemas.microsoft.com/office/drawing/2014/main" id="{3B6F0785-0D25-65CB-20AC-94EEAF49822A}"/>
                </a:ext>
              </a:extLst>
            </p:cNvPr>
            <p:cNvSpPr txBox="1"/>
            <p:nvPr/>
          </p:nvSpPr>
          <p:spPr>
            <a:xfrm>
              <a:off x="4211262" y="5629844"/>
              <a:ext cx="1381977" cy="307777"/>
            </a:xfrm>
            <a:prstGeom prst="rect">
              <a:avLst/>
            </a:prstGeom>
            <a:noFill/>
          </p:spPr>
          <p:txBody>
            <a:bodyPr wrap="square" rtlCol="0">
              <a:spAutoFit/>
            </a:bodyPr>
            <a:lstStyle/>
            <a:p>
              <a:pPr algn="ctr"/>
              <a:r>
                <a:rPr lang="it-IT" sz="1400" b="1">
                  <a:solidFill>
                    <a:schemeClr val="bg1"/>
                  </a:solidFill>
                  <a:latin typeface="EYInterstate Light" panose="02000506000000020004" pitchFamily="2" charset="0"/>
                </a:rPr>
                <a:t>16/04/2024 </a:t>
              </a:r>
            </a:p>
          </p:txBody>
        </p:sp>
        <p:sp>
          <p:nvSpPr>
            <p:cNvPr id="71" name="TextBox 70">
              <a:extLst>
                <a:ext uri="{FF2B5EF4-FFF2-40B4-BE49-F238E27FC236}">
                  <a16:creationId xmlns:a16="http://schemas.microsoft.com/office/drawing/2014/main" id="{9F008135-AA85-327D-B297-94F4568736C3}"/>
                </a:ext>
              </a:extLst>
            </p:cNvPr>
            <p:cNvSpPr txBox="1"/>
            <p:nvPr/>
          </p:nvSpPr>
          <p:spPr>
            <a:xfrm>
              <a:off x="6996986" y="5867540"/>
              <a:ext cx="1842625" cy="418047"/>
            </a:xfrm>
            <a:prstGeom prst="rect">
              <a:avLst/>
            </a:prstGeom>
            <a:noFill/>
          </p:spPr>
          <p:txBody>
            <a:bodyPr wrap="square" rtlCol="0">
              <a:spAutoFit/>
            </a:bodyPr>
            <a:lstStyle/>
            <a:p>
              <a:pPr algn="ctr"/>
              <a:r>
                <a:rPr lang="it-IT" sz="1400" b="1">
                  <a:solidFill>
                    <a:schemeClr val="bg1"/>
                  </a:solidFill>
                  <a:latin typeface="EYInterstate Light" panose="02000506000000020004" pitchFamily="2" charset="0"/>
                </a:rPr>
                <a:t>PROCEDURA</a:t>
              </a:r>
              <a:r>
                <a:rPr lang="it-IT" sz="1600" b="1">
                  <a:solidFill>
                    <a:schemeClr val="bg1"/>
                  </a:solidFill>
                  <a:latin typeface="EYInterstate Light" panose="02000506000000020004" pitchFamily="2" charset="0"/>
                </a:rPr>
                <a:t> </a:t>
              </a:r>
              <a:r>
                <a:rPr lang="it-IT" sz="1400" b="1">
                  <a:solidFill>
                    <a:schemeClr val="bg1"/>
                  </a:solidFill>
                  <a:latin typeface="EYInterstate Light" panose="02000506000000020004" pitchFamily="2" charset="0"/>
                </a:rPr>
                <a:t>A</a:t>
              </a:r>
              <a:r>
                <a:rPr lang="it-IT" sz="1600" b="1">
                  <a:solidFill>
                    <a:schemeClr val="bg1"/>
                  </a:solidFill>
                  <a:latin typeface="EYInterstate Light" panose="02000506000000020004" pitchFamily="2" charset="0"/>
                </a:rPr>
                <a:t> </a:t>
              </a:r>
              <a:r>
                <a:rPr lang="it-IT" sz="1400" b="1">
                  <a:solidFill>
                    <a:schemeClr val="bg1"/>
                  </a:solidFill>
                  <a:latin typeface="EYInterstate Light" panose="02000506000000020004" pitchFamily="2" charset="0"/>
                </a:rPr>
                <a:t>GRADUATORIA</a:t>
              </a:r>
            </a:p>
          </p:txBody>
        </p:sp>
        <p:cxnSp>
          <p:nvCxnSpPr>
            <p:cNvPr id="72" name="Straight Connector 71">
              <a:extLst>
                <a:ext uri="{FF2B5EF4-FFF2-40B4-BE49-F238E27FC236}">
                  <a16:creationId xmlns:a16="http://schemas.microsoft.com/office/drawing/2014/main" id="{4DC93757-BA76-65AC-137F-A06FC6086B9F}"/>
                </a:ext>
              </a:extLst>
            </p:cNvPr>
            <p:cNvCxnSpPr>
              <a:cxnSpLocks/>
            </p:cNvCxnSpPr>
            <p:nvPr/>
          </p:nvCxnSpPr>
          <p:spPr>
            <a:xfrm flipV="1">
              <a:off x="6080623" y="5840681"/>
              <a:ext cx="0" cy="216000"/>
            </a:xfrm>
            <a:prstGeom prst="line">
              <a:avLst/>
            </a:prstGeom>
            <a:ln w="28575">
              <a:solidFill>
                <a:srgbClr val="FFE600"/>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72BD4565-6430-82EA-42DC-F2CA565C884E}"/>
                </a:ext>
              </a:extLst>
            </p:cNvPr>
            <p:cNvSpPr txBox="1"/>
            <p:nvPr/>
          </p:nvSpPr>
          <p:spPr>
            <a:xfrm>
              <a:off x="4858738" y="5629841"/>
              <a:ext cx="2514151" cy="307777"/>
            </a:xfrm>
            <a:prstGeom prst="rect">
              <a:avLst/>
            </a:prstGeom>
            <a:noFill/>
          </p:spPr>
          <p:txBody>
            <a:bodyPr wrap="square" rtlCol="0">
              <a:spAutoFit/>
            </a:bodyPr>
            <a:lstStyle/>
            <a:p>
              <a:pPr algn="ctr"/>
              <a:r>
                <a:rPr lang="it-IT" sz="1400" b="1" dirty="0">
                  <a:solidFill>
                    <a:schemeClr val="bg1"/>
                  </a:solidFill>
                  <a:latin typeface="EYInterstate Light" panose="02000506000000020004" pitchFamily="2" charset="0"/>
                </a:rPr>
                <a:t>18/06/2024</a:t>
              </a:r>
            </a:p>
          </p:txBody>
        </p:sp>
        <p:cxnSp>
          <p:nvCxnSpPr>
            <p:cNvPr id="3" name="Straight Connector 2">
              <a:extLst>
                <a:ext uri="{FF2B5EF4-FFF2-40B4-BE49-F238E27FC236}">
                  <a16:creationId xmlns:a16="http://schemas.microsoft.com/office/drawing/2014/main" id="{0B95F101-D521-DACA-498F-A2FD76EF9848}"/>
                </a:ext>
              </a:extLst>
            </p:cNvPr>
            <p:cNvCxnSpPr>
              <a:cxnSpLocks/>
            </p:cNvCxnSpPr>
            <p:nvPr/>
          </p:nvCxnSpPr>
          <p:spPr>
            <a:xfrm flipV="1">
              <a:off x="4858733" y="5847237"/>
              <a:ext cx="0" cy="216000"/>
            </a:xfrm>
            <a:prstGeom prst="line">
              <a:avLst/>
            </a:prstGeom>
            <a:ln w="28575">
              <a:solidFill>
                <a:srgbClr val="FFE60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8075BB7-DA9A-21B1-C141-D2870BC632A8}"/>
                </a:ext>
              </a:extLst>
            </p:cNvPr>
            <p:cNvCxnSpPr>
              <a:cxnSpLocks/>
            </p:cNvCxnSpPr>
            <p:nvPr/>
          </p:nvCxnSpPr>
          <p:spPr>
            <a:xfrm flipV="1">
              <a:off x="6080623" y="5854351"/>
              <a:ext cx="0" cy="216000"/>
            </a:xfrm>
            <a:prstGeom prst="line">
              <a:avLst/>
            </a:prstGeom>
            <a:ln w="28575">
              <a:solidFill>
                <a:srgbClr val="FFE600"/>
              </a:solidFill>
            </a:ln>
          </p:spPr>
          <p:style>
            <a:lnRef idx="1">
              <a:schemeClr val="accent1"/>
            </a:lnRef>
            <a:fillRef idx="0">
              <a:schemeClr val="accent1"/>
            </a:fillRef>
            <a:effectRef idx="0">
              <a:schemeClr val="accent1"/>
            </a:effectRef>
            <a:fontRef idx="minor">
              <a:schemeClr val="tx1"/>
            </a:fontRef>
          </p:style>
        </p:cxnSp>
      </p:grpSp>
      <p:sp>
        <p:nvSpPr>
          <p:cNvPr id="80" name="Rectangle 79">
            <a:extLst>
              <a:ext uri="{FF2B5EF4-FFF2-40B4-BE49-F238E27FC236}">
                <a16:creationId xmlns:a16="http://schemas.microsoft.com/office/drawing/2014/main" id="{16FB24C3-F92F-DC2D-331C-519BE9C8C9CA}"/>
              </a:ext>
            </a:extLst>
          </p:cNvPr>
          <p:cNvSpPr/>
          <p:nvPr/>
        </p:nvSpPr>
        <p:spPr>
          <a:xfrm>
            <a:off x="3789575" y="1007693"/>
            <a:ext cx="4336744" cy="402993"/>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it-IT" sz="1800" b="1" i="0" u="none" strike="noStrike" kern="0" cap="none" spc="0" normalizeH="0" baseline="0" noProof="0">
                <a:ln>
                  <a:noFill/>
                </a:ln>
                <a:solidFill>
                  <a:schemeClr val="bg2"/>
                </a:solidFill>
                <a:effectLst/>
                <a:uLnTx/>
                <a:uFillTx/>
              </a:rPr>
              <a:t>RISORSE €20MLN</a:t>
            </a:r>
          </a:p>
        </p:txBody>
      </p:sp>
      <p:sp>
        <p:nvSpPr>
          <p:cNvPr id="81" name="TextBox 80">
            <a:extLst>
              <a:ext uri="{FF2B5EF4-FFF2-40B4-BE49-F238E27FC236}">
                <a16:creationId xmlns:a16="http://schemas.microsoft.com/office/drawing/2014/main" id="{D2BE5C9E-9B69-F1F8-FD23-140843C0855F}"/>
              </a:ext>
            </a:extLst>
          </p:cNvPr>
          <p:cNvSpPr txBox="1"/>
          <p:nvPr/>
        </p:nvSpPr>
        <p:spPr>
          <a:xfrm>
            <a:off x="509048" y="2131398"/>
            <a:ext cx="2036189" cy="189654"/>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a:solidFill>
                  <a:schemeClr val="bg1"/>
                </a:solidFill>
              </a:rPr>
              <a:t>FINALITÀ:</a:t>
            </a:r>
          </a:p>
        </p:txBody>
      </p:sp>
      <p:pic>
        <p:nvPicPr>
          <p:cNvPr id="2" name="Graphic 1">
            <a:extLst>
              <a:ext uri="{FF2B5EF4-FFF2-40B4-BE49-F238E27FC236}">
                <a16:creationId xmlns:a16="http://schemas.microsoft.com/office/drawing/2014/main" id="{DA4C314A-1BE2-F9AB-D8C5-24A6376B11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00775" y="2623572"/>
            <a:ext cx="1102018" cy="957019"/>
          </a:xfrm>
          <a:prstGeom prst="rect">
            <a:avLst/>
          </a:prstGeom>
        </p:spPr>
      </p:pic>
      <p:pic>
        <p:nvPicPr>
          <p:cNvPr id="10" name="Graphic 9">
            <a:extLst>
              <a:ext uri="{FF2B5EF4-FFF2-40B4-BE49-F238E27FC236}">
                <a16:creationId xmlns:a16="http://schemas.microsoft.com/office/drawing/2014/main" id="{CFFA10D9-0BEC-F73D-B223-64BED7CCAD1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50218" y="2578973"/>
            <a:ext cx="1110881" cy="992824"/>
          </a:xfrm>
          <a:prstGeom prst="rect">
            <a:avLst/>
          </a:prstGeom>
        </p:spPr>
      </p:pic>
    </p:spTree>
    <p:extLst>
      <p:ext uri="{BB962C8B-B14F-4D97-AF65-F5344CB8AC3E}">
        <p14:creationId xmlns:p14="http://schemas.microsoft.com/office/powerpoint/2010/main" val="24654776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a:t>Focus beneficiari</a:t>
            </a:r>
          </a:p>
        </p:txBody>
      </p:sp>
      <p:sp>
        <p:nvSpPr>
          <p:cNvPr id="17" name="Line 10">
            <a:extLst>
              <a:ext uri="{FF2B5EF4-FFF2-40B4-BE49-F238E27FC236}">
                <a16:creationId xmlns:a16="http://schemas.microsoft.com/office/drawing/2014/main" id="{55CA5570-774C-4843-88D5-1182270353D7}"/>
              </a:ext>
            </a:extLst>
          </p:cNvPr>
          <p:cNvSpPr>
            <a:spLocks noChangeShapeType="1"/>
          </p:cNvSpPr>
          <p:nvPr/>
        </p:nvSpPr>
        <p:spPr bwMode="auto">
          <a:xfrm>
            <a:off x="6086572" y="2678602"/>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en-US" sz="1799">
              <a:solidFill>
                <a:prstClr val="white"/>
              </a:solidFill>
              <a:latin typeface="EYInterstate Light"/>
            </a:endParaRPr>
          </a:p>
        </p:txBody>
      </p:sp>
      <p:sp>
        <p:nvSpPr>
          <p:cNvPr id="19" name="object 8">
            <a:extLst>
              <a:ext uri="{FF2B5EF4-FFF2-40B4-BE49-F238E27FC236}">
                <a16:creationId xmlns:a16="http://schemas.microsoft.com/office/drawing/2014/main" id="{3A33F663-F2F4-460C-ADEB-92EB37B2506B}"/>
              </a:ext>
            </a:extLst>
          </p:cNvPr>
          <p:cNvSpPr txBox="1"/>
          <p:nvPr/>
        </p:nvSpPr>
        <p:spPr>
          <a:xfrm>
            <a:off x="6271964" y="1005898"/>
            <a:ext cx="5279011" cy="1617312"/>
          </a:xfrm>
          <a:prstGeom prst="rect">
            <a:avLst/>
          </a:prstGeom>
        </p:spPr>
        <p:txBody>
          <a:bodyPr vert="horz" wrap="square" lIns="0" tIns="12329" rIns="0" bIns="0" rtlCol="0">
            <a:spAutoFit/>
          </a:bodyPr>
          <a:lstStyle/>
          <a:p>
            <a:pPr marL="108000" algn="just" defTabSz="913943">
              <a:lnSpc>
                <a:spcPct val="110000"/>
              </a:lnSpc>
            </a:pPr>
            <a:r>
              <a:rPr lang="it-IT" sz="1600" noProof="1">
                <a:solidFill>
                  <a:prstClr val="white"/>
                </a:solidFill>
                <a:latin typeface="Georgia" panose="02040502050405020303" pitchFamily="18" charset="0"/>
                <a:cs typeface="Georgia"/>
              </a:rPr>
              <a:t>Misura rivolta alle </a:t>
            </a:r>
            <a:r>
              <a:rPr lang="it-IT" sz="1600" noProof="1">
                <a:solidFill>
                  <a:schemeClr val="tx2"/>
                </a:solidFill>
                <a:latin typeface="Georgia" panose="02040502050405020303" pitchFamily="18" charset="0"/>
                <a:cs typeface="Georgia"/>
              </a:rPr>
              <a:t>imprese</a:t>
            </a:r>
            <a:r>
              <a:rPr lang="it-IT" sz="1600" noProof="1">
                <a:solidFill>
                  <a:prstClr val="white"/>
                </a:solidFill>
                <a:latin typeface="Georgia" panose="02040502050405020303" pitchFamily="18" charset="0"/>
                <a:cs typeface="Georgia"/>
              </a:rPr>
              <a:t> di </a:t>
            </a:r>
            <a:r>
              <a:rPr lang="it-IT" sz="1600" noProof="1">
                <a:solidFill>
                  <a:schemeClr val="tx2"/>
                </a:solidFill>
                <a:latin typeface="Georgia" panose="02040502050405020303" pitchFamily="18" charset="0"/>
                <a:cs typeface="Georgia"/>
              </a:rPr>
              <a:t>qualsiasi dimensione</a:t>
            </a:r>
            <a:r>
              <a:rPr lang="it-IT" sz="1600" noProof="1">
                <a:solidFill>
                  <a:prstClr val="white"/>
                </a:solidFill>
                <a:latin typeface="Georgia" panose="02040502050405020303" pitchFamily="18" charset="0"/>
                <a:cs typeface="Georgia"/>
              </a:rPr>
              <a:t>, sia in </a:t>
            </a:r>
            <a:r>
              <a:rPr lang="it-IT" sz="1600" noProof="1">
                <a:solidFill>
                  <a:schemeClr val="tx2"/>
                </a:solidFill>
                <a:latin typeface="Georgia" panose="02040502050405020303" pitchFamily="18" charset="0"/>
                <a:cs typeface="Georgia"/>
              </a:rPr>
              <a:t>forma singola che aggregata (tra 3 e 6 imprese)</a:t>
            </a:r>
            <a:r>
              <a:rPr lang="it-IT" sz="1600" noProof="1">
                <a:solidFill>
                  <a:prstClr val="white"/>
                </a:solidFill>
                <a:latin typeface="Georgia" panose="02040502050405020303" pitchFamily="18" charset="0"/>
                <a:cs typeface="Georgia"/>
              </a:rPr>
              <a:t>, provenienti da tutto il Territorio Nazionale ed Estero, che abbiano in programma </a:t>
            </a:r>
            <a:r>
              <a:rPr lang="it-IT" sz="1600" noProof="1">
                <a:solidFill>
                  <a:schemeClr val="tx2"/>
                </a:solidFill>
                <a:latin typeface="Georgia" panose="02040502050405020303" pitchFamily="18" charset="0"/>
                <a:cs typeface="Georgia"/>
              </a:rPr>
              <a:t>investimenti nelle aree di Melfi, Potenza e Rionero in Vulture</a:t>
            </a:r>
            <a:r>
              <a:rPr lang="it-IT" sz="1600" noProof="1">
                <a:solidFill>
                  <a:schemeClr val="bg1"/>
                </a:solidFill>
                <a:latin typeface="Georgia" panose="02040502050405020303" pitchFamily="18" charset="0"/>
                <a:cs typeface="Georgia"/>
              </a:rPr>
              <a:t>, colpite dalla crisi automobilistica</a:t>
            </a:r>
            <a:endParaRPr lang="pl-PL" sz="1600" noProof="1">
              <a:solidFill>
                <a:schemeClr val="bg1"/>
              </a:solidFill>
              <a:latin typeface="Georgia" panose="02040502050405020303" pitchFamily="18" charset="0"/>
              <a:cs typeface="Georgia"/>
            </a:endParaRPr>
          </a:p>
        </p:txBody>
      </p:sp>
      <p:sp>
        <p:nvSpPr>
          <p:cNvPr id="23" name="Rechteck 22">
            <a:extLst>
              <a:ext uri="{FF2B5EF4-FFF2-40B4-BE49-F238E27FC236}">
                <a16:creationId xmlns:a16="http://schemas.microsoft.com/office/drawing/2014/main" id="{5B8BC0BD-44EE-46BB-9153-0B7F7E2B8D31}"/>
              </a:ext>
            </a:extLst>
          </p:cNvPr>
          <p:cNvSpPr/>
          <p:nvPr/>
        </p:nvSpPr>
        <p:spPr>
          <a:xfrm>
            <a:off x="6086572" y="2812659"/>
            <a:ext cx="5762921" cy="3216971"/>
          </a:xfrm>
          <a:prstGeom prst="rect">
            <a:avLst/>
          </a:prstGeom>
        </p:spPr>
        <p:txBody>
          <a:bodyPr wrap="square" lIns="0" tIns="0" rIns="0" bIns="0">
            <a:spAutoFit/>
          </a:bodyPr>
          <a:lstStyle/>
          <a:p>
            <a:pPr algn="just" defTabSz="913943">
              <a:lnSpc>
                <a:spcPct val="110000"/>
              </a:lnSpc>
              <a:buClr>
                <a:srgbClr val="FFE600"/>
              </a:buClr>
              <a:buSzPct val="70000"/>
            </a:pPr>
            <a:r>
              <a:rPr lang="it-IT" sz="1399">
                <a:solidFill>
                  <a:prstClr val="white"/>
                </a:solidFill>
                <a:latin typeface="EYInterstate Light"/>
              </a:rPr>
              <a:t>COMUNI DEL SISTEMA LOCALE DEL LAVORO DI </a:t>
            </a:r>
            <a:r>
              <a:rPr lang="it-IT" sz="1399">
                <a:solidFill>
                  <a:schemeClr val="tx2"/>
                </a:solidFill>
                <a:latin typeface="EYInterstate Light"/>
              </a:rPr>
              <a:t>MELFI</a:t>
            </a:r>
            <a:r>
              <a:rPr lang="it-IT" sz="1399">
                <a:solidFill>
                  <a:prstClr val="white"/>
                </a:solidFill>
                <a:latin typeface="EYInterstate Light"/>
              </a:rPr>
              <a:t>:  </a:t>
            </a:r>
          </a:p>
          <a:p>
            <a:pPr marL="197901" indent="-197901" algn="just" defTabSz="913943">
              <a:lnSpc>
                <a:spcPct val="110000"/>
              </a:lnSpc>
              <a:spcAft>
                <a:spcPts val="600"/>
              </a:spcAft>
              <a:buClr>
                <a:srgbClr val="FFE600"/>
              </a:buClr>
              <a:buSzPct val="70000"/>
              <a:buFont typeface="Arial" panose="020B0604020202020204" pitchFamily="34" charset="0"/>
              <a:buChar char="►"/>
            </a:pPr>
            <a:r>
              <a:rPr lang="it-IT" sz="1399">
                <a:solidFill>
                  <a:prstClr val="white"/>
                </a:solidFill>
                <a:latin typeface="EYInterstate Light"/>
              </a:rPr>
              <a:t>Banzi, Forenza, Ginestra, Lavello, Maschito, Melfi, Montemilone, Palazzo San Gervasio, Rapolla, Ripacandida, Venosa;  </a:t>
            </a:r>
          </a:p>
          <a:p>
            <a:pPr algn="just" defTabSz="913943">
              <a:lnSpc>
                <a:spcPct val="110000"/>
              </a:lnSpc>
              <a:buClr>
                <a:srgbClr val="FFE600"/>
              </a:buClr>
              <a:buSzPct val="70000"/>
            </a:pPr>
            <a:r>
              <a:rPr lang="it-IT" sz="1399">
                <a:solidFill>
                  <a:prstClr val="white"/>
                </a:solidFill>
                <a:latin typeface="EYInterstate Light"/>
              </a:rPr>
              <a:t>COMUNI DEL SISTEMA LOCALE DEL LAVORO DI RIONERO IN </a:t>
            </a:r>
            <a:r>
              <a:rPr lang="it-IT" sz="1399">
                <a:solidFill>
                  <a:schemeClr val="tx2"/>
                </a:solidFill>
                <a:latin typeface="EYInterstate Light"/>
              </a:rPr>
              <a:t>VULTURE</a:t>
            </a:r>
            <a:r>
              <a:rPr lang="it-IT" sz="1399">
                <a:solidFill>
                  <a:prstClr val="white"/>
                </a:solidFill>
                <a:latin typeface="EYInterstate Light"/>
              </a:rPr>
              <a:t>:  </a:t>
            </a:r>
          </a:p>
          <a:p>
            <a:pPr marL="197901" indent="-197901" algn="just" defTabSz="913943">
              <a:lnSpc>
                <a:spcPct val="110000"/>
              </a:lnSpc>
              <a:spcAft>
                <a:spcPts val="600"/>
              </a:spcAft>
              <a:buClr>
                <a:srgbClr val="FFE600"/>
              </a:buClr>
              <a:buSzPct val="70000"/>
              <a:buFont typeface="Arial" panose="020B0604020202020204" pitchFamily="34" charset="0"/>
              <a:buChar char="►"/>
            </a:pPr>
            <a:r>
              <a:rPr lang="it-IT" sz="1399">
                <a:solidFill>
                  <a:prstClr val="white"/>
                </a:solidFill>
                <a:latin typeface="EYInterstate Light"/>
              </a:rPr>
              <a:t>Atella, Barile, Filiano, Rionero in Vulture, Ruvo del Monte, San Fele;  </a:t>
            </a:r>
          </a:p>
          <a:p>
            <a:pPr algn="just" defTabSz="913943">
              <a:lnSpc>
                <a:spcPct val="110000"/>
              </a:lnSpc>
              <a:buClr>
                <a:srgbClr val="FFE600"/>
              </a:buClr>
              <a:buSzPct val="70000"/>
            </a:pPr>
            <a:r>
              <a:rPr lang="it-IT" sz="1399">
                <a:solidFill>
                  <a:prstClr val="white"/>
                </a:solidFill>
                <a:latin typeface="EYInterstate Light"/>
              </a:rPr>
              <a:t>COMUNI DEL SISTEMA LOCALE DEL LAVORO DI </a:t>
            </a:r>
            <a:r>
              <a:rPr lang="it-IT" sz="1399">
                <a:solidFill>
                  <a:schemeClr val="tx2"/>
                </a:solidFill>
                <a:latin typeface="EYInterstate Light"/>
              </a:rPr>
              <a:t>POTENZA</a:t>
            </a:r>
            <a:r>
              <a:rPr lang="it-IT" sz="1399">
                <a:solidFill>
                  <a:prstClr val="white"/>
                </a:solidFill>
                <a:latin typeface="EYInterstate Light"/>
              </a:rPr>
              <a:t>:  </a:t>
            </a:r>
          </a:p>
          <a:p>
            <a:pPr marL="197901" indent="-197901" algn="just" defTabSz="913943">
              <a:lnSpc>
                <a:spcPct val="110000"/>
              </a:lnSpc>
              <a:spcAft>
                <a:spcPts val="600"/>
              </a:spcAft>
              <a:buClr>
                <a:srgbClr val="FFE600"/>
              </a:buClr>
              <a:buSzPct val="70000"/>
              <a:buFont typeface="Arial" panose="020B0604020202020204" pitchFamily="34" charset="0"/>
              <a:buChar char="►"/>
            </a:pPr>
            <a:r>
              <a:rPr lang="it-IT" sz="1399">
                <a:solidFill>
                  <a:prstClr val="white"/>
                </a:solidFill>
                <a:latin typeface="EYInterstate Light"/>
              </a:rPr>
              <a:t>Abriola, Acerenza, Albano di Lucania, Anzi, Avigliano, Balvano, Baragiano, Bella, Brindisi Montagna, Calvello, Campomaggiore, Cancellara, Castelmezzano, Genzano di Lucania, Laurenzana, Muro Lucano, Oppido Lucano, Picerno, Pietragalla, Pietrapertosa, Pignola, Potenza, Ruoti, San Chirico Nuovo, Sant’Angelo Le Fratte, Satriano di Lucania, Savoia di Lucania, Tito, Tolve, Trivigno, Vaglio Basilicata, Vietri di Potenza. </a:t>
            </a:r>
            <a:endParaRPr lang="en-US" sz="1399">
              <a:solidFill>
                <a:prstClr val="white"/>
              </a:solidFill>
              <a:latin typeface="EYInterstate Light"/>
            </a:endParaRPr>
          </a:p>
        </p:txBody>
      </p:sp>
      <p:grpSp>
        <p:nvGrpSpPr>
          <p:cNvPr id="2" name="Group 1">
            <a:extLst>
              <a:ext uri="{FF2B5EF4-FFF2-40B4-BE49-F238E27FC236}">
                <a16:creationId xmlns:a16="http://schemas.microsoft.com/office/drawing/2014/main" id="{EDBBA39D-52E4-F4C9-3BF5-FE9F2D4A6243}"/>
              </a:ext>
            </a:extLst>
          </p:cNvPr>
          <p:cNvGrpSpPr/>
          <p:nvPr/>
        </p:nvGrpSpPr>
        <p:grpSpPr>
          <a:xfrm>
            <a:off x="0" y="1065319"/>
            <a:ext cx="5965794" cy="5672831"/>
            <a:chOff x="1372432" y="927716"/>
            <a:chExt cx="7125625" cy="6944465"/>
          </a:xfrm>
        </p:grpSpPr>
        <p:pic>
          <p:nvPicPr>
            <p:cNvPr id="3" name="Picture 2" descr="A map of the country&#10;&#10;Description automatically generated">
              <a:extLst>
                <a:ext uri="{FF2B5EF4-FFF2-40B4-BE49-F238E27FC236}">
                  <a16:creationId xmlns:a16="http://schemas.microsoft.com/office/drawing/2014/main" id="{414497CB-687B-065B-BC81-CB71B4DCB6BA}"/>
                </a:ext>
              </a:extLst>
            </p:cNvPr>
            <p:cNvPicPr>
              <a:picLocks noChangeAspect="1"/>
            </p:cNvPicPr>
            <p:nvPr/>
          </p:nvPicPr>
          <p:blipFill rotWithShape="1">
            <a:blip r:embed="rId6"/>
            <a:srcRect r="8988"/>
            <a:stretch/>
          </p:blipFill>
          <p:spPr>
            <a:xfrm>
              <a:off x="1372432" y="927716"/>
              <a:ext cx="5010613" cy="4114800"/>
            </a:xfrm>
            <a:prstGeom prst="rect">
              <a:avLst/>
            </a:prstGeom>
          </p:spPr>
        </p:pic>
        <p:pic>
          <p:nvPicPr>
            <p:cNvPr id="6" name="Picture 5" descr="A map of the country&#10;&#10;Description automatically generated">
              <a:extLst>
                <a:ext uri="{FF2B5EF4-FFF2-40B4-BE49-F238E27FC236}">
                  <a16:creationId xmlns:a16="http://schemas.microsoft.com/office/drawing/2014/main" id="{0D651FC2-E8BB-3132-E37A-D388B2E32059}"/>
                </a:ext>
              </a:extLst>
            </p:cNvPr>
            <p:cNvPicPr>
              <a:picLocks noChangeAspect="1"/>
            </p:cNvPicPr>
            <p:nvPr/>
          </p:nvPicPr>
          <p:blipFill>
            <a:blip r:embed="rId7"/>
            <a:stretch>
              <a:fillRect/>
            </a:stretch>
          </p:blipFill>
          <p:spPr>
            <a:xfrm>
              <a:off x="2078207" y="4347931"/>
              <a:ext cx="6419850" cy="3524250"/>
            </a:xfrm>
            <a:prstGeom prst="rect">
              <a:avLst/>
            </a:prstGeom>
          </p:spPr>
        </p:pic>
      </p:grpSp>
      <p:sp>
        <p:nvSpPr>
          <p:cNvPr id="10" name="Freeform 25">
            <a:extLst>
              <a:ext uri="{FF2B5EF4-FFF2-40B4-BE49-F238E27FC236}">
                <a16:creationId xmlns:a16="http://schemas.microsoft.com/office/drawing/2014/main" id="{2AF830F2-051B-6B28-A009-5E38C569D535}"/>
              </a:ext>
            </a:extLst>
          </p:cNvPr>
          <p:cNvSpPr>
            <a:spLocks noChangeAspect="1"/>
          </p:cNvSpPr>
          <p:nvPr/>
        </p:nvSpPr>
        <p:spPr bwMode="gray">
          <a:xfrm>
            <a:off x="3950910" y="4399632"/>
            <a:ext cx="595585" cy="653135"/>
          </a:xfrm>
          <a:custGeom>
            <a:avLst/>
            <a:gdLst>
              <a:gd name="T0" fmla="*/ 30 w 307"/>
              <a:gd name="T1" fmla="*/ 13 h 319"/>
              <a:gd name="T2" fmla="*/ 40 w 307"/>
              <a:gd name="T3" fmla="*/ 36 h 319"/>
              <a:gd name="T4" fmla="*/ 23 w 307"/>
              <a:gd name="T5" fmla="*/ 70 h 319"/>
              <a:gd name="T6" fmla="*/ 0 w 307"/>
              <a:gd name="T7" fmla="*/ 70 h 319"/>
              <a:gd name="T8" fmla="*/ 1 w 307"/>
              <a:gd name="T9" fmla="*/ 103 h 319"/>
              <a:gd name="T10" fmla="*/ 36 w 307"/>
              <a:gd name="T11" fmla="*/ 146 h 319"/>
              <a:gd name="T12" fmla="*/ 51 w 307"/>
              <a:gd name="T13" fmla="*/ 180 h 319"/>
              <a:gd name="T14" fmla="*/ 73 w 307"/>
              <a:gd name="T15" fmla="*/ 196 h 319"/>
              <a:gd name="T16" fmla="*/ 86 w 307"/>
              <a:gd name="T17" fmla="*/ 231 h 319"/>
              <a:gd name="T18" fmla="*/ 64 w 307"/>
              <a:gd name="T19" fmla="*/ 273 h 319"/>
              <a:gd name="T20" fmla="*/ 82 w 307"/>
              <a:gd name="T21" fmla="*/ 314 h 319"/>
              <a:gd name="T22" fmla="*/ 98 w 307"/>
              <a:gd name="T23" fmla="*/ 295 h 319"/>
              <a:gd name="T24" fmla="*/ 133 w 307"/>
              <a:gd name="T25" fmla="*/ 295 h 319"/>
              <a:gd name="T26" fmla="*/ 149 w 307"/>
              <a:gd name="T27" fmla="*/ 319 h 319"/>
              <a:gd name="T28" fmla="*/ 189 w 307"/>
              <a:gd name="T29" fmla="*/ 309 h 319"/>
              <a:gd name="T30" fmla="*/ 205 w 307"/>
              <a:gd name="T31" fmla="*/ 313 h 319"/>
              <a:gd name="T32" fmla="*/ 202 w 307"/>
              <a:gd name="T33" fmla="*/ 300 h 319"/>
              <a:gd name="T34" fmla="*/ 214 w 307"/>
              <a:gd name="T35" fmla="*/ 267 h 319"/>
              <a:gd name="T36" fmla="*/ 214 w 307"/>
              <a:gd name="T37" fmla="*/ 253 h 319"/>
              <a:gd name="T38" fmla="*/ 276 w 307"/>
              <a:gd name="T39" fmla="*/ 254 h 319"/>
              <a:gd name="T40" fmla="*/ 307 w 307"/>
              <a:gd name="T41" fmla="*/ 192 h 319"/>
              <a:gd name="T42" fmla="*/ 294 w 307"/>
              <a:gd name="T43" fmla="*/ 174 h 319"/>
              <a:gd name="T44" fmla="*/ 277 w 307"/>
              <a:gd name="T45" fmla="*/ 171 h 319"/>
              <a:gd name="T46" fmla="*/ 264 w 307"/>
              <a:gd name="T47" fmla="*/ 99 h 319"/>
              <a:gd name="T48" fmla="*/ 225 w 307"/>
              <a:gd name="T49" fmla="*/ 94 h 319"/>
              <a:gd name="T50" fmla="*/ 215 w 307"/>
              <a:gd name="T51" fmla="*/ 105 h 319"/>
              <a:gd name="T52" fmla="*/ 157 w 307"/>
              <a:gd name="T53" fmla="*/ 53 h 319"/>
              <a:gd name="T54" fmla="*/ 146 w 307"/>
              <a:gd name="T55" fmla="*/ 57 h 319"/>
              <a:gd name="T56" fmla="*/ 121 w 307"/>
              <a:gd name="T57" fmla="*/ 40 h 319"/>
              <a:gd name="T58" fmla="*/ 129 w 307"/>
              <a:gd name="T59" fmla="*/ 25 h 319"/>
              <a:gd name="T60" fmla="*/ 98 w 307"/>
              <a:gd name="T61" fmla="*/ 0 h 319"/>
              <a:gd name="T62" fmla="*/ 82 w 307"/>
              <a:gd name="T63" fmla="*/ 13 h 319"/>
              <a:gd name="T64" fmla="*/ 57 w 307"/>
              <a:gd name="T65" fmla="*/ 11 h 319"/>
              <a:gd name="T66" fmla="*/ 30 w 307"/>
              <a:gd name="T67" fmla="*/ 13 h 319"/>
              <a:gd name="T68" fmla="*/ 30 w 307"/>
              <a:gd name="T69" fmla="*/ 13 h 319"/>
              <a:gd name="T70" fmla="*/ 30 w 307"/>
              <a:gd name="T71" fmla="*/ 13 h 31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319"/>
              <a:gd name="T110" fmla="*/ 307 w 307"/>
              <a:gd name="T111" fmla="*/ 319 h 31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319">
                <a:moveTo>
                  <a:pt x="30" y="13"/>
                </a:moveTo>
                <a:lnTo>
                  <a:pt x="40" y="36"/>
                </a:lnTo>
                <a:lnTo>
                  <a:pt x="23" y="70"/>
                </a:lnTo>
                <a:lnTo>
                  <a:pt x="0" y="70"/>
                </a:lnTo>
                <a:lnTo>
                  <a:pt x="1" y="103"/>
                </a:lnTo>
                <a:lnTo>
                  <a:pt x="36" y="146"/>
                </a:lnTo>
                <a:lnTo>
                  <a:pt x="51" y="180"/>
                </a:lnTo>
                <a:lnTo>
                  <a:pt x="73" y="196"/>
                </a:lnTo>
                <a:lnTo>
                  <a:pt x="86" y="231"/>
                </a:lnTo>
                <a:lnTo>
                  <a:pt x="64" y="273"/>
                </a:lnTo>
                <a:lnTo>
                  <a:pt x="82" y="314"/>
                </a:lnTo>
                <a:lnTo>
                  <a:pt x="98" y="295"/>
                </a:lnTo>
                <a:lnTo>
                  <a:pt x="133" y="295"/>
                </a:lnTo>
                <a:lnTo>
                  <a:pt x="149" y="319"/>
                </a:lnTo>
                <a:lnTo>
                  <a:pt x="189" y="309"/>
                </a:lnTo>
                <a:lnTo>
                  <a:pt x="205" y="313"/>
                </a:lnTo>
                <a:lnTo>
                  <a:pt x="202" y="300"/>
                </a:lnTo>
                <a:lnTo>
                  <a:pt x="214" y="267"/>
                </a:lnTo>
                <a:lnTo>
                  <a:pt x="214" y="253"/>
                </a:lnTo>
                <a:lnTo>
                  <a:pt x="276" y="254"/>
                </a:lnTo>
                <a:lnTo>
                  <a:pt x="307" y="192"/>
                </a:lnTo>
                <a:lnTo>
                  <a:pt x="294" y="174"/>
                </a:lnTo>
                <a:lnTo>
                  <a:pt x="277" y="171"/>
                </a:lnTo>
                <a:lnTo>
                  <a:pt x="264" y="99"/>
                </a:lnTo>
                <a:lnTo>
                  <a:pt x="225" y="94"/>
                </a:lnTo>
                <a:lnTo>
                  <a:pt x="215" y="105"/>
                </a:lnTo>
                <a:lnTo>
                  <a:pt x="157" y="53"/>
                </a:lnTo>
                <a:lnTo>
                  <a:pt x="146" y="57"/>
                </a:lnTo>
                <a:lnTo>
                  <a:pt x="121" y="40"/>
                </a:lnTo>
                <a:lnTo>
                  <a:pt x="129" y="25"/>
                </a:lnTo>
                <a:lnTo>
                  <a:pt x="98" y="0"/>
                </a:lnTo>
                <a:lnTo>
                  <a:pt x="82" y="13"/>
                </a:lnTo>
                <a:lnTo>
                  <a:pt x="57" y="11"/>
                </a:lnTo>
                <a:lnTo>
                  <a:pt x="30" y="13"/>
                </a:lnTo>
                <a:close/>
              </a:path>
            </a:pathLst>
          </a:custGeom>
          <a:noFill/>
          <a:ln w="38100">
            <a:solidFill>
              <a:srgbClr val="FFE600"/>
            </a:solidFill>
            <a:round/>
            <a:headEnd/>
            <a:tailEnd/>
          </a:ln>
        </p:spPr>
        <p:txBody>
          <a:bodyPr/>
          <a:lstStyle/>
          <a:p>
            <a:pPr>
              <a:defRPr/>
            </a:pPr>
            <a:endParaRPr lang="en-US"/>
          </a:p>
        </p:txBody>
      </p:sp>
      <p:cxnSp>
        <p:nvCxnSpPr>
          <p:cNvPr id="11" name="Straight Connector 10">
            <a:extLst>
              <a:ext uri="{FF2B5EF4-FFF2-40B4-BE49-F238E27FC236}">
                <a16:creationId xmlns:a16="http://schemas.microsoft.com/office/drawing/2014/main" id="{D9AB3029-1D02-6D81-5B9F-E756C1CCE6D8}"/>
              </a:ext>
            </a:extLst>
          </p:cNvPr>
          <p:cNvCxnSpPr>
            <a:cxnSpLocks/>
            <a:stCxn id="10" idx="13"/>
            <a:endCxn id="26" idx="0"/>
          </p:cNvCxnSpPr>
          <p:nvPr/>
        </p:nvCxnSpPr>
        <p:spPr>
          <a:xfrm>
            <a:off x="4239972" y="5052767"/>
            <a:ext cx="1846600" cy="1039913"/>
          </a:xfrm>
          <a:prstGeom prst="line">
            <a:avLst/>
          </a:prstGeom>
          <a:ln w="38100">
            <a:solidFill>
              <a:srgbClr val="FFE60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E2D901A-7CFE-D7BD-2DB0-EF417D9E39EB}"/>
              </a:ext>
            </a:extLst>
          </p:cNvPr>
          <p:cNvCxnSpPr>
            <a:cxnSpLocks/>
            <a:stCxn id="10" idx="31"/>
            <a:endCxn id="17" idx="0"/>
          </p:cNvCxnSpPr>
          <p:nvPr/>
        </p:nvCxnSpPr>
        <p:spPr>
          <a:xfrm flipV="1">
            <a:off x="4109991" y="2678602"/>
            <a:ext cx="1976581" cy="1747647"/>
          </a:xfrm>
          <a:prstGeom prst="line">
            <a:avLst/>
          </a:prstGeom>
          <a:ln w="38100">
            <a:solidFill>
              <a:srgbClr val="FFE6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6" name="Line 10">
            <a:extLst>
              <a:ext uri="{FF2B5EF4-FFF2-40B4-BE49-F238E27FC236}">
                <a16:creationId xmlns:a16="http://schemas.microsoft.com/office/drawing/2014/main" id="{8AC5B67C-8571-B2DA-D5EE-A1C8C52B1CB8}"/>
              </a:ext>
            </a:extLst>
          </p:cNvPr>
          <p:cNvSpPr>
            <a:spLocks noChangeShapeType="1"/>
          </p:cNvSpPr>
          <p:nvPr/>
        </p:nvSpPr>
        <p:spPr bwMode="auto">
          <a:xfrm>
            <a:off x="6086572" y="609268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endParaRPr lang="en-US" sz="1799">
              <a:solidFill>
                <a:prstClr val="white"/>
              </a:solidFill>
              <a:latin typeface="EYInterstate Light"/>
            </a:endParaRPr>
          </a:p>
        </p:txBody>
      </p:sp>
      <p:sp>
        <p:nvSpPr>
          <p:cNvPr id="33" name="CasellaDiTesto 4">
            <a:extLst>
              <a:ext uri="{FF2B5EF4-FFF2-40B4-BE49-F238E27FC236}">
                <a16:creationId xmlns:a16="http://schemas.microsoft.com/office/drawing/2014/main" id="{2DCFCB34-BB75-4AF6-BE87-4522476E50F6}"/>
              </a:ext>
            </a:extLst>
          </p:cNvPr>
          <p:cNvSpPr txBox="1"/>
          <p:nvPr/>
        </p:nvSpPr>
        <p:spPr>
          <a:xfrm>
            <a:off x="4109991" y="6493852"/>
            <a:ext cx="7295036" cy="244298"/>
          </a:xfrm>
          <a:prstGeom prst="rect">
            <a:avLst/>
          </a:prstGeom>
          <a:noFill/>
        </p:spPr>
        <p:txBody>
          <a:bodyPr wrap="square">
            <a:spAutoFit/>
          </a:bodyPr>
          <a:lstStyle/>
          <a:p>
            <a:pPr marL="0" marR="0" lvl="0" indent="0" algn="just" defTabSz="829178" rtl="0" eaLnBrk="1" fontAlgn="auto" latinLnBrk="0" hangingPunct="1">
              <a:lnSpc>
                <a:spcPct val="105000"/>
              </a:lnSpc>
              <a:spcBef>
                <a:spcPts val="300"/>
              </a:spcBef>
              <a:spcAft>
                <a:spcPts val="0"/>
              </a:spcAft>
              <a:buClr>
                <a:srgbClr val="FFE600"/>
              </a:buClr>
              <a:buSzTx/>
              <a:buFontTx/>
              <a:buNone/>
              <a:tabLst/>
              <a:defRPr/>
            </a:pPr>
            <a:r>
              <a:rPr lang="it-IT" sz="1000">
                <a:solidFill>
                  <a:schemeClr val="bg1"/>
                </a:solidFill>
                <a:latin typeface="EYInterstate Light" panose="02000506000000020004" pitchFamily="2" charset="0"/>
              </a:rPr>
              <a:t>La Regione Basilicata rientra nella Zona A come individuato nella Carta degli aiuti di Stato a finalità regionale 2022-2027</a:t>
            </a:r>
            <a:endParaRPr kumimoji="0" lang="it-IT" sz="1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endParaRPr>
          </a:p>
        </p:txBody>
      </p:sp>
      <p:pic>
        <p:nvPicPr>
          <p:cNvPr id="35" name="Graphic 34">
            <a:extLst>
              <a:ext uri="{FF2B5EF4-FFF2-40B4-BE49-F238E27FC236}">
                <a16:creationId xmlns:a16="http://schemas.microsoft.com/office/drawing/2014/main" id="{E8C2C7C7-E008-B1B1-4096-0EDCFB3BC5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19437" y="1176478"/>
            <a:ext cx="900000" cy="781582"/>
          </a:xfrm>
          <a:prstGeom prst="rect">
            <a:avLst/>
          </a:prstGeom>
        </p:spPr>
      </p:pic>
    </p:spTree>
    <p:extLst>
      <p:ext uri="{BB962C8B-B14F-4D97-AF65-F5344CB8AC3E}">
        <p14:creationId xmlns:p14="http://schemas.microsoft.com/office/powerpoint/2010/main" val="41000556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a:t>Focus investimenti ammissibili</a:t>
            </a:r>
          </a:p>
        </p:txBody>
      </p:sp>
      <p:sp>
        <p:nvSpPr>
          <p:cNvPr id="7" name="Rechteck 11">
            <a:extLst>
              <a:ext uri="{FF2B5EF4-FFF2-40B4-BE49-F238E27FC236}">
                <a16:creationId xmlns:a16="http://schemas.microsoft.com/office/drawing/2014/main" id="{AD7F4570-9171-F535-6539-7D0AB24A38C0}"/>
              </a:ext>
            </a:extLst>
          </p:cNvPr>
          <p:cNvSpPr>
            <a:spLocks/>
          </p:cNvSpPr>
          <p:nvPr/>
        </p:nvSpPr>
        <p:spPr>
          <a:xfrm>
            <a:off x="5417207" y="1140979"/>
            <a:ext cx="2605122" cy="246221"/>
          </a:xfrm>
          <a:prstGeom prst="rect">
            <a:avLst/>
          </a:prstGeom>
        </p:spPr>
        <p:txBody>
          <a:bodyPr wrap="square" lIns="108000" tIns="0" rIns="0" bIns="0">
            <a:spAutoFit/>
          </a:bodyPr>
          <a:lstStyle/>
          <a:p>
            <a:pPr algn="r"/>
            <a:r>
              <a:rPr lang="en-US" sz="1600" dirty="0" err="1">
                <a:solidFill>
                  <a:schemeClr val="tx2"/>
                </a:solidFill>
              </a:rPr>
              <a:t>Investimenti</a:t>
            </a:r>
            <a:r>
              <a:rPr lang="en-US" sz="1600" dirty="0">
                <a:solidFill>
                  <a:schemeClr val="tx2"/>
                </a:solidFill>
              </a:rPr>
              <a:t> </a:t>
            </a:r>
            <a:r>
              <a:rPr lang="en-US" sz="1600" dirty="0" err="1">
                <a:solidFill>
                  <a:schemeClr val="tx2"/>
                </a:solidFill>
              </a:rPr>
              <a:t>Produttivi</a:t>
            </a:r>
            <a:endParaRPr lang="en-US" sz="1600" dirty="0">
              <a:solidFill>
                <a:schemeClr val="tx2"/>
              </a:solidFill>
            </a:endParaRPr>
          </a:p>
        </p:txBody>
      </p:sp>
      <p:sp>
        <p:nvSpPr>
          <p:cNvPr id="9" name="Rechteck 14">
            <a:extLst>
              <a:ext uri="{FF2B5EF4-FFF2-40B4-BE49-F238E27FC236}">
                <a16:creationId xmlns:a16="http://schemas.microsoft.com/office/drawing/2014/main" id="{AF893A03-67E2-BF08-1477-7B678879A484}"/>
              </a:ext>
            </a:extLst>
          </p:cNvPr>
          <p:cNvSpPr>
            <a:spLocks/>
          </p:cNvSpPr>
          <p:nvPr/>
        </p:nvSpPr>
        <p:spPr>
          <a:xfrm>
            <a:off x="8845343" y="1140979"/>
            <a:ext cx="2232248" cy="492443"/>
          </a:xfrm>
          <a:prstGeom prst="rect">
            <a:avLst/>
          </a:prstGeom>
        </p:spPr>
        <p:txBody>
          <a:bodyPr wrap="square" lIns="108000" tIns="0" rIns="0" bIns="0">
            <a:spAutoFit/>
          </a:bodyPr>
          <a:lstStyle/>
          <a:p>
            <a:pPr algn="r"/>
            <a:r>
              <a:rPr lang="en-US" sz="1600" dirty="0" err="1">
                <a:solidFill>
                  <a:schemeClr val="tx2"/>
                </a:solidFill>
              </a:rPr>
              <a:t>Investimenti</a:t>
            </a:r>
            <a:r>
              <a:rPr lang="en-US" sz="1600" dirty="0">
                <a:solidFill>
                  <a:schemeClr val="tx2"/>
                </a:solidFill>
              </a:rPr>
              <a:t> per la tutela </a:t>
            </a:r>
            <a:r>
              <a:rPr lang="en-US" sz="1600" dirty="0" err="1">
                <a:solidFill>
                  <a:schemeClr val="tx2"/>
                </a:solidFill>
              </a:rPr>
              <a:t>ambientale</a:t>
            </a:r>
            <a:endParaRPr lang="de-DE" sz="1600" dirty="0">
              <a:solidFill>
                <a:schemeClr val="tx2"/>
              </a:solidFill>
            </a:endParaRPr>
          </a:p>
        </p:txBody>
      </p:sp>
      <p:sp>
        <p:nvSpPr>
          <p:cNvPr id="12" name="Inhaltsplatzhalter 2">
            <a:extLst>
              <a:ext uri="{FF2B5EF4-FFF2-40B4-BE49-F238E27FC236}">
                <a16:creationId xmlns:a16="http://schemas.microsoft.com/office/drawing/2014/main" id="{2083C2E2-D0E7-530E-03DD-C5A396FD6F95}"/>
              </a:ext>
            </a:extLst>
          </p:cNvPr>
          <p:cNvSpPr txBox="1">
            <a:spLocks/>
          </p:cNvSpPr>
          <p:nvPr/>
        </p:nvSpPr>
        <p:spPr>
          <a:xfrm>
            <a:off x="5005634" y="1760168"/>
            <a:ext cx="3136436" cy="1963419"/>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0"/>
              </a:spcBef>
              <a:buClr>
                <a:schemeClr val="tx2">
                  <a:lumMod val="100000"/>
                </a:schemeClr>
              </a:buClr>
              <a:buNone/>
            </a:pPr>
            <a:r>
              <a:rPr lang="it-IT" sz="1200" dirty="0"/>
              <a:t>INVESTIMENTI VOLTI A:</a:t>
            </a:r>
          </a:p>
          <a:p>
            <a:pPr marL="179388" indent="-179388">
              <a:lnSpc>
                <a:spcPct val="110000"/>
              </a:lnSpc>
              <a:spcBef>
                <a:spcPts val="0"/>
              </a:spcBef>
              <a:buClr>
                <a:schemeClr val="tx2">
                  <a:lumMod val="100000"/>
                </a:schemeClr>
              </a:buClr>
            </a:pPr>
            <a:r>
              <a:rPr lang="it-IT" sz="1200" dirty="0"/>
              <a:t>realizzare nuove unità produttive tramite l’adozione di soluzioni innovative rispetto al mercato di riferimento</a:t>
            </a:r>
            <a:r>
              <a:rPr lang="en-US" sz="1200" dirty="0"/>
              <a:t>;</a:t>
            </a:r>
          </a:p>
          <a:p>
            <a:pPr marL="179388" indent="-179388">
              <a:lnSpc>
                <a:spcPct val="110000"/>
              </a:lnSpc>
              <a:spcBef>
                <a:spcPts val="0"/>
              </a:spcBef>
              <a:buClr>
                <a:schemeClr val="tx2">
                  <a:lumMod val="100000"/>
                </a:schemeClr>
              </a:buClr>
            </a:pPr>
            <a:r>
              <a:rPr lang="it-IT" sz="1200" dirty="0"/>
              <a:t>ampliare/riqualificare unità produttive esistenti tramite diversificazione della produzione o cambiamento del processo produttivo;</a:t>
            </a:r>
          </a:p>
          <a:p>
            <a:pPr marL="179388" indent="-179388">
              <a:lnSpc>
                <a:spcPct val="110000"/>
              </a:lnSpc>
              <a:spcBef>
                <a:spcPts val="0"/>
              </a:spcBef>
              <a:buClr>
                <a:schemeClr val="tx2">
                  <a:lumMod val="100000"/>
                </a:schemeClr>
              </a:buClr>
            </a:pPr>
            <a:r>
              <a:rPr lang="it-IT" sz="1200" dirty="0"/>
              <a:t>realizzare nuove unità produttive/ampliare unità produttive esistenti;</a:t>
            </a:r>
          </a:p>
          <a:p>
            <a:pPr marL="179388" indent="-179388">
              <a:lnSpc>
                <a:spcPct val="110000"/>
              </a:lnSpc>
              <a:spcBef>
                <a:spcPts val="0"/>
              </a:spcBef>
              <a:buClr>
                <a:schemeClr val="tx2">
                  <a:lumMod val="100000"/>
                </a:schemeClr>
              </a:buClr>
            </a:pPr>
            <a:r>
              <a:rPr lang="it-IT" sz="1200" dirty="0"/>
              <a:t>acquisire attivi di uno stabilimento.</a:t>
            </a:r>
            <a:endParaRPr lang="en-US" sz="1200" dirty="0"/>
          </a:p>
        </p:txBody>
      </p:sp>
      <p:sp>
        <p:nvSpPr>
          <p:cNvPr id="13" name="Inhaltsplatzhalter 2">
            <a:extLst>
              <a:ext uri="{FF2B5EF4-FFF2-40B4-BE49-F238E27FC236}">
                <a16:creationId xmlns:a16="http://schemas.microsoft.com/office/drawing/2014/main" id="{DED1D366-0125-D613-EE79-C5384D6B413C}"/>
              </a:ext>
            </a:extLst>
          </p:cNvPr>
          <p:cNvSpPr txBox="1">
            <a:spLocks/>
          </p:cNvSpPr>
          <p:nvPr/>
        </p:nvSpPr>
        <p:spPr>
          <a:xfrm>
            <a:off x="8324055" y="1760168"/>
            <a:ext cx="3581999" cy="2038833"/>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spcBef>
                <a:spcPts val="0"/>
              </a:spcBef>
              <a:buClr>
                <a:schemeClr val="tx2">
                  <a:lumMod val="100000"/>
                </a:schemeClr>
              </a:buClr>
              <a:buNone/>
            </a:pPr>
            <a:r>
              <a:rPr lang="it-IT" sz="1200" dirty="0"/>
              <a:t>INVESTIMENTI VOLTI A:</a:t>
            </a:r>
          </a:p>
          <a:p>
            <a:pPr marL="179388" indent="-179388">
              <a:lnSpc>
                <a:spcPct val="110000"/>
              </a:lnSpc>
              <a:spcBef>
                <a:spcPts val="0"/>
              </a:spcBef>
              <a:buClr>
                <a:schemeClr val="tx2">
                  <a:lumMod val="100000"/>
                </a:schemeClr>
              </a:buClr>
            </a:pPr>
            <a:r>
              <a:rPr lang="it-IT" sz="1200" dirty="0"/>
              <a:t>ridurre/eliminare le emissioni di gas a effetto serra;</a:t>
            </a:r>
          </a:p>
          <a:p>
            <a:pPr marL="179388" indent="-179388">
              <a:lnSpc>
                <a:spcPct val="110000"/>
              </a:lnSpc>
              <a:spcBef>
                <a:spcPts val="0"/>
              </a:spcBef>
              <a:buClr>
                <a:schemeClr val="tx2">
                  <a:lumMod val="100000"/>
                </a:schemeClr>
              </a:buClr>
            </a:pPr>
            <a:r>
              <a:rPr lang="it-IT" sz="1200" dirty="0"/>
              <a:t>introdurre misure di efficienza energetica;</a:t>
            </a:r>
          </a:p>
          <a:p>
            <a:pPr marL="179388" indent="-179388">
              <a:lnSpc>
                <a:spcPct val="110000"/>
              </a:lnSpc>
              <a:spcBef>
                <a:spcPts val="0"/>
              </a:spcBef>
              <a:buClr>
                <a:schemeClr val="tx2">
                  <a:lumMod val="100000"/>
                </a:schemeClr>
              </a:buClr>
            </a:pPr>
            <a:r>
              <a:rPr lang="it-IT" sz="1200" dirty="0"/>
              <a:t>promuovere l’uso dell’energia da fonti rinnovabili, dell’idrogeno rinnovabile e della cogenerazione ad alto rendimento;</a:t>
            </a:r>
          </a:p>
          <a:p>
            <a:pPr marL="179388" indent="-179388">
              <a:lnSpc>
                <a:spcPct val="110000"/>
              </a:lnSpc>
              <a:spcBef>
                <a:spcPts val="0"/>
              </a:spcBef>
              <a:buClr>
                <a:schemeClr val="tx2">
                  <a:lumMod val="100000"/>
                </a:schemeClr>
              </a:buClr>
            </a:pPr>
            <a:r>
              <a:rPr lang="it-IT" sz="1200" dirty="0"/>
              <a:t>favorire l'adattamento e la mitigazione dei cambiamenti climatici;</a:t>
            </a:r>
          </a:p>
          <a:p>
            <a:pPr marL="179388" indent="-179388">
              <a:lnSpc>
                <a:spcPct val="110000"/>
              </a:lnSpc>
              <a:spcBef>
                <a:spcPts val="0"/>
              </a:spcBef>
              <a:buClr>
                <a:schemeClr val="tx2">
                  <a:lumMod val="100000"/>
                </a:schemeClr>
              </a:buClr>
            </a:pPr>
            <a:r>
              <a:rPr lang="it-IT" sz="1200" dirty="0"/>
              <a:t>efficienza nell’utilizzo delle risorse e sostegno alla transizione verso un’economia circolare.</a:t>
            </a:r>
            <a:endParaRPr lang="en-US" sz="1200" dirty="0"/>
          </a:p>
        </p:txBody>
      </p:sp>
      <p:cxnSp>
        <p:nvCxnSpPr>
          <p:cNvPr id="16" name="Gerader Verbinder 21">
            <a:extLst>
              <a:ext uri="{FF2B5EF4-FFF2-40B4-BE49-F238E27FC236}">
                <a16:creationId xmlns:a16="http://schemas.microsoft.com/office/drawing/2014/main" id="{4ABA0C06-A0F0-2823-1D09-B7DCE57E57B4}"/>
              </a:ext>
            </a:extLst>
          </p:cNvPr>
          <p:cNvCxnSpPr>
            <a:cxnSpLocks/>
          </p:cNvCxnSpPr>
          <p:nvPr/>
        </p:nvCxnSpPr>
        <p:spPr>
          <a:xfrm>
            <a:off x="8209495" y="1223914"/>
            <a:ext cx="0" cy="2556000"/>
          </a:xfrm>
          <a:prstGeom prst="line">
            <a:avLst/>
          </a:prstGeom>
          <a:noFill/>
          <a:ln w="12700" cap="sq" cmpd="sng" algn="ctr">
            <a:solidFill>
              <a:srgbClr val="FFE600"/>
            </a:solidFill>
            <a:prstDash val="solid"/>
            <a:miter lim="800000"/>
            <a:tailEnd type="none"/>
          </a:ln>
          <a:effectLst/>
        </p:spPr>
      </p:cxnSp>
      <p:cxnSp>
        <p:nvCxnSpPr>
          <p:cNvPr id="18" name="Gerader Verbinder 22">
            <a:extLst>
              <a:ext uri="{FF2B5EF4-FFF2-40B4-BE49-F238E27FC236}">
                <a16:creationId xmlns:a16="http://schemas.microsoft.com/office/drawing/2014/main" id="{3ED8BDD3-9B1F-9ADD-D8D5-03368C041CF3}"/>
              </a:ext>
            </a:extLst>
          </p:cNvPr>
          <p:cNvCxnSpPr>
            <a:cxnSpLocks/>
          </p:cNvCxnSpPr>
          <p:nvPr/>
        </p:nvCxnSpPr>
        <p:spPr>
          <a:xfrm>
            <a:off x="4912652" y="1223914"/>
            <a:ext cx="0" cy="2556000"/>
          </a:xfrm>
          <a:prstGeom prst="line">
            <a:avLst/>
          </a:prstGeom>
          <a:noFill/>
          <a:ln w="12700" cap="sq" cmpd="sng" algn="ctr">
            <a:solidFill>
              <a:srgbClr val="FFE600"/>
            </a:solidFill>
            <a:prstDash val="solid"/>
            <a:miter lim="800000"/>
            <a:tailEnd type="none"/>
          </a:ln>
          <a:effectLst/>
        </p:spPr>
      </p:cxnSp>
      <p:cxnSp>
        <p:nvCxnSpPr>
          <p:cNvPr id="20" name="Gerader Verbinder 23">
            <a:extLst>
              <a:ext uri="{FF2B5EF4-FFF2-40B4-BE49-F238E27FC236}">
                <a16:creationId xmlns:a16="http://schemas.microsoft.com/office/drawing/2014/main" id="{7BB7EF0A-F33F-A057-4BBB-EEE36B6935BB}"/>
              </a:ext>
            </a:extLst>
          </p:cNvPr>
          <p:cNvCxnSpPr>
            <a:cxnSpLocks/>
          </p:cNvCxnSpPr>
          <p:nvPr/>
        </p:nvCxnSpPr>
        <p:spPr>
          <a:xfrm flipV="1">
            <a:off x="5125360" y="4033378"/>
            <a:ext cx="2896969" cy="12802"/>
          </a:xfrm>
          <a:prstGeom prst="line">
            <a:avLst/>
          </a:prstGeom>
          <a:noFill/>
          <a:ln w="12700" cap="sq" cmpd="sng" algn="ctr">
            <a:solidFill>
              <a:srgbClr val="FFE600"/>
            </a:solidFill>
            <a:prstDash val="solid"/>
            <a:miter lim="800000"/>
            <a:tailEnd type="none"/>
          </a:ln>
          <a:effectLst/>
        </p:spPr>
      </p:cxnSp>
      <p:cxnSp>
        <p:nvCxnSpPr>
          <p:cNvPr id="21" name="Gerader Verbinder 24">
            <a:extLst>
              <a:ext uri="{FF2B5EF4-FFF2-40B4-BE49-F238E27FC236}">
                <a16:creationId xmlns:a16="http://schemas.microsoft.com/office/drawing/2014/main" id="{1314DF60-6EE5-4658-A1BE-C9154B1CBEDC}"/>
              </a:ext>
            </a:extLst>
          </p:cNvPr>
          <p:cNvCxnSpPr>
            <a:cxnSpLocks/>
          </p:cNvCxnSpPr>
          <p:nvPr/>
        </p:nvCxnSpPr>
        <p:spPr>
          <a:xfrm flipV="1">
            <a:off x="8435577" y="4033378"/>
            <a:ext cx="2896969" cy="12802"/>
          </a:xfrm>
          <a:prstGeom prst="line">
            <a:avLst/>
          </a:prstGeom>
          <a:noFill/>
          <a:ln w="12700" cap="sq" cmpd="sng" algn="ctr">
            <a:solidFill>
              <a:srgbClr val="FFE600"/>
            </a:solidFill>
            <a:prstDash val="solid"/>
            <a:miter lim="800000"/>
            <a:tailEnd type="none"/>
          </a:ln>
          <a:effectLst/>
        </p:spPr>
      </p:cxnSp>
      <p:cxnSp>
        <p:nvCxnSpPr>
          <p:cNvPr id="32" name="Gerader Verbinder 36">
            <a:extLst>
              <a:ext uri="{FF2B5EF4-FFF2-40B4-BE49-F238E27FC236}">
                <a16:creationId xmlns:a16="http://schemas.microsoft.com/office/drawing/2014/main" id="{D5BE6D46-E7D8-2677-2654-18D2971133E0}"/>
              </a:ext>
            </a:extLst>
          </p:cNvPr>
          <p:cNvCxnSpPr>
            <a:cxnSpLocks/>
          </p:cNvCxnSpPr>
          <p:nvPr/>
        </p:nvCxnSpPr>
        <p:spPr>
          <a:xfrm>
            <a:off x="8950438" y="4262157"/>
            <a:ext cx="0" cy="1905387"/>
          </a:xfrm>
          <a:prstGeom prst="line">
            <a:avLst/>
          </a:prstGeom>
          <a:noFill/>
          <a:ln w="12700" cap="sq" cmpd="sng" algn="ctr">
            <a:solidFill>
              <a:schemeClr val="tx1">
                <a:lumMod val="60000"/>
                <a:lumOff val="40000"/>
              </a:schemeClr>
            </a:solidFill>
            <a:prstDash val="solid"/>
            <a:miter lim="800000"/>
            <a:tailEnd type="none"/>
          </a:ln>
          <a:effectLst/>
        </p:spPr>
      </p:cxnSp>
      <p:cxnSp>
        <p:nvCxnSpPr>
          <p:cNvPr id="34" name="Gerader Verbinder 37">
            <a:extLst>
              <a:ext uri="{FF2B5EF4-FFF2-40B4-BE49-F238E27FC236}">
                <a16:creationId xmlns:a16="http://schemas.microsoft.com/office/drawing/2014/main" id="{A88263D9-0A9D-73A7-2E66-E42951627A88}"/>
              </a:ext>
            </a:extLst>
          </p:cNvPr>
          <p:cNvCxnSpPr/>
          <p:nvPr/>
        </p:nvCxnSpPr>
        <p:spPr>
          <a:xfrm>
            <a:off x="6857224" y="4262157"/>
            <a:ext cx="0" cy="1905387"/>
          </a:xfrm>
          <a:prstGeom prst="line">
            <a:avLst/>
          </a:prstGeom>
          <a:noFill/>
          <a:ln w="12700" cap="sq" cmpd="sng" algn="ctr">
            <a:solidFill>
              <a:schemeClr val="tx1">
                <a:lumMod val="60000"/>
                <a:lumOff val="40000"/>
              </a:schemeClr>
            </a:solidFill>
            <a:prstDash val="solid"/>
            <a:miter lim="800000"/>
            <a:tailEnd type="none"/>
          </a:ln>
          <a:effectLst/>
        </p:spPr>
      </p:cxnSp>
      <p:sp>
        <p:nvSpPr>
          <p:cNvPr id="37" name="Rechteck 16">
            <a:extLst>
              <a:ext uri="{FF2B5EF4-FFF2-40B4-BE49-F238E27FC236}">
                <a16:creationId xmlns:a16="http://schemas.microsoft.com/office/drawing/2014/main" id="{74E6976F-E6B5-736D-50C5-2EA9B1D5017E}"/>
              </a:ext>
            </a:extLst>
          </p:cNvPr>
          <p:cNvSpPr>
            <a:spLocks/>
          </p:cNvSpPr>
          <p:nvPr/>
        </p:nvSpPr>
        <p:spPr>
          <a:xfrm>
            <a:off x="480540" y="1336216"/>
            <a:ext cx="4156780" cy="2539157"/>
          </a:xfrm>
          <a:prstGeom prst="rect">
            <a:avLst/>
          </a:prstGeom>
        </p:spPr>
        <p:txBody>
          <a:bodyPr wrap="square" lIns="108000" tIns="0" rIns="0" bIns="0">
            <a:spAutoFit/>
          </a:bodyPr>
          <a:lstStyle/>
          <a:p>
            <a:pPr>
              <a:spcAft>
                <a:spcPts val="600"/>
              </a:spcAft>
            </a:pPr>
            <a:r>
              <a:rPr lang="it-IT" sz="1600" dirty="0">
                <a:solidFill>
                  <a:schemeClr val="tx2"/>
                </a:solidFill>
              </a:rPr>
              <a:t>Requisiti di progetto:</a:t>
            </a:r>
          </a:p>
          <a:p>
            <a:pPr marL="285750" indent="-285750">
              <a:buFont typeface="Wingdings" panose="05000000000000000000" pitchFamily="2" charset="2"/>
              <a:buChar char="q"/>
            </a:pPr>
            <a:r>
              <a:rPr lang="it-IT" sz="1600" dirty="0">
                <a:solidFill>
                  <a:schemeClr val="tx2"/>
                </a:solidFill>
              </a:rPr>
              <a:t>importo complessivo non inferiore a 1 mln/€ (1.2 mln/€ per le reti d’impresa);</a:t>
            </a:r>
          </a:p>
          <a:p>
            <a:pPr marL="285750" indent="-285750">
              <a:buFont typeface="Wingdings" panose="05000000000000000000" pitchFamily="2" charset="2"/>
              <a:buChar char="q"/>
            </a:pPr>
            <a:r>
              <a:rPr lang="it-IT" sz="1600" dirty="0">
                <a:solidFill>
                  <a:schemeClr val="tx2"/>
                </a:solidFill>
              </a:rPr>
              <a:t>essere avviati successivamente alla data di presentazione della domanda;</a:t>
            </a:r>
          </a:p>
          <a:p>
            <a:pPr marL="285750" indent="-285750">
              <a:buFont typeface="Wingdings" panose="05000000000000000000" pitchFamily="2" charset="2"/>
              <a:buChar char="q"/>
            </a:pPr>
            <a:r>
              <a:rPr lang="it-IT" sz="1600" dirty="0">
                <a:solidFill>
                  <a:schemeClr val="tx2"/>
                </a:solidFill>
              </a:rPr>
              <a:t>prevedere un programma occupazionale da realizzarsi entro 12 mesi dalla data di ultimazione del programma;</a:t>
            </a:r>
          </a:p>
          <a:p>
            <a:pPr marL="285750" indent="-285750">
              <a:buFont typeface="Wingdings" panose="05000000000000000000" pitchFamily="2" charset="2"/>
              <a:buChar char="q"/>
            </a:pPr>
            <a:r>
              <a:rPr lang="it-IT" sz="1600" dirty="0">
                <a:solidFill>
                  <a:schemeClr val="tx2"/>
                </a:solidFill>
              </a:rPr>
              <a:t>essere conclusi entro 36 mesi dalla data di stipula dei contratti di finanziamento</a:t>
            </a:r>
            <a:endParaRPr lang="de-DE" sz="1600" dirty="0">
              <a:solidFill>
                <a:schemeClr val="tx2"/>
              </a:solidFill>
            </a:endParaRPr>
          </a:p>
        </p:txBody>
      </p:sp>
      <p:cxnSp>
        <p:nvCxnSpPr>
          <p:cNvPr id="39" name="Gerader Verbinder 25">
            <a:extLst>
              <a:ext uri="{FF2B5EF4-FFF2-40B4-BE49-F238E27FC236}">
                <a16:creationId xmlns:a16="http://schemas.microsoft.com/office/drawing/2014/main" id="{60E828C2-948E-96AB-95E3-A875ECFB2BD1}"/>
              </a:ext>
            </a:extLst>
          </p:cNvPr>
          <p:cNvCxnSpPr>
            <a:cxnSpLocks/>
          </p:cNvCxnSpPr>
          <p:nvPr/>
        </p:nvCxnSpPr>
        <p:spPr>
          <a:xfrm flipV="1">
            <a:off x="339359" y="4033378"/>
            <a:ext cx="4359986" cy="12802"/>
          </a:xfrm>
          <a:prstGeom prst="line">
            <a:avLst/>
          </a:prstGeom>
          <a:noFill/>
          <a:ln w="12700" cap="sq" cmpd="sng" algn="ctr">
            <a:solidFill>
              <a:schemeClr val="tx1">
                <a:lumMod val="60000"/>
                <a:lumOff val="40000"/>
              </a:schemeClr>
            </a:solidFill>
            <a:prstDash val="solid"/>
            <a:miter lim="800000"/>
            <a:tailEnd type="none"/>
          </a:ln>
          <a:effectLst/>
        </p:spPr>
      </p:cxnSp>
      <p:sp>
        <p:nvSpPr>
          <p:cNvPr id="44" name="Rechteck 14">
            <a:extLst>
              <a:ext uri="{FF2B5EF4-FFF2-40B4-BE49-F238E27FC236}">
                <a16:creationId xmlns:a16="http://schemas.microsoft.com/office/drawing/2014/main" id="{30A15FC0-76A2-C278-5120-957C94C2CE9C}"/>
              </a:ext>
            </a:extLst>
          </p:cNvPr>
          <p:cNvSpPr>
            <a:spLocks/>
          </p:cNvSpPr>
          <p:nvPr/>
        </p:nvSpPr>
        <p:spPr>
          <a:xfrm>
            <a:off x="4515441" y="5157600"/>
            <a:ext cx="2258341" cy="1415772"/>
          </a:xfrm>
          <a:prstGeom prst="rect">
            <a:avLst/>
          </a:prstGeom>
        </p:spPr>
        <p:txBody>
          <a:bodyPr wrap="square" lIns="108000" tIns="0" rIns="0" bIns="0">
            <a:spAutoFit/>
          </a:bodyPr>
          <a:lstStyle/>
          <a:p>
            <a:pPr algn="ctr"/>
            <a:r>
              <a:rPr lang="en-US" sz="1600" dirty="0" err="1">
                <a:solidFill>
                  <a:schemeClr val="bg1"/>
                </a:solidFill>
              </a:rPr>
              <a:t>Progetti</a:t>
            </a:r>
            <a:r>
              <a:rPr lang="en-US" sz="1600" dirty="0">
                <a:solidFill>
                  <a:schemeClr val="bg1"/>
                </a:solidFill>
              </a:rPr>
              <a:t> </a:t>
            </a:r>
            <a:r>
              <a:rPr lang="it-IT" sz="1600" dirty="0">
                <a:solidFill>
                  <a:schemeClr val="bg1"/>
                </a:solidFill>
              </a:rPr>
              <a:t>per l’innovazione di processo e dell’organizzazione</a:t>
            </a:r>
          </a:p>
          <a:p>
            <a:pPr algn="ctr"/>
            <a:r>
              <a:rPr lang="it-IT" sz="1400" dirty="0">
                <a:solidFill>
                  <a:schemeClr val="bg1"/>
                </a:solidFill>
              </a:rPr>
              <a:t>(Max 40% tot investimento)</a:t>
            </a:r>
            <a:r>
              <a:rPr lang="en-US" sz="1400" dirty="0">
                <a:solidFill>
                  <a:schemeClr val="bg1"/>
                </a:solidFill>
              </a:rPr>
              <a:t> </a:t>
            </a:r>
            <a:endParaRPr lang="de-DE" sz="1400" dirty="0">
              <a:solidFill>
                <a:schemeClr val="bg1"/>
              </a:solidFill>
            </a:endParaRPr>
          </a:p>
        </p:txBody>
      </p:sp>
      <p:sp>
        <p:nvSpPr>
          <p:cNvPr id="47" name="Rechteck 11">
            <a:extLst>
              <a:ext uri="{FF2B5EF4-FFF2-40B4-BE49-F238E27FC236}">
                <a16:creationId xmlns:a16="http://schemas.microsoft.com/office/drawing/2014/main" id="{B3108D0B-4F75-CFC7-57ED-E3CCC2F201EF}"/>
              </a:ext>
            </a:extLst>
          </p:cNvPr>
          <p:cNvSpPr>
            <a:spLocks/>
          </p:cNvSpPr>
          <p:nvPr/>
        </p:nvSpPr>
        <p:spPr>
          <a:xfrm>
            <a:off x="6940666" y="5157600"/>
            <a:ext cx="1926330" cy="1169551"/>
          </a:xfrm>
          <a:prstGeom prst="rect">
            <a:avLst/>
          </a:prstGeom>
        </p:spPr>
        <p:txBody>
          <a:bodyPr wrap="square" lIns="108000" tIns="0" rIns="0" bIns="0">
            <a:spAutoFit/>
          </a:bodyPr>
          <a:lstStyle/>
          <a:p>
            <a:pPr algn="ctr"/>
            <a:r>
              <a:rPr lang="en-US" sz="1600" dirty="0" err="1">
                <a:solidFill>
                  <a:schemeClr val="bg1"/>
                </a:solidFill>
              </a:rPr>
              <a:t>Progetti</a:t>
            </a:r>
            <a:r>
              <a:rPr lang="en-US" sz="1600" dirty="0">
                <a:solidFill>
                  <a:schemeClr val="bg1"/>
                </a:solidFill>
              </a:rPr>
              <a:t> </a:t>
            </a:r>
            <a:r>
              <a:rPr lang="it-IT" sz="1600" dirty="0">
                <a:solidFill>
                  <a:schemeClr val="bg1"/>
                </a:solidFill>
              </a:rPr>
              <a:t>per la formazione del personale</a:t>
            </a:r>
          </a:p>
          <a:p>
            <a:pPr algn="ctr"/>
            <a:r>
              <a:rPr lang="it-IT" sz="1400" dirty="0">
                <a:solidFill>
                  <a:schemeClr val="bg1"/>
                </a:solidFill>
              </a:rPr>
              <a:t>(Max 20% tot investimento)</a:t>
            </a:r>
            <a:endParaRPr lang="en-US" sz="1400" dirty="0">
              <a:solidFill>
                <a:schemeClr val="bg1"/>
              </a:solidFill>
            </a:endParaRPr>
          </a:p>
        </p:txBody>
      </p:sp>
      <p:sp>
        <p:nvSpPr>
          <p:cNvPr id="49" name="Rechteck 14">
            <a:extLst>
              <a:ext uri="{FF2B5EF4-FFF2-40B4-BE49-F238E27FC236}">
                <a16:creationId xmlns:a16="http://schemas.microsoft.com/office/drawing/2014/main" id="{3084BE0F-D5CE-9C9B-EE00-410E16D9AD0F}"/>
              </a:ext>
            </a:extLst>
          </p:cNvPr>
          <p:cNvSpPr>
            <a:spLocks/>
          </p:cNvSpPr>
          <p:nvPr/>
        </p:nvSpPr>
        <p:spPr>
          <a:xfrm>
            <a:off x="9033879" y="5157600"/>
            <a:ext cx="2232248" cy="1169551"/>
          </a:xfrm>
          <a:prstGeom prst="rect">
            <a:avLst/>
          </a:prstGeom>
        </p:spPr>
        <p:txBody>
          <a:bodyPr wrap="square" lIns="108000" tIns="0" rIns="0" bIns="0">
            <a:spAutoFit/>
          </a:bodyPr>
          <a:lstStyle/>
          <a:p>
            <a:pPr algn="ctr"/>
            <a:r>
              <a:rPr lang="it-IT" sz="1600" dirty="0">
                <a:solidFill>
                  <a:schemeClr val="bg1"/>
                </a:solidFill>
              </a:rPr>
              <a:t>Progetti per la ricerca industriale e sviluppo sperimentale </a:t>
            </a:r>
            <a:r>
              <a:rPr lang="it-IT" sz="1400" dirty="0">
                <a:solidFill>
                  <a:schemeClr val="bg1"/>
                </a:solidFill>
              </a:rPr>
              <a:t>(Nell’ambito di programmi pari a min. €5mln)</a:t>
            </a:r>
            <a:endParaRPr lang="it-IT" sz="1600" dirty="0">
              <a:solidFill>
                <a:schemeClr val="bg1"/>
              </a:solidFill>
            </a:endParaRPr>
          </a:p>
        </p:txBody>
      </p:sp>
      <p:pic>
        <p:nvPicPr>
          <p:cNvPr id="55" name="Graphic 54" descr="Add with solid fill">
            <a:extLst>
              <a:ext uri="{FF2B5EF4-FFF2-40B4-BE49-F238E27FC236}">
                <a16:creationId xmlns:a16="http://schemas.microsoft.com/office/drawing/2014/main" id="{5A1A4070-15E9-A61F-989A-A235E6641AD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0540" y="4223952"/>
            <a:ext cx="492443" cy="492443"/>
          </a:xfrm>
          <a:prstGeom prst="rect">
            <a:avLst/>
          </a:prstGeom>
        </p:spPr>
      </p:pic>
      <p:sp>
        <p:nvSpPr>
          <p:cNvPr id="56" name="TextBox 55">
            <a:extLst>
              <a:ext uri="{FF2B5EF4-FFF2-40B4-BE49-F238E27FC236}">
                <a16:creationId xmlns:a16="http://schemas.microsoft.com/office/drawing/2014/main" id="{FA1B7295-3FFB-F932-0C81-B67DF61D162E}"/>
              </a:ext>
            </a:extLst>
          </p:cNvPr>
          <p:cNvSpPr txBox="1"/>
          <p:nvPr/>
        </p:nvSpPr>
        <p:spPr>
          <a:xfrm>
            <a:off x="664147" y="4262157"/>
            <a:ext cx="3735282" cy="1612731"/>
          </a:xfrm>
          <a:prstGeom prst="rect">
            <a:avLst/>
          </a:prstGeom>
          <a:noFill/>
          <a:ln w="12700" cap="sq">
            <a:noFill/>
            <a:miter lim="800000"/>
          </a:ln>
        </p:spPr>
        <p:txBody>
          <a:bodyPr wrap="square" lIns="0" tIns="0" rIns="0" bIns="0" rtlCol="0">
            <a:noAutofit/>
          </a:bodyPr>
          <a:lstStyle/>
          <a:p>
            <a:pPr lvl="1" algn="just" defTabSz="685434">
              <a:spcAft>
                <a:spcPts val="600"/>
              </a:spcAft>
              <a:buClr>
                <a:srgbClr val="FFE600"/>
              </a:buClr>
              <a:buSzPct val="80000"/>
            </a:pPr>
            <a:r>
              <a:rPr lang="it-IT" sz="1400" b="1" kern="0">
                <a:solidFill>
                  <a:schemeClr val="bg1"/>
                </a:solidFill>
              </a:rPr>
              <a:t>I PROGRAMMI DI INVESTIMENTO POSSONO ESSERE INTEGRATI DA:</a:t>
            </a:r>
          </a:p>
        </p:txBody>
      </p:sp>
      <p:pic>
        <p:nvPicPr>
          <p:cNvPr id="59" name="Graphic 58">
            <a:extLst>
              <a:ext uri="{FF2B5EF4-FFF2-40B4-BE49-F238E27FC236}">
                <a16:creationId xmlns:a16="http://schemas.microsoft.com/office/drawing/2014/main" id="{F9444B39-6C73-0A7C-9AAB-D731808043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87985" y="977471"/>
            <a:ext cx="628130" cy="528951"/>
          </a:xfrm>
          <a:prstGeom prst="rect">
            <a:avLst/>
          </a:prstGeom>
        </p:spPr>
      </p:pic>
      <p:pic>
        <p:nvPicPr>
          <p:cNvPr id="61" name="Graphic 60">
            <a:extLst>
              <a:ext uri="{FF2B5EF4-FFF2-40B4-BE49-F238E27FC236}">
                <a16:creationId xmlns:a16="http://schemas.microsoft.com/office/drawing/2014/main" id="{3C5A40CE-7279-10CF-BD5D-63BAE53E53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58176" y="781103"/>
            <a:ext cx="692088" cy="713060"/>
          </a:xfrm>
          <a:prstGeom prst="rect">
            <a:avLst/>
          </a:prstGeom>
        </p:spPr>
      </p:pic>
      <p:pic>
        <p:nvPicPr>
          <p:cNvPr id="62" name="Graphic 61">
            <a:extLst>
              <a:ext uri="{FF2B5EF4-FFF2-40B4-BE49-F238E27FC236}">
                <a16:creationId xmlns:a16="http://schemas.microsoft.com/office/drawing/2014/main" id="{0CC52A94-861A-1782-A615-F2F82D6E4B6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84061" y="4383373"/>
            <a:ext cx="511712" cy="639641"/>
          </a:xfrm>
          <a:prstGeom prst="rect">
            <a:avLst/>
          </a:prstGeom>
        </p:spPr>
      </p:pic>
      <p:pic>
        <p:nvPicPr>
          <p:cNvPr id="63" name="Graphic 62">
            <a:extLst>
              <a:ext uri="{FF2B5EF4-FFF2-40B4-BE49-F238E27FC236}">
                <a16:creationId xmlns:a16="http://schemas.microsoft.com/office/drawing/2014/main" id="{DA874253-CD96-C6B7-B055-2328F2D3E03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617397" y="4390720"/>
            <a:ext cx="572868" cy="624947"/>
          </a:xfrm>
          <a:prstGeom prst="rect">
            <a:avLst/>
          </a:prstGeom>
        </p:spPr>
      </p:pic>
      <p:pic>
        <p:nvPicPr>
          <p:cNvPr id="64" name="Graphic 63">
            <a:extLst>
              <a:ext uri="{FF2B5EF4-FFF2-40B4-BE49-F238E27FC236}">
                <a16:creationId xmlns:a16="http://schemas.microsoft.com/office/drawing/2014/main" id="{C00350CD-7E36-B01C-63E7-96F13DA3D55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417207" y="4321068"/>
            <a:ext cx="555819" cy="764251"/>
          </a:xfrm>
          <a:prstGeom prst="rect">
            <a:avLst/>
          </a:prstGeom>
        </p:spPr>
      </p:pic>
    </p:spTree>
    <p:extLst>
      <p:ext uri="{BB962C8B-B14F-4D97-AF65-F5344CB8AC3E}">
        <p14:creationId xmlns:p14="http://schemas.microsoft.com/office/powerpoint/2010/main" val="41670623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a:t>Focus spese ammissibili</a:t>
            </a:r>
          </a:p>
        </p:txBody>
      </p:sp>
      <p:grpSp>
        <p:nvGrpSpPr>
          <p:cNvPr id="42" name="Group 41">
            <a:extLst>
              <a:ext uri="{FF2B5EF4-FFF2-40B4-BE49-F238E27FC236}">
                <a16:creationId xmlns:a16="http://schemas.microsoft.com/office/drawing/2014/main" id="{E792F667-D424-C9A4-B419-4A3D9E1EB4FE}"/>
              </a:ext>
            </a:extLst>
          </p:cNvPr>
          <p:cNvGrpSpPr/>
          <p:nvPr/>
        </p:nvGrpSpPr>
        <p:grpSpPr>
          <a:xfrm>
            <a:off x="6169465" y="1055802"/>
            <a:ext cx="5717735" cy="5297857"/>
            <a:chOff x="7273659" y="1055802"/>
            <a:chExt cx="4311059" cy="5213021"/>
          </a:xfrm>
        </p:grpSpPr>
        <p:sp>
          <p:nvSpPr>
            <p:cNvPr id="11" name="Rechteck 100">
              <a:extLst>
                <a:ext uri="{FF2B5EF4-FFF2-40B4-BE49-F238E27FC236}">
                  <a16:creationId xmlns:a16="http://schemas.microsoft.com/office/drawing/2014/main" id="{12556384-2A54-FFD6-7DA0-F2B7AD092D72}"/>
                </a:ext>
              </a:extLst>
            </p:cNvPr>
            <p:cNvSpPr/>
            <p:nvPr/>
          </p:nvSpPr>
          <p:spPr>
            <a:xfrm>
              <a:off x="7273659" y="1055802"/>
              <a:ext cx="4311059" cy="1673618"/>
            </a:xfrm>
            <a:prstGeom prst="rect">
              <a:avLst/>
            </a:prstGeom>
            <a:solidFill>
              <a:srgbClr val="D2D2DA">
                <a:alpha val="1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2E2E38"/>
                </a:solidFill>
                <a:effectLst/>
                <a:uLnTx/>
                <a:uFillTx/>
              </a:endParaRPr>
            </a:p>
          </p:txBody>
        </p:sp>
        <p:sp>
          <p:nvSpPr>
            <p:cNvPr id="15" name="Rechteck 100">
              <a:extLst>
                <a:ext uri="{FF2B5EF4-FFF2-40B4-BE49-F238E27FC236}">
                  <a16:creationId xmlns:a16="http://schemas.microsoft.com/office/drawing/2014/main" id="{9777B335-8C27-6220-AC0C-405C8869E71B}"/>
                </a:ext>
              </a:extLst>
            </p:cNvPr>
            <p:cNvSpPr/>
            <p:nvPr/>
          </p:nvSpPr>
          <p:spPr>
            <a:xfrm>
              <a:off x="7273659" y="4595205"/>
              <a:ext cx="4311059" cy="1673618"/>
            </a:xfrm>
            <a:prstGeom prst="rect">
              <a:avLst/>
            </a:prstGeom>
            <a:solidFill>
              <a:srgbClr val="D2D2DA">
                <a:alpha val="1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2E2E38"/>
                </a:solidFill>
                <a:effectLst/>
                <a:uLnTx/>
                <a:uFillTx/>
              </a:endParaRPr>
            </a:p>
          </p:txBody>
        </p:sp>
        <p:sp>
          <p:nvSpPr>
            <p:cNvPr id="17" name="Rechteck 100">
              <a:extLst>
                <a:ext uri="{FF2B5EF4-FFF2-40B4-BE49-F238E27FC236}">
                  <a16:creationId xmlns:a16="http://schemas.microsoft.com/office/drawing/2014/main" id="{32705318-8B33-3145-CB1C-E6812D920C14}"/>
                </a:ext>
              </a:extLst>
            </p:cNvPr>
            <p:cNvSpPr/>
            <p:nvPr/>
          </p:nvSpPr>
          <p:spPr>
            <a:xfrm>
              <a:off x="7273659" y="2825503"/>
              <a:ext cx="4311059" cy="1673618"/>
            </a:xfrm>
            <a:prstGeom prst="rect">
              <a:avLst/>
            </a:prstGeom>
            <a:solidFill>
              <a:srgbClr val="D2D2DA">
                <a:alpha val="1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2E2E38"/>
                </a:solidFill>
                <a:effectLst/>
                <a:uLnTx/>
                <a:uFillTx/>
              </a:endParaRPr>
            </a:p>
          </p:txBody>
        </p:sp>
        <p:sp>
          <p:nvSpPr>
            <p:cNvPr id="24" name="Textfeld 9">
              <a:extLst>
                <a:ext uri="{FF2B5EF4-FFF2-40B4-BE49-F238E27FC236}">
                  <a16:creationId xmlns:a16="http://schemas.microsoft.com/office/drawing/2014/main" id="{8AE6F818-1AF5-E475-4D53-09D98AC41A49}"/>
                </a:ext>
              </a:extLst>
            </p:cNvPr>
            <p:cNvSpPr txBox="1"/>
            <p:nvPr/>
          </p:nvSpPr>
          <p:spPr>
            <a:xfrm>
              <a:off x="7368139" y="1156505"/>
              <a:ext cx="4178871" cy="323504"/>
            </a:xfrm>
            <a:prstGeom prst="rect">
              <a:avLst/>
            </a:prstGeom>
            <a:noFill/>
            <a:ln w="12700" cap="sq">
              <a:noFill/>
              <a:miter lim="800000"/>
            </a:ln>
          </p:spPr>
          <p:txBody>
            <a:bodyPr wrap="square" lIns="0" tIns="0" rIns="0" bIns="0" rtlCol="0" anchor="t" anchorCtr="0">
              <a:noAutofit/>
            </a:bodyPr>
            <a:lstStyle/>
            <a:p>
              <a:pPr defTabSz="685434">
                <a:spcAft>
                  <a:spcPts val="600"/>
                </a:spcAft>
                <a:buClr>
                  <a:srgbClr val="FFE600"/>
                </a:buClr>
                <a:buSzPct val="70000"/>
              </a:pPr>
              <a:r>
                <a:rPr lang="it-IT" sz="1400" b="1" kern="0" dirty="0">
                  <a:solidFill>
                    <a:schemeClr val="tx2"/>
                  </a:solidFill>
                </a:rPr>
                <a:t>INNOVAZIONE DI PROCESSO E ORGANIZZAZIONE</a:t>
              </a:r>
            </a:p>
          </p:txBody>
        </p:sp>
        <p:sp>
          <p:nvSpPr>
            <p:cNvPr id="25" name="Textfeld 9">
              <a:extLst>
                <a:ext uri="{FF2B5EF4-FFF2-40B4-BE49-F238E27FC236}">
                  <a16:creationId xmlns:a16="http://schemas.microsoft.com/office/drawing/2014/main" id="{271492E5-4962-879B-26DD-3E0FC6090F6A}"/>
                </a:ext>
              </a:extLst>
            </p:cNvPr>
            <p:cNvSpPr txBox="1"/>
            <p:nvPr/>
          </p:nvSpPr>
          <p:spPr>
            <a:xfrm>
              <a:off x="7368139" y="2884409"/>
              <a:ext cx="4178871" cy="323504"/>
            </a:xfrm>
            <a:prstGeom prst="rect">
              <a:avLst/>
            </a:prstGeom>
            <a:noFill/>
            <a:ln w="12700" cap="sq">
              <a:noFill/>
              <a:miter lim="800000"/>
            </a:ln>
          </p:spPr>
          <p:txBody>
            <a:bodyPr wrap="square" lIns="0" tIns="0" rIns="0" bIns="0" rtlCol="0" anchor="t" anchorCtr="0">
              <a:noAutofit/>
            </a:bodyPr>
            <a:lstStyle/>
            <a:p>
              <a:pPr defTabSz="685434">
                <a:spcAft>
                  <a:spcPts val="600"/>
                </a:spcAft>
                <a:buClr>
                  <a:srgbClr val="FFE600"/>
                </a:buClr>
                <a:buSzPct val="70000"/>
              </a:pPr>
              <a:r>
                <a:rPr lang="it-IT" sz="1400" b="1" kern="0" dirty="0">
                  <a:solidFill>
                    <a:schemeClr val="tx2"/>
                  </a:solidFill>
                </a:rPr>
                <a:t>FORMAZIONE DEL PERSONALE</a:t>
              </a:r>
            </a:p>
          </p:txBody>
        </p:sp>
        <p:sp>
          <p:nvSpPr>
            <p:cNvPr id="26" name="Textfeld 9">
              <a:extLst>
                <a:ext uri="{FF2B5EF4-FFF2-40B4-BE49-F238E27FC236}">
                  <a16:creationId xmlns:a16="http://schemas.microsoft.com/office/drawing/2014/main" id="{36888E2B-574E-27C2-50F3-5C02AF015F89}"/>
                </a:ext>
              </a:extLst>
            </p:cNvPr>
            <p:cNvSpPr txBox="1"/>
            <p:nvPr/>
          </p:nvSpPr>
          <p:spPr>
            <a:xfrm>
              <a:off x="7368139" y="4659469"/>
              <a:ext cx="4178871" cy="323504"/>
            </a:xfrm>
            <a:prstGeom prst="rect">
              <a:avLst/>
            </a:prstGeom>
            <a:noFill/>
            <a:ln w="12700" cap="sq">
              <a:noFill/>
              <a:miter lim="800000"/>
            </a:ln>
          </p:spPr>
          <p:txBody>
            <a:bodyPr wrap="square" lIns="0" tIns="0" rIns="0" bIns="0" rtlCol="0" anchor="t" anchorCtr="0">
              <a:noAutofit/>
            </a:bodyPr>
            <a:lstStyle/>
            <a:p>
              <a:pPr defTabSz="685434">
                <a:spcAft>
                  <a:spcPts val="600"/>
                </a:spcAft>
                <a:buClr>
                  <a:srgbClr val="FFE600"/>
                </a:buClr>
                <a:buSzPct val="70000"/>
              </a:pPr>
              <a:r>
                <a:rPr lang="it-IT" sz="1400" b="1" kern="0" dirty="0">
                  <a:solidFill>
                    <a:schemeClr val="tx2"/>
                  </a:solidFill>
                </a:rPr>
                <a:t>RICERCA INDUSTRIALE E SVILUPPO SPERIMENTALE </a:t>
              </a:r>
              <a:endParaRPr lang="en-US" sz="1400" b="1" kern="0" dirty="0">
                <a:solidFill>
                  <a:schemeClr val="tx2"/>
                </a:solidFill>
              </a:endParaRPr>
            </a:p>
          </p:txBody>
        </p:sp>
        <p:cxnSp>
          <p:nvCxnSpPr>
            <p:cNvPr id="33" name="Straight Connector 25">
              <a:extLst>
                <a:ext uri="{FF2B5EF4-FFF2-40B4-BE49-F238E27FC236}">
                  <a16:creationId xmlns:a16="http://schemas.microsoft.com/office/drawing/2014/main" id="{8B098635-46B0-9162-53C0-B714BC0B1F85}"/>
                </a:ext>
              </a:extLst>
            </p:cNvPr>
            <p:cNvCxnSpPr>
              <a:cxnSpLocks/>
            </p:cNvCxnSpPr>
            <p:nvPr/>
          </p:nvCxnSpPr>
          <p:spPr>
            <a:xfrm>
              <a:off x="7368139" y="1431334"/>
              <a:ext cx="1758578" cy="0"/>
            </a:xfrm>
            <a:prstGeom prst="line">
              <a:avLst/>
            </a:prstGeom>
            <a:ln w="28575" cap="sq">
              <a:solidFill>
                <a:schemeClr val="bg1"/>
              </a:solidFill>
              <a:miter lim="800000"/>
              <a:headEnd type="none" w="med" len="med"/>
              <a:tailEnd type="none"/>
            </a:ln>
            <a:effectLst/>
          </p:spPr>
          <p:style>
            <a:lnRef idx="1">
              <a:schemeClr val="accent1"/>
            </a:lnRef>
            <a:fillRef idx="0">
              <a:schemeClr val="accent1"/>
            </a:fillRef>
            <a:effectRef idx="0">
              <a:schemeClr val="accent1"/>
            </a:effectRef>
            <a:fontRef idx="minor">
              <a:schemeClr val="tx1"/>
            </a:fontRef>
          </p:style>
        </p:cxnSp>
        <p:cxnSp>
          <p:nvCxnSpPr>
            <p:cNvPr id="35" name="Straight Connector 25">
              <a:extLst>
                <a:ext uri="{FF2B5EF4-FFF2-40B4-BE49-F238E27FC236}">
                  <a16:creationId xmlns:a16="http://schemas.microsoft.com/office/drawing/2014/main" id="{76E74D66-8BB9-812C-21D5-B14F63853361}"/>
                </a:ext>
              </a:extLst>
            </p:cNvPr>
            <p:cNvCxnSpPr>
              <a:cxnSpLocks/>
            </p:cNvCxnSpPr>
            <p:nvPr/>
          </p:nvCxnSpPr>
          <p:spPr>
            <a:xfrm>
              <a:off x="7368139" y="3161533"/>
              <a:ext cx="1758578" cy="0"/>
            </a:xfrm>
            <a:prstGeom prst="line">
              <a:avLst/>
            </a:prstGeom>
            <a:ln w="28575" cap="sq">
              <a:solidFill>
                <a:schemeClr val="bg1"/>
              </a:solidFill>
              <a:miter lim="800000"/>
              <a:headEnd type="none" w="med" len="med"/>
              <a:tailEnd type="none"/>
            </a:ln>
            <a:effectLst/>
          </p:spPr>
          <p:style>
            <a:lnRef idx="1">
              <a:schemeClr val="accent1"/>
            </a:lnRef>
            <a:fillRef idx="0">
              <a:schemeClr val="accent1"/>
            </a:fillRef>
            <a:effectRef idx="0">
              <a:schemeClr val="accent1"/>
            </a:effectRef>
            <a:fontRef idx="minor">
              <a:schemeClr val="tx1"/>
            </a:fontRef>
          </p:style>
        </p:cxnSp>
        <p:cxnSp>
          <p:nvCxnSpPr>
            <p:cNvPr id="36" name="Straight Connector 25">
              <a:extLst>
                <a:ext uri="{FF2B5EF4-FFF2-40B4-BE49-F238E27FC236}">
                  <a16:creationId xmlns:a16="http://schemas.microsoft.com/office/drawing/2014/main" id="{B215064E-34AD-9570-8AF1-951E042909EA}"/>
                </a:ext>
              </a:extLst>
            </p:cNvPr>
            <p:cNvCxnSpPr>
              <a:cxnSpLocks/>
            </p:cNvCxnSpPr>
            <p:nvPr/>
          </p:nvCxnSpPr>
          <p:spPr>
            <a:xfrm>
              <a:off x="7368139" y="4919960"/>
              <a:ext cx="1758578" cy="0"/>
            </a:xfrm>
            <a:prstGeom prst="line">
              <a:avLst/>
            </a:prstGeom>
            <a:ln w="28575" cap="sq">
              <a:solidFill>
                <a:schemeClr val="bg1"/>
              </a:solidFill>
              <a:miter lim="800000"/>
              <a:headEnd type="none" w="med" len="med"/>
              <a:tailEnd type="none"/>
            </a:ln>
            <a:effectLst/>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5740255D-F8E2-4CD2-E951-BDD79AF33703}"/>
              </a:ext>
            </a:extLst>
          </p:cNvPr>
          <p:cNvGrpSpPr/>
          <p:nvPr/>
        </p:nvGrpSpPr>
        <p:grpSpPr>
          <a:xfrm>
            <a:off x="354812" y="1055801"/>
            <a:ext cx="5741189" cy="5297865"/>
            <a:chOff x="644990" y="1329178"/>
            <a:chExt cx="7056713" cy="4751300"/>
          </a:xfrm>
        </p:grpSpPr>
        <p:sp>
          <p:nvSpPr>
            <p:cNvPr id="3" name="Rechteck 14">
              <a:extLst>
                <a:ext uri="{FF2B5EF4-FFF2-40B4-BE49-F238E27FC236}">
                  <a16:creationId xmlns:a16="http://schemas.microsoft.com/office/drawing/2014/main" id="{7153EC2E-C073-CEFE-BE61-F25BD775BB5A}"/>
                </a:ext>
              </a:extLst>
            </p:cNvPr>
            <p:cNvSpPr/>
            <p:nvPr/>
          </p:nvSpPr>
          <p:spPr>
            <a:xfrm>
              <a:off x="644990" y="1329179"/>
              <a:ext cx="3480804" cy="4751299"/>
            </a:xfrm>
            <a:prstGeom prst="rect">
              <a:avLst/>
            </a:prstGeom>
            <a:solidFill>
              <a:srgbClr val="D2D2DA">
                <a:alpha val="1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2E2E38"/>
                </a:solidFill>
                <a:effectLst/>
                <a:uLnTx/>
                <a:uFillTx/>
              </a:endParaRPr>
            </a:p>
          </p:txBody>
        </p:sp>
        <p:sp>
          <p:nvSpPr>
            <p:cNvPr id="8" name="Rechteck 14">
              <a:extLst>
                <a:ext uri="{FF2B5EF4-FFF2-40B4-BE49-F238E27FC236}">
                  <a16:creationId xmlns:a16="http://schemas.microsoft.com/office/drawing/2014/main" id="{19C1C543-7C1B-2EB5-79A0-44EDB9DD8558}"/>
                </a:ext>
              </a:extLst>
            </p:cNvPr>
            <p:cNvSpPr/>
            <p:nvPr/>
          </p:nvSpPr>
          <p:spPr>
            <a:xfrm>
              <a:off x="4220899" y="1329178"/>
              <a:ext cx="3480804" cy="4751299"/>
            </a:xfrm>
            <a:prstGeom prst="rect">
              <a:avLst/>
            </a:prstGeom>
            <a:solidFill>
              <a:srgbClr val="D2D2DA">
                <a:alpha val="10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400" b="0" i="0" u="none" strike="noStrike" kern="0" cap="none" spc="0" normalizeH="0" baseline="0" noProof="0" dirty="0">
                <a:ln>
                  <a:noFill/>
                </a:ln>
                <a:solidFill>
                  <a:srgbClr val="2E2E38"/>
                </a:solidFill>
                <a:effectLst/>
                <a:uLnTx/>
                <a:uFillTx/>
              </a:endParaRPr>
            </a:p>
          </p:txBody>
        </p:sp>
      </p:grpSp>
      <p:grpSp>
        <p:nvGrpSpPr>
          <p:cNvPr id="40" name="Group 39">
            <a:extLst>
              <a:ext uri="{FF2B5EF4-FFF2-40B4-BE49-F238E27FC236}">
                <a16:creationId xmlns:a16="http://schemas.microsoft.com/office/drawing/2014/main" id="{E9915658-2E85-F544-8977-7DD086296311}"/>
              </a:ext>
            </a:extLst>
          </p:cNvPr>
          <p:cNvGrpSpPr/>
          <p:nvPr/>
        </p:nvGrpSpPr>
        <p:grpSpPr>
          <a:xfrm>
            <a:off x="409161" y="1158144"/>
            <a:ext cx="5609698" cy="5000871"/>
            <a:chOff x="706884" y="1156505"/>
            <a:chExt cx="6388490" cy="4920785"/>
          </a:xfrm>
        </p:grpSpPr>
        <p:sp>
          <p:nvSpPr>
            <p:cNvPr id="22" name="Textfeld 9">
              <a:extLst>
                <a:ext uri="{FF2B5EF4-FFF2-40B4-BE49-F238E27FC236}">
                  <a16:creationId xmlns:a16="http://schemas.microsoft.com/office/drawing/2014/main" id="{28F03F8C-2BE3-46E3-4F5B-2D27260E3514}"/>
                </a:ext>
              </a:extLst>
            </p:cNvPr>
            <p:cNvSpPr txBox="1"/>
            <p:nvPr/>
          </p:nvSpPr>
          <p:spPr>
            <a:xfrm>
              <a:off x="733107" y="1156505"/>
              <a:ext cx="3047041" cy="323504"/>
            </a:xfrm>
            <a:prstGeom prst="rect">
              <a:avLst/>
            </a:prstGeom>
            <a:noFill/>
            <a:ln w="12700" cap="sq">
              <a:noFill/>
              <a:miter lim="800000"/>
            </a:ln>
          </p:spPr>
          <p:txBody>
            <a:bodyPr wrap="square" lIns="0" tIns="0" rIns="0" bIns="0" rtlCol="0" anchor="t" anchorCtr="0">
              <a:noAutofit/>
            </a:bodyPr>
            <a:lstStyle/>
            <a:p>
              <a:pPr defTabSz="685434">
                <a:spcAft>
                  <a:spcPts val="600"/>
                </a:spcAft>
                <a:buClr>
                  <a:srgbClr val="FFE600"/>
                </a:buClr>
                <a:buSzPct val="70000"/>
              </a:pPr>
              <a:r>
                <a:rPr lang="en-US" sz="1400" b="1" kern="0" dirty="0">
                  <a:solidFill>
                    <a:schemeClr val="tx2"/>
                  </a:solidFill>
                </a:rPr>
                <a:t>INVESTIMENTI PRODUTTIVI</a:t>
              </a:r>
            </a:p>
          </p:txBody>
        </p:sp>
        <p:sp>
          <p:nvSpPr>
            <p:cNvPr id="23" name="Textfeld 9">
              <a:extLst>
                <a:ext uri="{FF2B5EF4-FFF2-40B4-BE49-F238E27FC236}">
                  <a16:creationId xmlns:a16="http://schemas.microsoft.com/office/drawing/2014/main" id="{D4BBE11A-418C-4C87-DDA4-F163B595E0F3}"/>
                </a:ext>
              </a:extLst>
            </p:cNvPr>
            <p:cNvSpPr txBox="1"/>
            <p:nvPr/>
          </p:nvSpPr>
          <p:spPr>
            <a:xfrm>
              <a:off x="4048333" y="1156505"/>
              <a:ext cx="3047041" cy="323504"/>
            </a:xfrm>
            <a:prstGeom prst="rect">
              <a:avLst/>
            </a:prstGeom>
            <a:noFill/>
            <a:ln w="12700" cap="sq">
              <a:noFill/>
              <a:miter lim="800000"/>
            </a:ln>
          </p:spPr>
          <p:txBody>
            <a:bodyPr wrap="square" lIns="0" tIns="0" rIns="0" bIns="0" rtlCol="0" anchor="t" anchorCtr="0">
              <a:noAutofit/>
            </a:bodyPr>
            <a:lstStyle/>
            <a:p>
              <a:pPr defTabSz="685434">
                <a:spcAft>
                  <a:spcPts val="600"/>
                </a:spcAft>
                <a:buClr>
                  <a:srgbClr val="FFE600"/>
                </a:buClr>
                <a:buSzPct val="70000"/>
              </a:pPr>
              <a:r>
                <a:rPr lang="it-IT" sz="1400" b="1" kern="0" dirty="0">
                  <a:solidFill>
                    <a:schemeClr val="tx2"/>
                  </a:solidFill>
                </a:rPr>
                <a:t>TUTELA AMBIENTALE</a:t>
              </a:r>
            </a:p>
          </p:txBody>
        </p:sp>
        <p:cxnSp>
          <p:nvCxnSpPr>
            <p:cNvPr id="29" name="Straight Connector 25">
              <a:extLst>
                <a:ext uri="{FF2B5EF4-FFF2-40B4-BE49-F238E27FC236}">
                  <a16:creationId xmlns:a16="http://schemas.microsoft.com/office/drawing/2014/main" id="{B478FF3D-D30A-294A-5D28-D11F9C1371D2}"/>
                </a:ext>
              </a:extLst>
            </p:cNvPr>
            <p:cNvCxnSpPr>
              <a:cxnSpLocks/>
            </p:cNvCxnSpPr>
            <p:nvPr/>
          </p:nvCxnSpPr>
          <p:spPr>
            <a:xfrm>
              <a:off x="4048333" y="1468439"/>
              <a:ext cx="1758578" cy="0"/>
            </a:xfrm>
            <a:prstGeom prst="line">
              <a:avLst/>
            </a:prstGeom>
            <a:ln w="28575" cap="sq">
              <a:solidFill>
                <a:schemeClr val="bg1"/>
              </a:solidFill>
              <a:miter lim="800000"/>
              <a:headEnd type="none" w="med" len="med"/>
              <a:tailEnd type="none"/>
            </a:ln>
            <a:effectLst/>
          </p:spPr>
          <p:style>
            <a:lnRef idx="1">
              <a:schemeClr val="accent1"/>
            </a:lnRef>
            <a:fillRef idx="0">
              <a:schemeClr val="accent1"/>
            </a:fillRef>
            <a:effectRef idx="0">
              <a:schemeClr val="accent1"/>
            </a:effectRef>
            <a:fontRef idx="minor">
              <a:schemeClr val="tx1"/>
            </a:fontRef>
          </p:style>
        </p:cxnSp>
        <p:cxnSp>
          <p:nvCxnSpPr>
            <p:cNvPr id="31" name="Straight Connector 25">
              <a:extLst>
                <a:ext uri="{FF2B5EF4-FFF2-40B4-BE49-F238E27FC236}">
                  <a16:creationId xmlns:a16="http://schemas.microsoft.com/office/drawing/2014/main" id="{BCBAFE91-BCC1-B9BC-E097-A65F15D79C5B}"/>
                </a:ext>
              </a:extLst>
            </p:cNvPr>
            <p:cNvCxnSpPr>
              <a:cxnSpLocks/>
            </p:cNvCxnSpPr>
            <p:nvPr/>
          </p:nvCxnSpPr>
          <p:spPr>
            <a:xfrm>
              <a:off x="733107" y="1459167"/>
              <a:ext cx="1758578" cy="0"/>
            </a:xfrm>
            <a:prstGeom prst="line">
              <a:avLst/>
            </a:prstGeom>
            <a:ln w="28575" cap="sq">
              <a:solidFill>
                <a:schemeClr val="bg1"/>
              </a:solidFill>
              <a:miter lim="800000"/>
              <a:headEnd type="none" w="med" len="med"/>
              <a:tailEnd type="none"/>
            </a:ln>
            <a:effectLst/>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4B13877-2241-5640-CC73-CE1F2B3E45F4}"/>
                </a:ext>
              </a:extLst>
            </p:cNvPr>
            <p:cNvSpPr txBox="1"/>
            <p:nvPr/>
          </p:nvSpPr>
          <p:spPr>
            <a:xfrm>
              <a:off x="706884" y="1580712"/>
              <a:ext cx="3047041" cy="4496578"/>
            </a:xfrm>
            <a:prstGeom prst="rect">
              <a:avLst/>
            </a:prstGeom>
            <a:noFill/>
            <a:ln w="12700" cap="sq">
              <a:noFill/>
              <a:miter lim="800000"/>
            </a:ln>
          </p:spPr>
          <p:txBody>
            <a:bodyPr wrap="square" lIns="0" tIns="0" rIns="0" bIns="0" rtlCol="0">
              <a:noAutofit/>
            </a:bodyPr>
            <a:lstStyle/>
            <a:p>
              <a:pPr marL="342900" indent="-342900" algn="just" defTabSz="685434">
                <a:spcAft>
                  <a:spcPts val="600"/>
                </a:spcAft>
                <a:buClr>
                  <a:srgbClr val="FFE600"/>
                </a:buClr>
                <a:buSzPct val="80000"/>
                <a:buFont typeface="+mj-lt"/>
                <a:buAutoNum type="alphaLcPeriod"/>
              </a:pPr>
              <a:r>
                <a:rPr lang="it-IT" sz="1400" kern="0" dirty="0">
                  <a:solidFill>
                    <a:schemeClr val="bg1"/>
                  </a:solidFill>
                </a:rPr>
                <a:t>Suolo aziendale e sue sistemazioni </a:t>
              </a:r>
              <a:r>
                <a:rPr lang="it-IT" sz="1400" kern="0" dirty="0">
                  <a:solidFill>
                    <a:schemeClr val="bg1"/>
                  </a:solidFill>
                  <a:sym typeface="Wingdings" panose="05000000000000000000" pitchFamily="2" charset="2"/>
                </a:rPr>
                <a:t> </a:t>
              </a:r>
              <a:r>
                <a:rPr lang="it-IT" sz="1400" kern="0" dirty="0">
                  <a:solidFill>
                    <a:schemeClr val="tx2"/>
                  </a:solidFill>
                  <a:sym typeface="Wingdings" panose="05000000000000000000" pitchFamily="2" charset="2"/>
                </a:rPr>
                <a:t>max 10%;</a:t>
              </a:r>
              <a:endParaRPr lang="it-IT" sz="1400" kern="0" dirty="0">
                <a:solidFill>
                  <a:schemeClr val="tx2"/>
                </a:solidFill>
              </a:endParaRPr>
            </a:p>
            <a:p>
              <a:pPr marL="342900" indent="-342900" algn="just" defTabSz="685434">
                <a:spcAft>
                  <a:spcPts val="600"/>
                </a:spcAft>
                <a:buClr>
                  <a:srgbClr val="FFE600"/>
                </a:buClr>
                <a:buSzPct val="80000"/>
                <a:buFont typeface="+mj-lt"/>
                <a:buAutoNum type="alphaLcPeriod"/>
              </a:pPr>
              <a:r>
                <a:rPr lang="it-IT" sz="1400" kern="0" dirty="0">
                  <a:solidFill>
                    <a:schemeClr val="bg1"/>
                  </a:solidFill>
                </a:rPr>
                <a:t>opere murarie e assimilate e infrastrutture specifiche aziendali </a:t>
              </a:r>
              <a:r>
                <a:rPr lang="it-IT" sz="1400" kern="0" dirty="0">
                  <a:solidFill>
                    <a:schemeClr val="bg1"/>
                  </a:solidFill>
                  <a:sym typeface="Wingdings" panose="05000000000000000000" pitchFamily="2" charset="2"/>
                </a:rPr>
                <a:t> </a:t>
              </a:r>
              <a:r>
                <a:rPr lang="it-IT" sz="1400" kern="0" dirty="0">
                  <a:solidFill>
                    <a:schemeClr val="tx2"/>
                  </a:solidFill>
                  <a:sym typeface="Wingdings" panose="05000000000000000000" pitchFamily="2" charset="2"/>
                </a:rPr>
                <a:t>max 40% (70% per attività turistiche);</a:t>
              </a:r>
              <a:endParaRPr lang="it-IT" sz="1400" kern="0" dirty="0">
                <a:solidFill>
                  <a:schemeClr val="tx2"/>
                </a:solidFill>
              </a:endParaRPr>
            </a:p>
            <a:p>
              <a:pPr marL="342900" indent="-342900" algn="just" defTabSz="685434">
                <a:spcAft>
                  <a:spcPts val="600"/>
                </a:spcAft>
                <a:buClr>
                  <a:srgbClr val="FFE600"/>
                </a:buClr>
                <a:buSzPct val="80000"/>
                <a:buFont typeface="+mj-lt"/>
                <a:buAutoNum type="alphaLcPeriod"/>
              </a:pPr>
              <a:r>
                <a:rPr lang="it-IT" sz="1400" kern="0" dirty="0">
                  <a:solidFill>
                    <a:schemeClr val="bg1"/>
                  </a:solidFill>
                </a:rPr>
                <a:t>macchinari, impianti ed attrezzature varie;</a:t>
              </a:r>
            </a:p>
            <a:p>
              <a:pPr marL="342900" indent="-342900" algn="just" defTabSz="685434">
                <a:spcAft>
                  <a:spcPts val="600"/>
                </a:spcAft>
                <a:buClr>
                  <a:srgbClr val="FFE600"/>
                </a:buClr>
                <a:buSzPct val="80000"/>
                <a:buFont typeface="+mj-lt"/>
                <a:buAutoNum type="alphaLcPeriod"/>
              </a:pPr>
              <a:r>
                <a:rPr lang="it-IT" sz="1400" kern="0" dirty="0">
                  <a:solidFill>
                    <a:schemeClr val="bg1"/>
                  </a:solidFill>
                </a:rPr>
                <a:t>programmi informatici e servizi per le Tecnologie dell’informazione e della comunicazione (TIC);</a:t>
              </a:r>
            </a:p>
            <a:p>
              <a:pPr marL="342900" indent="-342900" algn="just" defTabSz="685434">
                <a:spcAft>
                  <a:spcPts val="600"/>
                </a:spcAft>
                <a:buClr>
                  <a:srgbClr val="FFE600"/>
                </a:buClr>
                <a:buSzPct val="80000"/>
                <a:buFont typeface="+mj-lt"/>
                <a:buAutoNum type="alphaLcPeriod"/>
              </a:pPr>
              <a:r>
                <a:rPr lang="it-IT" sz="1400" kern="0" dirty="0">
                  <a:solidFill>
                    <a:schemeClr val="bg1"/>
                  </a:solidFill>
                </a:rPr>
                <a:t>immobilizzazioni immateriali </a:t>
              </a:r>
              <a:r>
                <a:rPr lang="it-IT" sz="1400" kern="0" dirty="0">
                  <a:solidFill>
                    <a:schemeClr val="bg1"/>
                  </a:solidFill>
                  <a:sym typeface="Wingdings" panose="05000000000000000000" pitchFamily="2" charset="2"/>
                </a:rPr>
                <a:t> </a:t>
              </a:r>
              <a:r>
                <a:rPr lang="it-IT" sz="1400" kern="0" dirty="0">
                  <a:solidFill>
                    <a:schemeClr val="tx2"/>
                  </a:solidFill>
                  <a:sym typeface="Wingdings" panose="05000000000000000000" pitchFamily="2" charset="2"/>
                </a:rPr>
                <a:t>max 50% per le Grandi Imprese;</a:t>
              </a:r>
              <a:endParaRPr lang="it-IT" sz="1400" kern="0" dirty="0">
                <a:solidFill>
                  <a:schemeClr val="tx2"/>
                </a:solidFill>
              </a:endParaRPr>
            </a:p>
            <a:p>
              <a:pPr marL="342900" indent="-342900" algn="just" defTabSz="685434">
                <a:spcAft>
                  <a:spcPts val="600"/>
                </a:spcAft>
                <a:buClr>
                  <a:srgbClr val="FFE600"/>
                </a:buClr>
                <a:buSzPct val="80000"/>
                <a:buFont typeface="+mj-lt"/>
                <a:buAutoNum type="alphaLcPeriod"/>
              </a:pPr>
              <a:r>
                <a:rPr lang="it-IT" sz="1400" kern="0" dirty="0">
                  <a:solidFill>
                    <a:schemeClr val="bg1"/>
                  </a:solidFill>
                </a:rPr>
                <a:t>beni strumentali, materiali e immateriali, 4.0;</a:t>
              </a:r>
            </a:p>
            <a:p>
              <a:pPr marL="342900" indent="-342900" algn="just" defTabSz="685434">
                <a:spcAft>
                  <a:spcPts val="600"/>
                </a:spcAft>
                <a:buClr>
                  <a:srgbClr val="FFE600"/>
                </a:buClr>
                <a:buSzPct val="80000"/>
                <a:buFont typeface="+mj-lt"/>
                <a:buAutoNum type="alphaLcPeriod"/>
              </a:pPr>
              <a:r>
                <a:rPr lang="it-IT" sz="1400" kern="0" dirty="0">
                  <a:solidFill>
                    <a:schemeClr val="bg1"/>
                  </a:solidFill>
                </a:rPr>
                <a:t>consulenze (solo per le PMI) </a:t>
              </a:r>
              <a:r>
                <a:rPr lang="it-IT" sz="1400" kern="0" dirty="0">
                  <a:solidFill>
                    <a:schemeClr val="bg1"/>
                  </a:solidFill>
                  <a:sym typeface="Wingdings" panose="05000000000000000000" pitchFamily="2" charset="2"/>
                </a:rPr>
                <a:t> </a:t>
              </a:r>
              <a:r>
                <a:rPr lang="it-IT" sz="1400" kern="0" dirty="0">
                  <a:solidFill>
                    <a:schemeClr val="tx2"/>
                  </a:solidFill>
                  <a:sym typeface="Wingdings" panose="05000000000000000000" pitchFamily="2" charset="2"/>
                </a:rPr>
                <a:t>max 5%.</a:t>
              </a:r>
              <a:endParaRPr lang="it-IT" sz="1400" kern="0" dirty="0">
                <a:solidFill>
                  <a:schemeClr val="tx2"/>
                </a:solidFill>
              </a:endParaRPr>
            </a:p>
          </p:txBody>
        </p:sp>
      </p:grpSp>
      <p:sp>
        <p:nvSpPr>
          <p:cNvPr id="43" name="TextBox 42">
            <a:extLst>
              <a:ext uri="{FF2B5EF4-FFF2-40B4-BE49-F238E27FC236}">
                <a16:creationId xmlns:a16="http://schemas.microsoft.com/office/drawing/2014/main" id="{4546EEEF-0BF9-C1E2-F7E9-3934C2318042}"/>
              </a:ext>
            </a:extLst>
          </p:cNvPr>
          <p:cNvSpPr txBox="1"/>
          <p:nvPr/>
        </p:nvSpPr>
        <p:spPr>
          <a:xfrm>
            <a:off x="6294773" y="1486913"/>
            <a:ext cx="5451025" cy="1162010"/>
          </a:xfrm>
          <a:prstGeom prst="rect">
            <a:avLst/>
          </a:prstGeom>
          <a:noFill/>
          <a:ln w="12700" cap="sq">
            <a:noFill/>
            <a:miter lim="800000"/>
          </a:ln>
        </p:spPr>
        <p:txBody>
          <a:bodyPr wrap="square" lIns="0" tIns="0" rIns="0" bIns="0" rtlCol="0">
            <a:noAutofit/>
          </a:bodyPr>
          <a:lstStyle/>
          <a:p>
            <a:pPr marL="342900" indent="-342900" algn="l" defTabSz="685434">
              <a:buClr>
                <a:srgbClr val="FFE600"/>
              </a:buClr>
              <a:buSzPct val="80000"/>
              <a:buFont typeface="+mj-lt"/>
              <a:buAutoNum type="alphaLcPeriod"/>
            </a:pPr>
            <a:r>
              <a:rPr lang="it-IT" sz="1400" kern="0" dirty="0">
                <a:solidFill>
                  <a:schemeClr val="bg1"/>
                </a:solidFill>
              </a:rPr>
              <a:t>Personale dipendente (tecnici, ricercatori personale ausiliario);</a:t>
            </a:r>
          </a:p>
          <a:p>
            <a:pPr marL="342900" indent="-342900" algn="l" defTabSz="685434">
              <a:buClr>
                <a:srgbClr val="FFE600"/>
              </a:buClr>
              <a:buSzPct val="80000"/>
              <a:buFont typeface="+mj-lt"/>
              <a:buAutoNum type="alphaLcPeriod"/>
            </a:pPr>
            <a:r>
              <a:rPr lang="it-IT" sz="1400" kern="0" dirty="0">
                <a:solidFill>
                  <a:schemeClr val="bg1"/>
                </a:solidFill>
              </a:rPr>
              <a:t>strumenti e attrezzature di nuova fabbricazione;</a:t>
            </a:r>
          </a:p>
          <a:p>
            <a:pPr marL="342900" indent="-342900" algn="l" defTabSz="685434">
              <a:buClr>
                <a:srgbClr val="FFE600"/>
              </a:buClr>
              <a:buSzPct val="80000"/>
              <a:buFont typeface="+mj-lt"/>
              <a:buAutoNum type="alphaLcPeriod"/>
            </a:pPr>
            <a:r>
              <a:rPr lang="it-IT" sz="1400" kern="0" dirty="0">
                <a:solidFill>
                  <a:schemeClr val="bg1"/>
                </a:solidFill>
              </a:rPr>
              <a:t>costi per la ricerca contrattuale, quali conoscenze e brevetti, nonché servizi di consulenza;</a:t>
            </a:r>
          </a:p>
          <a:p>
            <a:pPr marL="342900" indent="-342900" algn="l" defTabSz="685434">
              <a:buClr>
                <a:srgbClr val="FFE600"/>
              </a:buClr>
              <a:buSzPct val="80000"/>
              <a:buFont typeface="+mj-lt"/>
              <a:buAutoNum type="alphaLcPeriod"/>
            </a:pPr>
            <a:r>
              <a:rPr lang="it-IT" sz="1400" kern="0" dirty="0">
                <a:solidFill>
                  <a:schemeClr val="bg1"/>
                </a:solidFill>
              </a:rPr>
              <a:t>spese generali e materiali.</a:t>
            </a:r>
          </a:p>
        </p:txBody>
      </p:sp>
      <p:sp>
        <p:nvSpPr>
          <p:cNvPr id="45" name="TextBox 44">
            <a:extLst>
              <a:ext uri="{FF2B5EF4-FFF2-40B4-BE49-F238E27FC236}">
                <a16:creationId xmlns:a16="http://schemas.microsoft.com/office/drawing/2014/main" id="{C16BEC2C-7349-8A61-17E3-3672F8002D58}"/>
              </a:ext>
            </a:extLst>
          </p:cNvPr>
          <p:cNvSpPr txBox="1"/>
          <p:nvPr/>
        </p:nvSpPr>
        <p:spPr>
          <a:xfrm>
            <a:off x="6294773" y="3227386"/>
            <a:ext cx="5451025" cy="1162010"/>
          </a:xfrm>
          <a:prstGeom prst="rect">
            <a:avLst/>
          </a:prstGeom>
          <a:noFill/>
          <a:ln w="12700" cap="sq">
            <a:noFill/>
            <a:miter lim="800000"/>
          </a:ln>
        </p:spPr>
        <p:txBody>
          <a:bodyPr wrap="square" lIns="0" tIns="0" rIns="0" bIns="0" rtlCol="0">
            <a:noAutofit/>
          </a:bodyPr>
          <a:lstStyle/>
          <a:p>
            <a:pPr marL="342900" indent="-342900" algn="l" defTabSz="685434">
              <a:buClr>
                <a:srgbClr val="FFE600"/>
              </a:buClr>
              <a:buSzPct val="80000"/>
              <a:buFont typeface="+mj-lt"/>
              <a:buAutoNum type="alphaLcPeriod"/>
            </a:pPr>
            <a:r>
              <a:rPr lang="it-IT" sz="1400" kern="0" dirty="0">
                <a:solidFill>
                  <a:schemeClr val="bg1"/>
                </a:solidFill>
              </a:rPr>
              <a:t>Spese di personale interno relative ai formatori per le ore di partecipazione alla formazione;</a:t>
            </a:r>
          </a:p>
          <a:p>
            <a:pPr marL="342900" indent="-342900" algn="l" defTabSz="685434">
              <a:buClr>
                <a:srgbClr val="FFE600"/>
              </a:buClr>
              <a:buSzPct val="80000"/>
              <a:buFont typeface="+mj-lt"/>
              <a:buAutoNum type="alphaLcPeriod"/>
            </a:pPr>
            <a:r>
              <a:rPr lang="it-IT" sz="1400" kern="0" dirty="0">
                <a:solidFill>
                  <a:schemeClr val="bg1"/>
                </a:solidFill>
              </a:rPr>
              <a:t>costi di esercizio relativi a formatori e partecipanti alla formazione (spese di viaggio, alloggio, i materiali e le forniture, l’ammortamento degli strumenti e delle attrezzature);</a:t>
            </a:r>
          </a:p>
          <a:p>
            <a:pPr marL="342900" indent="-342900" algn="l" defTabSz="685434">
              <a:buClr>
                <a:srgbClr val="FFE600"/>
              </a:buClr>
              <a:buSzPct val="80000"/>
              <a:buFont typeface="+mj-lt"/>
              <a:buAutoNum type="alphaLcPeriod"/>
            </a:pPr>
            <a:r>
              <a:rPr lang="it-IT" sz="1400" kern="0" dirty="0">
                <a:solidFill>
                  <a:schemeClr val="bg1"/>
                </a:solidFill>
              </a:rPr>
              <a:t>costi dei servizi di consulenza connessi alla formazione.</a:t>
            </a:r>
          </a:p>
        </p:txBody>
      </p:sp>
      <p:sp>
        <p:nvSpPr>
          <p:cNvPr id="46" name="TextBox 45">
            <a:extLst>
              <a:ext uri="{FF2B5EF4-FFF2-40B4-BE49-F238E27FC236}">
                <a16:creationId xmlns:a16="http://schemas.microsoft.com/office/drawing/2014/main" id="{AF14B587-2C28-E532-7DB6-F1A1F8A98F8D}"/>
              </a:ext>
            </a:extLst>
          </p:cNvPr>
          <p:cNvSpPr txBox="1"/>
          <p:nvPr/>
        </p:nvSpPr>
        <p:spPr>
          <a:xfrm>
            <a:off x="6302819" y="5046884"/>
            <a:ext cx="5451025" cy="1162010"/>
          </a:xfrm>
          <a:prstGeom prst="rect">
            <a:avLst/>
          </a:prstGeom>
          <a:noFill/>
          <a:ln w="12700" cap="sq">
            <a:noFill/>
            <a:miter lim="800000"/>
          </a:ln>
        </p:spPr>
        <p:txBody>
          <a:bodyPr wrap="square" lIns="0" tIns="0" rIns="0" bIns="0" rtlCol="0">
            <a:noAutofit/>
          </a:bodyPr>
          <a:lstStyle/>
          <a:p>
            <a:pPr marL="342900" indent="-342900" algn="l" defTabSz="685434">
              <a:buClr>
                <a:srgbClr val="FFE600"/>
              </a:buClr>
              <a:buSzPct val="80000"/>
              <a:buFont typeface="+mj-lt"/>
              <a:buAutoNum type="alphaLcPeriod"/>
            </a:pPr>
            <a:r>
              <a:rPr lang="it-IT" sz="1400" kern="0" dirty="0">
                <a:solidFill>
                  <a:schemeClr val="bg1"/>
                </a:solidFill>
              </a:rPr>
              <a:t>Personale dipendente (tecnici, ricercatori personale ausiliario);</a:t>
            </a:r>
          </a:p>
          <a:p>
            <a:pPr marL="342900" indent="-342900" algn="l" defTabSz="685434">
              <a:buClr>
                <a:srgbClr val="FFE600"/>
              </a:buClr>
              <a:buSzPct val="80000"/>
              <a:buFont typeface="+mj-lt"/>
              <a:buAutoNum type="alphaLcPeriod"/>
            </a:pPr>
            <a:r>
              <a:rPr lang="it-IT" sz="1400" kern="0" dirty="0">
                <a:solidFill>
                  <a:schemeClr val="bg1"/>
                </a:solidFill>
              </a:rPr>
              <a:t>strumentazione e attrezzature;</a:t>
            </a:r>
          </a:p>
          <a:p>
            <a:pPr marL="342900" indent="-342900" defTabSz="685434">
              <a:buClr>
                <a:srgbClr val="FFE600"/>
              </a:buClr>
              <a:buSzPct val="80000"/>
              <a:buFont typeface="+mj-lt"/>
              <a:buAutoNum type="alphaLcPeriod"/>
            </a:pPr>
            <a:r>
              <a:rPr lang="it-IT" sz="1400" kern="0" dirty="0">
                <a:solidFill>
                  <a:schemeClr val="bg1"/>
                </a:solidFill>
              </a:rPr>
              <a:t>costi per la ricerca contrattuale, quali conoscenze e brevetti, nonché servizi di consulenza;</a:t>
            </a:r>
          </a:p>
          <a:p>
            <a:pPr marL="342900" indent="-342900" algn="l" defTabSz="685434">
              <a:buClr>
                <a:srgbClr val="FFE600"/>
              </a:buClr>
              <a:buSzPct val="80000"/>
              <a:buFont typeface="+mj-lt"/>
              <a:buAutoNum type="alphaLcPeriod"/>
            </a:pPr>
            <a:r>
              <a:rPr lang="it-IT" sz="1400" kern="0" dirty="0">
                <a:solidFill>
                  <a:schemeClr val="bg1"/>
                </a:solidFill>
              </a:rPr>
              <a:t>spese generali supplementari e altri costi di esercizio, compresi i costi dei materiali, delle forniture e di prodotti analoghi.</a:t>
            </a:r>
          </a:p>
        </p:txBody>
      </p:sp>
      <p:sp>
        <p:nvSpPr>
          <p:cNvPr id="48" name="TextBox 47">
            <a:extLst>
              <a:ext uri="{FF2B5EF4-FFF2-40B4-BE49-F238E27FC236}">
                <a16:creationId xmlns:a16="http://schemas.microsoft.com/office/drawing/2014/main" id="{1CE00E93-182D-4966-DECF-8E5766D17DB2}"/>
              </a:ext>
            </a:extLst>
          </p:cNvPr>
          <p:cNvSpPr txBox="1"/>
          <p:nvPr/>
        </p:nvSpPr>
        <p:spPr>
          <a:xfrm>
            <a:off x="3320073" y="1635409"/>
            <a:ext cx="2675590" cy="4569760"/>
          </a:xfrm>
          <a:prstGeom prst="rect">
            <a:avLst/>
          </a:prstGeom>
          <a:noFill/>
          <a:ln w="12700" cap="sq">
            <a:noFill/>
            <a:miter lim="800000"/>
          </a:ln>
        </p:spPr>
        <p:txBody>
          <a:bodyPr wrap="square" lIns="0" tIns="0" rIns="0" bIns="0" rtlCol="0">
            <a:noAutofit/>
          </a:bodyPr>
          <a:lstStyle/>
          <a:p>
            <a:pPr marL="342900" indent="-342900" algn="just" defTabSz="685434">
              <a:spcAft>
                <a:spcPts val="600"/>
              </a:spcAft>
              <a:buClr>
                <a:srgbClr val="FFE600"/>
              </a:buClr>
              <a:buSzPct val="80000"/>
              <a:buFont typeface="+mj-lt"/>
              <a:buAutoNum type="alphaLcPeriod"/>
            </a:pPr>
            <a:r>
              <a:rPr lang="it-IT" sz="1400" kern="0" dirty="0">
                <a:solidFill>
                  <a:schemeClr val="bg1"/>
                </a:solidFill>
              </a:rPr>
              <a:t>Impianti e attrezzature varie, nuovi di fabbrica, volti a perseguire la finalità ambientale selezionata.</a:t>
            </a:r>
          </a:p>
          <a:p>
            <a:pPr algn="just" defTabSz="685434">
              <a:spcAft>
                <a:spcPts val="600"/>
              </a:spcAft>
              <a:buClr>
                <a:srgbClr val="FFE600"/>
              </a:buClr>
              <a:buSzPct val="80000"/>
            </a:pPr>
            <a:r>
              <a:rPr lang="it-IT" sz="1400" kern="0" dirty="0">
                <a:solidFill>
                  <a:schemeClr val="bg1"/>
                </a:solidFill>
              </a:rPr>
              <a:t>In base alla tipologia di investimento per la tutela ambientale effettuato dall’impresa, sarà necessario presentare lo </a:t>
            </a:r>
            <a:r>
              <a:rPr lang="it-IT" sz="1400" kern="0" dirty="0">
                <a:solidFill>
                  <a:schemeClr val="tx2"/>
                </a:solidFill>
              </a:rPr>
              <a:t>scenario controfattuale</a:t>
            </a:r>
            <a:r>
              <a:rPr lang="it-IT" sz="1400" kern="0" dirty="0">
                <a:solidFill>
                  <a:schemeClr val="bg1"/>
                </a:solidFill>
              </a:rPr>
              <a:t>:</a:t>
            </a:r>
          </a:p>
          <a:p>
            <a:pPr marL="285750" indent="-285750" algn="just" defTabSz="685434">
              <a:spcAft>
                <a:spcPts val="600"/>
              </a:spcAft>
              <a:buClr>
                <a:srgbClr val="FFE600"/>
              </a:buClr>
              <a:buSzPct val="80000"/>
              <a:buFont typeface="Arial" panose="020B0604020202020204" pitchFamily="34" charset="0"/>
              <a:buChar char="►"/>
            </a:pPr>
            <a:r>
              <a:rPr lang="it-IT" sz="1400" kern="0" dirty="0">
                <a:solidFill>
                  <a:schemeClr val="bg1"/>
                </a:solidFill>
              </a:rPr>
              <a:t>sono ammissibili i costi supplementari necessari per raggiungere un livello più elevato di tutela ambientale.</a:t>
            </a:r>
            <a:endParaRPr lang="it-IT" sz="1400" kern="0" dirty="0">
              <a:solidFill>
                <a:schemeClr val="tx2"/>
              </a:solidFill>
            </a:endParaRPr>
          </a:p>
        </p:txBody>
      </p:sp>
    </p:spTree>
    <p:extLst>
      <p:ext uri="{BB962C8B-B14F-4D97-AF65-F5344CB8AC3E}">
        <p14:creationId xmlns:p14="http://schemas.microsoft.com/office/powerpoint/2010/main" val="726519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4" name="Picture 10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0" y="20837"/>
            <a:ext cx="6038626" cy="6837163"/>
          </a:xfrm>
          <a:prstGeom prst="rect">
            <a:avLst/>
          </a:prstGeom>
          <a:noFill/>
        </p:spPr>
      </p:pic>
      <p:pic>
        <p:nvPicPr>
          <p:cNvPr id="105" name="Picture 10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0" y="0"/>
            <a:ext cx="6172708" cy="6858000"/>
          </a:xfrm>
          <a:prstGeom prst="rect">
            <a:avLst/>
          </a:prstGeom>
          <a:noFill/>
        </p:spPr>
      </p:pic>
      <p:pic>
        <p:nvPicPr>
          <p:cNvPr id="106" name="Picture 106"/>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0" y="0"/>
            <a:ext cx="6245860" cy="6858000"/>
          </a:xfrm>
          <a:prstGeom prst="rect">
            <a:avLst/>
          </a:prstGeom>
          <a:noFill/>
        </p:spPr>
      </p:pic>
      <p:sp>
        <p:nvSpPr>
          <p:cNvPr id="107" name="Rectangle 107"/>
          <p:cNvSpPr/>
          <p:nvPr/>
        </p:nvSpPr>
        <p:spPr>
          <a:xfrm>
            <a:off x="6306311" y="714201"/>
            <a:ext cx="5424562" cy="940386"/>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3194" b="0" i="0" u="none" strike="noStrike" kern="0" cap="none" spc="0" normalizeH="0" baseline="0" noProof="0" dirty="0">
                <a:ln>
                  <a:noFill/>
                </a:ln>
                <a:solidFill>
                  <a:schemeClr val="bg1"/>
                </a:solidFill>
                <a:effectLst/>
                <a:uLnTx/>
                <a:uFillTx/>
                <a:latin typeface="Verdana"/>
              </a:rPr>
              <a:t>Attrazione di investimenti </a:t>
            </a:r>
          </a:p>
          <a:p>
            <a:pPr marL="0" marR="0" lvl="0" indent="0" defTabSz="914400" eaLnBrk="1" fontAlgn="auto" latinLnBrk="0" hangingPunct="1">
              <a:lnSpc>
                <a:spcPts val="3458"/>
              </a:lnSpc>
              <a:spcBef>
                <a:spcPts val="0"/>
              </a:spcBef>
              <a:spcAft>
                <a:spcPts val="0"/>
              </a:spcAft>
              <a:buClrTx/>
              <a:buSzTx/>
              <a:buFontTx/>
              <a:buNone/>
              <a:tabLst/>
              <a:defRPr/>
            </a:pPr>
            <a:r>
              <a:rPr kumimoji="0" lang="it-IT" sz="3194" b="0" i="0" u="none" strike="noStrike" kern="0" cap="none" spc="0" normalizeH="0" baseline="0" noProof="0" dirty="0">
                <a:ln>
                  <a:noFill/>
                </a:ln>
                <a:solidFill>
                  <a:schemeClr val="bg1"/>
                </a:solidFill>
                <a:effectLst/>
                <a:uLnTx/>
                <a:uFillTx/>
                <a:latin typeface="Verdana"/>
              </a:rPr>
              <a:t>in </a:t>
            </a:r>
            <a:r>
              <a:rPr kumimoji="0" lang="it-IT" sz="3194" b="1" i="0" u="none" strike="noStrike" kern="0" cap="none" spc="0" normalizeH="0" baseline="0" noProof="0" dirty="0">
                <a:ln>
                  <a:noFill/>
                </a:ln>
                <a:solidFill>
                  <a:schemeClr val="bg1"/>
                </a:solidFill>
                <a:effectLst/>
                <a:uLnTx/>
                <a:uFillTx/>
                <a:latin typeface="Verdana-Bold"/>
              </a:rPr>
              <a:t>Basilicata</a:t>
            </a:r>
          </a:p>
        </p:txBody>
      </p:sp>
      <p:sp>
        <p:nvSpPr>
          <p:cNvPr id="110" name="Rectangle 110"/>
          <p:cNvSpPr/>
          <p:nvPr/>
        </p:nvSpPr>
        <p:spPr>
          <a:xfrm>
            <a:off x="6457188" y="6111881"/>
            <a:ext cx="4558364" cy="406586"/>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Dossier Aree Industriali</a:t>
            </a:r>
            <a:r>
              <a:rPr kumimoji="0" lang="it-IT" sz="1392" b="0" i="0" u="none" strike="noStrike" kern="0" cap="none" spc="108"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nsistenti nell’area di Crisi </a:t>
            </a:r>
          </a:p>
          <a:p>
            <a:pPr marL="0" marR="0" lvl="0" indent="0" defTabSz="914400" eaLnBrk="1" fontAlgn="auto" latinLnBrk="0" hangingPunct="1">
              <a:lnSpc>
                <a:spcPts val="1512"/>
              </a:lnSpc>
              <a:spcBef>
                <a:spcPts val="0"/>
              </a:spcBef>
              <a:spcAft>
                <a:spcPts val="0"/>
              </a:spcAft>
              <a:buClrTx/>
              <a:buSzTx/>
              <a:buFontTx/>
              <a:buNone/>
              <a:tabLst/>
              <a:defRPr/>
            </a:pPr>
            <a:r>
              <a:rPr kumimoji="0" lang="it-IT" sz="1394" b="0" i="0" u="none" strike="noStrike" kern="0" cap="none" spc="0" normalizeH="0" baseline="0" noProof="0" dirty="0">
                <a:ln>
                  <a:noFill/>
                </a:ln>
                <a:solidFill>
                  <a:schemeClr val="bg1"/>
                </a:solidFill>
                <a:effectLst/>
                <a:uLnTx/>
                <a:uFillTx/>
                <a:latin typeface="Verdana"/>
              </a:rPr>
              <a:t>Compless</a:t>
            </a:r>
            <a:r>
              <a:rPr kumimoji="0" lang="it-IT" sz="1394" b="0" i="0" u="none" strike="noStrike" kern="0" cap="none" spc="1031" normalizeH="0" baseline="0" noProof="0" dirty="0">
                <a:ln>
                  <a:noFill/>
                </a:ln>
                <a:solidFill>
                  <a:schemeClr val="bg1"/>
                </a:solidFill>
                <a:effectLst/>
                <a:uLnTx/>
                <a:uFillTx/>
                <a:latin typeface="Verdana"/>
              </a:rPr>
              <a:t>a</a:t>
            </a:r>
            <a:r>
              <a:rPr kumimoji="0" lang="it-IT" sz="1394" b="0" i="0" u="none" strike="noStrike" kern="0" cap="none" spc="0" normalizeH="0" baseline="0" noProof="0" dirty="0">
                <a:ln>
                  <a:noFill/>
                </a:ln>
                <a:solidFill>
                  <a:schemeClr val="bg1"/>
                </a:solidFill>
                <a:effectLst/>
                <a:uLnTx/>
                <a:uFillTx/>
                <a:latin typeface="Verdana"/>
              </a:rPr>
              <a:t>Rev.3 30/04/2024</a:t>
            </a:r>
          </a:p>
        </p:txBody>
      </p:sp>
      <p:pic>
        <p:nvPicPr>
          <p:cNvPr id="103" name="Picture 103"/>
          <p:cNvPicPr>
            <a:picLocks noChangeArrowheads="1"/>
          </p:cNvPicPr>
          <p:nvPr/>
        </p:nvPicPr>
        <p:blipFill>
          <a:blip r:embed="rId5"/>
          <a:srcRect/>
          <a:stretch/>
        </p:blipFill>
        <p:spPr>
          <a:xfrm>
            <a:off x="471385" y="2584704"/>
            <a:ext cx="3882212" cy="2602992"/>
          </a:xfrm>
          <a:prstGeom prst="rect">
            <a:avLst/>
          </a:prstGeom>
          <a:noFill/>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a:t>Focus agevolazione</a:t>
            </a:r>
          </a:p>
        </p:txBody>
      </p:sp>
      <p:graphicFrame>
        <p:nvGraphicFramePr>
          <p:cNvPr id="2" name="Table 2">
            <a:extLst>
              <a:ext uri="{FF2B5EF4-FFF2-40B4-BE49-F238E27FC236}">
                <a16:creationId xmlns:a16="http://schemas.microsoft.com/office/drawing/2014/main" id="{9DB8E01B-9B49-7696-FF7C-4DB928C0D79E}"/>
              </a:ext>
            </a:extLst>
          </p:cNvPr>
          <p:cNvGraphicFramePr>
            <a:graphicFrameLocks noGrp="1"/>
          </p:cNvGraphicFramePr>
          <p:nvPr>
            <p:extLst>
              <p:ext uri="{D42A27DB-BD31-4B8C-83A1-F6EECF244321}">
                <p14:modId xmlns:p14="http://schemas.microsoft.com/office/powerpoint/2010/main" val="1700668926"/>
              </p:ext>
            </p:extLst>
          </p:nvPr>
        </p:nvGraphicFramePr>
        <p:xfrm>
          <a:off x="980390" y="2171429"/>
          <a:ext cx="10037975" cy="3833441"/>
        </p:xfrm>
        <a:graphic>
          <a:graphicData uri="http://schemas.openxmlformats.org/drawingml/2006/table">
            <a:tbl>
              <a:tblPr firstRow="1" bandRow="1">
                <a:tableStyleId>{5C22544A-7EE6-4342-B048-85BDC9FD1C3A}</a:tableStyleId>
              </a:tblPr>
              <a:tblGrid>
                <a:gridCol w="2837466">
                  <a:extLst>
                    <a:ext uri="{9D8B030D-6E8A-4147-A177-3AD203B41FA5}">
                      <a16:colId xmlns:a16="http://schemas.microsoft.com/office/drawing/2014/main" val="1357525045"/>
                    </a:ext>
                  </a:extLst>
                </a:gridCol>
                <a:gridCol w="3838761">
                  <a:extLst>
                    <a:ext uri="{9D8B030D-6E8A-4147-A177-3AD203B41FA5}">
                      <a16:colId xmlns:a16="http://schemas.microsoft.com/office/drawing/2014/main" val="3325452472"/>
                    </a:ext>
                  </a:extLst>
                </a:gridCol>
                <a:gridCol w="1680874">
                  <a:extLst>
                    <a:ext uri="{9D8B030D-6E8A-4147-A177-3AD203B41FA5}">
                      <a16:colId xmlns:a16="http://schemas.microsoft.com/office/drawing/2014/main" val="516109726"/>
                    </a:ext>
                  </a:extLst>
                </a:gridCol>
                <a:gridCol w="1680874">
                  <a:extLst>
                    <a:ext uri="{9D8B030D-6E8A-4147-A177-3AD203B41FA5}">
                      <a16:colId xmlns:a16="http://schemas.microsoft.com/office/drawing/2014/main" val="1492977661"/>
                    </a:ext>
                  </a:extLst>
                </a:gridCol>
              </a:tblGrid>
              <a:tr h="354464">
                <a:tc gridSpan="2">
                  <a:txBody>
                    <a:bodyPr/>
                    <a:lstStyle/>
                    <a:p>
                      <a:pPr algn="ctr"/>
                      <a:r>
                        <a:rPr lang="it-IT" sz="1600" dirty="0">
                          <a:solidFill>
                            <a:schemeClr val="bg2"/>
                          </a:solidFill>
                        </a:rPr>
                        <a:t>TIPOLOGIA DI INVESTIMENTO</a:t>
                      </a:r>
                    </a:p>
                  </a:txBody>
                  <a:tcPr anchor="ctr">
                    <a:lnL w="19050" cap="flat" cmpd="sng" algn="ctr">
                      <a:solidFill>
                        <a:schemeClr val="tx2"/>
                      </a:solidFill>
                      <a:prstDash val="solid"/>
                      <a:round/>
                      <a:headEnd type="none" w="med" len="med"/>
                      <a:tailEnd type="none" w="med" len="med"/>
                    </a:lnL>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tx2"/>
                    </a:solidFill>
                  </a:tcPr>
                </a:tc>
                <a:tc hMerge="1">
                  <a:txBody>
                    <a:bodyPr/>
                    <a:lstStyle/>
                    <a:p>
                      <a:pPr algn="ctr"/>
                      <a:endParaRPr lang="it-IT">
                        <a:solidFill>
                          <a:schemeClr val="bg2"/>
                        </a:solidFill>
                      </a:endParaRPr>
                    </a:p>
                  </a:txBody>
                  <a:tcPr>
                    <a:solidFill>
                      <a:schemeClr val="tx2"/>
                    </a:solidFill>
                  </a:tcPr>
                </a:tc>
                <a:tc gridSpan="2">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it-IT" sz="1600">
                          <a:solidFill>
                            <a:schemeClr val="bg2"/>
                          </a:solidFill>
                        </a:rPr>
                        <a:t>AGEVOLAZIONE MAX(*)</a:t>
                      </a:r>
                    </a:p>
                  </a:txBody>
                  <a:tcPr anchor="ctr">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tx2"/>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2069239209"/>
                  </a:ext>
                </a:extLst>
              </a:tr>
              <a:tr h="386553">
                <a:tc gridSpan="2">
                  <a:txBody>
                    <a:bodyPr/>
                    <a:lstStyle/>
                    <a:p>
                      <a:pPr algn="l"/>
                      <a:r>
                        <a:rPr lang="it-IT" sz="1600" b="1" dirty="0">
                          <a:solidFill>
                            <a:schemeClr val="tx2"/>
                          </a:solidFill>
                        </a:rPr>
                        <a:t>INVESTIMENTI PRODUTTIVI</a:t>
                      </a:r>
                    </a:p>
                  </a:txBody>
                  <a:tcPr anchor="ctr">
                    <a:lnL w="19050" cap="flat" cmpd="sng" algn="ctr">
                      <a:solidFill>
                        <a:schemeClr val="tx2"/>
                      </a:solidFill>
                      <a:prstDash val="solid"/>
                      <a:round/>
                      <a:headEnd type="none" w="med" len="med"/>
                      <a:tailEnd type="none" w="med" len="med"/>
                    </a:lnL>
                    <a:lnT w="1905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tc>
                <a:tc gridSpan="2">
                  <a:txBody>
                    <a:bodyPr/>
                    <a:lstStyle/>
                    <a:p>
                      <a:pPr algn="ctr"/>
                      <a:r>
                        <a:rPr lang="it-IT">
                          <a:solidFill>
                            <a:schemeClr val="bg1"/>
                          </a:solidFill>
                        </a:rPr>
                        <a:t>30%</a:t>
                      </a:r>
                    </a:p>
                  </a:txBody>
                  <a:tcPr anchor="ctr">
                    <a:lnR w="19050" cap="flat" cmpd="sng" algn="ctr">
                      <a:solidFill>
                        <a:schemeClr val="tx2"/>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2472102776"/>
                  </a:ext>
                </a:extLst>
              </a:tr>
              <a:tr h="386553">
                <a:tc rowSpan="5">
                  <a:txBody>
                    <a:bodyPr/>
                    <a:lstStyle/>
                    <a:p>
                      <a:pPr algn="l"/>
                      <a:r>
                        <a:rPr lang="it-IT" sz="1600" b="1" dirty="0">
                          <a:solidFill>
                            <a:schemeClr val="tx2"/>
                          </a:solidFill>
                        </a:rPr>
                        <a:t>TUTELA AMBIENTALE</a:t>
                      </a:r>
                    </a:p>
                  </a:txBody>
                  <a:tcPr anchor="ctr">
                    <a:lnL w="19050" cap="flat" cmpd="sng" algn="ctr">
                      <a:solidFill>
                        <a:schemeClr val="tx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marL="179388" marR="0" lvl="0" indent="-179388" algn="l" defTabSz="914400" rtl="0" eaLnBrk="1" fontAlgn="auto" latinLnBrk="0" hangingPunct="1">
                        <a:lnSpc>
                          <a:spcPct val="110000"/>
                        </a:lnSpc>
                        <a:spcBef>
                          <a:spcPts val="0"/>
                        </a:spcBef>
                        <a:spcAft>
                          <a:spcPts val="0"/>
                        </a:spcAft>
                        <a:buClr>
                          <a:srgbClr val="FFE600">
                            <a:lumMod val="100000"/>
                          </a:srgbClr>
                        </a:buClr>
                        <a:buSzTx/>
                        <a:buFontTx/>
                        <a:buNone/>
                        <a:tabLst/>
                        <a:defRPr/>
                      </a:pPr>
                      <a:r>
                        <a:rPr kumimoji="0" lang="it-IT" sz="1200" b="0" i="0" u="none" strike="noStrike" kern="1200" cap="none" spc="0" normalizeH="0" baseline="0" noProof="0" dirty="0">
                          <a:ln>
                            <a:noFill/>
                          </a:ln>
                          <a:solidFill>
                            <a:schemeClr val="bg1"/>
                          </a:solidFill>
                          <a:effectLst/>
                          <a:uLnTx/>
                          <a:uFillTx/>
                          <a:latin typeface="+mn-lt"/>
                          <a:ea typeface="+mn-ea"/>
                          <a:cs typeface="+mn-cs"/>
                        </a:rPr>
                        <a:t>Emissioni gas effetto serra</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gridSpan="2">
                  <a:txBody>
                    <a:bodyPr/>
                    <a:lstStyle/>
                    <a:p>
                      <a:pPr algn="ctr"/>
                      <a:r>
                        <a:rPr lang="it-IT" dirty="0">
                          <a:solidFill>
                            <a:schemeClr val="bg1"/>
                          </a:solidFill>
                        </a:rPr>
                        <a:t>55%</a:t>
                      </a:r>
                    </a:p>
                  </a:txBody>
                  <a:tcPr anchor="ctr">
                    <a:lnL w="19050" cap="flat" cmpd="sng" algn="ctr">
                      <a:solidFill>
                        <a:schemeClr val="bg1"/>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2112157625"/>
                  </a:ext>
                </a:extLst>
              </a:tr>
              <a:tr h="386553">
                <a:tc vMerge="1">
                  <a:txBody>
                    <a:bodyPr/>
                    <a:lstStyle/>
                    <a:p>
                      <a:pPr algn="l"/>
                      <a:endParaRPr lang="it-IT" sz="1600" b="1" dirty="0">
                        <a:solidFill>
                          <a:schemeClr val="tx2"/>
                        </a:solidFill>
                      </a:endParaRPr>
                    </a:p>
                  </a:txBody>
                  <a:tcPr anchor="ctr">
                    <a:lnL w="19050" cap="flat" cmpd="sng" algn="ctr">
                      <a:solidFill>
                        <a:schemeClr val="tx2"/>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algn="l"/>
                      <a:r>
                        <a:rPr lang="it-IT" sz="1200" b="1" dirty="0">
                          <a:solidFill>
                            <a:schemeClr val="bg1"/>
                          </a:solidFill>
                        </a:rPr>
                        <a:t>Maggiore efficienza energetica</a:t>
                      </a:r>
                    </a:p>
                  </a:txBody>
                  <a:tcPr anchor="ctr">
                    <a:lnT w="19050" cap="flat" cmpd="sng" algn="ctr">
                      <a:solidFill>
                        <a:schemeClr val="bg1"/>
                      </a:solidFill>
                      <a:prstDash val="solid"/>
                      <a:round/>
                      <a:headEnd type="none" w="med" len="med"/>
                      <a:tailEnd type="none" w="med" len="med"/>
                    </a:lnT>
                    <a:solidFill>
                      <a:schemeClr val="tx1"/>
                    </a:solidFill>
                  </a:tcPr>
                </a:tc>
                <a:tc gridSpan="2">
                  <a:txBody>
                    <a:bodyPr/>
                    <a:lstStyle/>
                    <a:p>
                      <a:pPr algn="ctr"/>
                      <a:r>
                        <a:rPr lang="it-IT" dirty="0">
                          <a:solidFill>
                            <a:schemeClr val="bg1"/>
                          </a:solidFill>
                        </a:rPr>
                        <a:t>45%</a:t>
                      </a:r>
                    </a:p>
                  </a:txBody>
                  <a:tcPr anchor="ctr">
                    <a:lnR w="19050"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1721203775"/>
                  </a:ext>
                </a:extLst>
              </a:tr>
              <a:tr h="386553">
                <a:tc vMerge="1">
                  <a:txBody>
                    <a:bodyPr/>
                    <a:lstStyle/>
                    <a:p>
                      <a:pPr algn="l"/>
                      <a:endParaRPr lang="it-IT" sz="1600" b="1" dirty="0">
                        <a:solidFill>
                          <a:schemeClr val="tx2"/>
                        </a:solidFill>
                      </a:endParaRPr>
                    </a:p>
                  </a:txBody>
                  <a:tcPr anchor="ctr">
                    <a:lnL w="19050" cap="flat" cmpd="sng" algn="ctr">
                      <a:solidFill>
                        <a:schemeClr val="tx2"/>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algn="l"/>
                      <a:r>
                        <a:rPr lang="it-IT" sz="1200" b="1">
                          <a:solidFill>
                            <a:schemeClr val="bg1"/>
                          </a:solidFill>
                        </a:rPr>
                        <a:t>Produzione energia da fonti rinnovabili</a:t>
                      </a:r>
                    </a:p>
                  </a:txBody>
                  <a:tcPr anchor="ctr">
                    <a:lnL w="19050" cap="flat" cmpd="sng" algn="ctr">
                      <a:solidFill>
                        <a:schemeClr val="bg1"/>
                      </a:solidFill>
                      <a:prstDash val="solid"/>
                      <a:round/>
                      <a:headEnd type="none" w="med" len="med"/>
                      <a:tailEnd type="none" w="med" len="med"/>
                    </a:lnL>
                    <a:solidFill>
                      <a:schemeClr val="tx1"/>
                    </a:solidFill>
                  </a:tcPr>
                </a:tc>
                <a:tc gridSpan="2">
                  <a:txBody>
                    <a:bodyPr/>
                    <a:lstStyle/>
                    <a:p>
                      <a:pPr algn="ctr"/>
                      <a:r>
                        <a:rPr lang="it-IT" dirty="0">
                          <a:solidFill>
                            <a:schemeClr val="bg1"/>
                          </a:solidFill>
                        </a:rPr>
                        <a:t>45%</a:t>
                      </a:r>
                    </a:p>
                  </a:txBody>
                  <a:tcPr anchor="ctr">
                    <a:lnR w="19050" cap="flat" cmpd="sng" algn="ctr">
                      <a:solidFill>
                        <a:schemeClr val="tx2"/>
                      </a:solidFill>
                      <a:prstDash val="solid"/>
                      <a:round/>
                      <a:headEnd type="none" w="med" len="med"/>
                      <a:tailEnd type="none" w="med" len="med"/>
                    </a:lnR>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1019271637"/>
                  </a:ext>
                </a:extLst>
              </a:tr>
              <a:tr h="386553">
                <a:tc vMerge="1">
                  <a:txBody>
                    <a:bodyPr/>
                    <a:lstStyle/>
                    <a:p>
                      <a:pPr algn="l"/>
                      <a:endParaRPr lang="it-IT" sz="1600" b="1" dirty="0">
                        <a:solidFill>
                          <a:schemeClr val="tx2"/>
                        </a:solidFill>
                      </a:endParaRPr>
                    </a:p>
                  </a:txBody>
                  <a:tcPr anchor="ctr">
                    <a:lnL w="19050" cap="flat" cmpd="sng" algn="ctr">
                      <a:solidFill>
                        <a:schemeClr val="tx2"/>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algn="l"/>
                      <a:r>
                        <a:rPr lang="it-IT" sz="1200" b="1" dirty="0">
                          <a:solidFill>
                            <a:schemeClr val="bg1"/>
                          </a:solidFill>
                        </a:rPr>
                        <a:t>Adattamento ai cambiamenti climatici</a:t>
                      </a:r>
                    </a:p>
                  </a:txBody>
                  <a:tcPr anchor="ctr">
                    <a:solidFill>
                      <a:schemeClr val="tx1"/>
                    </a:solidFill>
                  </a:tcPr>
                </a:tc>
                <a:tc gridSpan="2">
                  <a:txBody>
                    <a:bodyPr/>
                    <a:lstStyle/>
                    <a:p>
                      <a:pPr algn="ctr"/>
                      <a:r>
                        <a:rPr lang="it-IT" dirty="0">
                          <a:solidFill>
                            <a:schemeClr val="bg1"/>
                          </a:solidFill>
                        </a:rPr>
                        <a:t>100%</a:t>
                      </a:r>
                    </a:p>
                  </a:txBody>
                  <a:tcPr anchor="ctr">
                    <a:lnR w="19050" cap="flat" cmpd="sng" algn="ctr">
                      <a:solidFill>
                        <a:schemeClr val="tx2"/>
                      </a:solidFill>
                      <a:prstDash val="solid"/>
                      <a:round/>
                      <a:headEnd type="none" w="med" len="med"/>
                      <a:tailEnd type="none" w="med" len="med"/>
                    </a:lnR>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3929705936"/>
                  </a:ext>
                </a:extLst>
              </a:tr>
              <a:tr h="386553">
                <a:tc vMerge="1">
                  <a:txBody>
                    <a:bodyPr/>
                    <a:lstStyle/>
                    <a:p>
                      <a:pPr algn="l"/>
                      <a:endParaRPr lang="it-IT" sz="1600" b="1" dirty="0">
                        <a:solidFill>
                          <a:schemeClr val="tx2"/>
                        </a:solidFill>
                      </a:endParaRPr>
                    </a:p>
                  </a:txBody>
                  <a:tcPr anchor="ctr">
                    <a:lnL w="19050" cap="flat" cmpd="sng" algn="ctr">
                      <a:solidFill>
                        <a:schemeClr val="tx2"/>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algn="l"/>
                      <a:r>
                        <a:rPr lang="it-IT" sz="1200" b="1" dirty="0">
                          <a:solidFill>
                            <a:schemeClr val="bg1"/>
                          </a:solidFill>
                        </a:rPr>
                        <a:t>Economia circolare</a:t>
                      </a:r>
                    </a:p>
                  </a:txBody>
                  <a:tcPr anchor="ctr">
                    <a:lnB w="19050" cap="flat" cmpd="sng" algn="ctr">
                      <a:solidFill>
                        <a:schemeClr val="tx2"/>
                      </a:solidFill>
                      <a:prstDash val="solid"/>
                      <a:round/>
                      <a:headEnd type="none" w="med" len="med"/>
                      <a:tailEnd type="none" w="med" len="med"/>
                    </a:lnB>
                    <a:solidFill>
                      <a:schemeClr val="tx1"/>
                    </a:solidFill>
                  </a:tcPr>
                </a:tc>
                <a:tc gridSpan="2">
                  <a:txBody>
                    <a:bodyPr/>
                    <a:lstStyle/>
                    <a:p>
                      <a:pPr algn="ctr"/>
                      <a:r>
                        <a:rPr lang="it-IT" dirty="0">
                          <a:solidFill>
                            <a:schemeClr val="bg1"/>
                          </a:solidFill>
                        </a:rPr>
                        <a:t>60%</a:t>
                      </a:r>
                    </a:p>
                  </a:txBody>
                  <a:tcPr anchor="ctr">
                    <a:lnR w="19050" cap="flat" cmpd="sng" algn="ctr">
                      <a:solidFill>
                        <a:schemeClr val="tx2"/>
                      </a:solidFill>
                      <a:prstDash val="solid"/>
                      <a:round/>
                      <a:headEnd type="none" w="med" len="med"/>
                      <a:tailEnd type="none" w="med" len="med"/>
                    </a:lnR>
                    <a:lnB w="1905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1340170393"/>
                  </a:ext>
                </a:extLst>
              </a:tr>
              <a:tr h="386553">
                <a:tc gridSpan="2">
                  <a:txBody>
                    <a:bodyPr/>
                    <a:lstStyle/>
                    <a:p>
                      <a:pPr algn="l"/>
                      <a:r>
                        <a:rPr lang="it-IT" sz="1600" b="1">
                          <a:solidFill>
                            <a:schemeClr val="tx2"/>
                          </a:solidFill>
                        </a:rPr>
                        <a:t>INNOVAZIONE DI PROCESSO E DELL’ORGANIZZAZIONE </a:t>
                      </a:r>
                    </a:p>
                  </a:txBody>
                  <a:tcPr anchor="ctr">
                    <a:lnL w="19050" cap="flat" cmpd="sng" algn="ctr">
                      <a:solidFill>
                        <a:schemeClr val="tx2"/>
                      </a:solidFill>
                      <a:prstDash val="solid"/>
                      <a:round/>
                      <a:headEnd type="none" w="med" len="med"/>
                      <a:tailEnd type="none" w="med" len="med"/>
                    </a:lnL>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lnT w="19050" cap="flat" cmpd="sng" algn="ctr">
                      <a:solidFill>
                        <a:schemeClr val="tx2"/>
                      </a:solidFill>
                      <a:prstDash val="solid"/>
                      <a:round/>
                      <a:headEnd type="none" w="med" len="med"/>
                      <a:tailEnd type="none" w="med" len="med"/>
                    </a:lnT>
                  </a:tcPr>
                </a:tc>
                <a:tc>
                  <a:txBody>
                    <a:bodyPr/>
                    <a:lstStyle/>
                    <a:p>
                      <a:pPr algn="ctr"/>
                      <a:r>
                        <a:rPr lang="it-IT">
                          <a:solidFill>
                            <a:schemeClr val="bg1"/>
                          </a:solidFill>
                        </a:rPr>
                        <a:t>G.I. 15%</a:t>
                      </a:r>
                    </a:p>
                  </a:txBody>
                  <a:tcPr anchor="ctr">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algn="ctr"/>
                      <a:r>
                        <a:rPr lang="it-IT">
                          <a:solidFill>
                            <a:schemeClr val="bg1"/>
                          </a:solidFill>
                        </a:rPr>
                        <a:t>PMI 50%</a:t>
                      </a:r>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B w="19050" cap="flat" cmpd="sng" algn="ctr">
                      <a:solidFill>
                        <a:schemeClr val="tx2"/>
                      </a:solidFill>
                      <a:prstDash val="solid"/>
                      <a:round/>
                      <a:headEnd type="none" w="med" len="med"/>
                      <a:tailEnd type="none" w="med" len="med"/>
                    </a:lnB>
                    <a:solidFill>
                      <a:schemeClr val="tx1"/>
                    </a:solidFill>
                  </a:tcPr>
                </a:tc>
                <a:extLst>
                  <a:ext uri="{0D108BD9-81ED-4DB2-BD59-A6C34878D82A}">
                    <a16:rowId xmlns:a16="http://schemas.microsoft.com/office/drawing/2014/main" val="527114023"/>
                  </a:ext>
                </a:extLst>
              </a:tr>
              <a:tr h="386553">
                <a:tc gridSpan="2">
                  <a:txBody>
                    <a:bodyPr/>
                    <a:lstStyle/>
                    <a:p>
                      <a:pPr algn="l"/>
                      <a:r>
                        <a:rPr lang="it-IT" sz="1600" b="1">
                          <a:solidFill>
                            <a:schemeClr val="tx2"/>
                          </a:solidFill>
                        </a:rPr>
                        <a:t>FORMAZIONE DEL PERSONALE</a:t>
                      </a:r>
                    </a:p>
                  </a:txBody>
                  <a:tcPr anchor="ctr">
                    <a:lnL w="19050" cap="flat" cmpd="sng" algn="ctr">
                      <a:solidFill>
                        <a:schemeClr val="tx2"/>
                      </a:solidFill>
                      <a:prstDash val="solid"/>
                      <a:round/>
                      <a:headEnd type="none" w="med" len="med"/>
                      <a:tailEnd type="none" w="med" len="med"/>
                    </a:lnL>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tc>
                <a:tc gridSpan="2">
                  <a:txBody>
                    <a:bodyPr/>
                    <a:lstStyle/>
                    <a:p>
                      <a:pPr algn="ctr"/>
                      <a:r>
                        <a:rPr lang="it-IT">
                          <a:solidFill>
                            <a:schemeClr val="bg1"/>
                          </a:solidFill>
                        </a:rPr>
                        <a:t>50%</a:t>
                      </a:r>
                    </a:p>
                  </a:txBody>
                  <a:tcPr anchor="ctr">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lnL w="19050" cap="flat" cmpd="sng" algn="ctr">
                      <a:solidFill>
                        <a:schemeClr val="tx2"/>
                      </a:solidFill>
                      <a:prstDash val="solid"/>
                      <a:round/>
                      <a:headEnd type="none" w="med" len="med"/>
                      <a:tailEnd type="none" w="med" len="med"/>
                    </a:lnL>
                    <a:lnT w="1905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764541180"/>
                  </a:ext>
                </a:extLst>
              </a:tr>
              <a:tr h="386553">
                <a:tc gridSpan="2">
                  <a:txBody>
                    <a:bodyPr/>
                    <a:lstStyle/>
                    <a:p>
                      <a:pPr marL="0" algn="l" defTabSz="913943" rtl="0" eaLnBrk="1" latinLnBrk="0" hangingPunct="1"/>
                      <a:r>
                        <a:rPr lang="it-IT" sz="1600" b="1" kern="1200" dirty="0">
                          <a:solidFill>
                            <a:schemeClr val="tx2"/>
                          </a:solidFill>
                          <a:latin typeface="+mn-lt"/>
                          <a:ea typeface="+mn-ea"/>
                          <a:cs typeface="+mn-cs"/>
                        </a:rPr>
                        <a:t>RICERCA INDUSTRIALE E SVILUPPO SPERIMENTALE </a:t>
                      </a:r>
                    </a:p>
                  </a:txBody>
                  <a:tcPr anchor="ctr">
                    <a:lnL w="19050" cap="flat" cmpd="sng" algn="ctr">
                      <a:solidFill>
                        <a:schemeClr val="tx2"/>
                      </a:solidFill>
                      <a:prstDash val="solid"/>
                      <a:round/>
                      <a:headEnd type="none" w="med" len="med"/>
                      <a:tailEnd type="none" w="med" len="med"/>
                    </a:lnL>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hMerge="1">
                  <a:txBody>
                    <a:bodyPr/>
                    <a:lstStyle/>
                    <a:p>
                      <a:endParaRPr lang="it-IT"/>
                    </a:p>
                  </a:txBody>
                  <a:tcPr/>
                </a:tc>
                <a:tc>
                  <a:txBody>
                    <a:bodyPr/>
                    <a:lstStyle/>
                    <a:p>
                      <a:pPr algn="ctr"/>
                      <a:r>
                        <a:rPr lang="it-IT" dirty="0">
                          <a:solidFill>
                            <a:schemeClr val="bg1"/>
                          </a:solidFill>
                        </a:rPr>
                        <a:t>RI 65%</a:t>
                      </a:r>
                    </a:p>
                  </a:txBody>
                  <a:tcPr anchor="ctr">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tx1"/>
                    </a:solidFill>
                  </a:tcPr>
                </a:tc>
                <a:tc>
                  <a:txBody>
                    <a:bodyPr/>
                    <a:lstStyle/>
                    <a:p>
                      <a:pPr algn="ctr"/>
                      <a:r>
                        <a:rPr lang="it-IT" dirty="0">
                          <a:solidFill>
                            <a:schemeClr val="bg1"/>
                          </a:solidFill>
                        </a:rPr>
                        <a:t>SS 40%</a:t>
                      </a:r>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B w="19050" cap="flat" cmpd="sng" algn="ctr">
                      <a:solidFill>
                        <a:schemeClr val="tx2"/>
                      </a:solidFill>
                      <a:prstDash val="solid"/>
                      <a:round/>
                      <a:headEnd type="none" w="med" len="med"/>
                      <a:tailEnd type="none" w="med" len="med"/>
                    </a:lnB>
                    <a:solidFill>
                      <a:schemeClr val="tx1"/>
                    </a:solidFill>
                  </a:tcPr>
                </a:tc>
                <a:extLst>
                  <a:ext uri="{0D108BD9-81ED-4DB2-BD59-A6C34878D82A}">
                    <a16:rowId xmlns:a16="http://schemas.microsoft.com/office/drawing/2014/main" val="1954144378"/>
                  </a:ext>
                </a:extLst>
              </a:tr>
            </a:tbl>
          </a:graphicData>
        </a:graphic>
      </p:graphicFrame>
      <p:sp>
        <p:nvSpPr>
          <p:cNvPr id="6" name="Rettangolo 87">
            <a:extLst>
              <a:ext uri="{FF2B5EF4-FFF2-40B4-BE49-F238E27FC236}">
                <a16:creationId xmlns:a16="http://schemas.microsoft.com/office/drawing/2014/main" id="{B7DD93FE-32D2-53A9-1474-5D5A43292CB3}"/>
              </a:ext>
            </a:extLst>
          </p:cNvPr>
          <p:cNvSpPr/>
          <p:nvPr/>
        </p:nvSpPr>
        <p:spPr>
          <a:xfrm>
            <a:off x="468157" y="1234371"/>
            <a:ext cx="3585369" cy="368188"/>
          </a:xfrm>
          <a:prstGeom prst="rect">
            <a:avLst/>
          </a:prstGeom>
          <a:solidFill>
            <a:schemeClr val="tx1"/>
          </a:solidFill>
          <a:ln w="9525" cap="flat" cmpd="sng" algn="ctr">
            <a:noFill/>
            <a:prstDash val="solid"/>
          </a:ln>
          <a:effectLst/>
        </p:spPr>
        <p:txBody>
          <a:bodyPr rtlCol="0" anchor="t" anchorCtr="0"/>
          <a:lstStyle/>
          <a:p>
            <a:r>
              <a:rPr lang="it-IT" sz="1400" b="1" kern="0">
                <a:solidFill>
                  <a:schemeClr val="tx2"/>
                </a:solidFill>
                <a:latin typeface="EYInterstate Light"/>
              </a:rPr>
              <a:t>Le agevolazioni sono concesse, anche in combinazione tra loro, nelle forme d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a:ln>
                <a:noFill/>
              </a:ln>
              <a:solidFill>
                <a:schemeClr val="tx2"/>
              </a:solidFill>
              <a:effectLst/>
              <a:uLnTx/>
              <a:uFillTx/>
              <a:latin typeface="EYInterstate Light"/>
              <a:ea typeface="+mn-ea"/>
              <a:cs typeface="+mn-cs"/>
            </a:endParaRPr>
          </a:p>
        </p:txBody>
      </p:sp>
      <p:sp>
        <p:nvSpPr>
          <p:cNvPr id="8" name="Freccia a pentagono 97">
            <a:extLst>
              <a:ext uri="{FF2B5EF4-FFF2-40B4-BE49-F238E27FC236}">
                <a16:creationId xmlns:a16="http://schemas.microsoft.com/office/drawing/2014/main" id="{A3294971-3824-EB99-244D-E0A0F2475FEA}"/>
              </a:ext>
            </a:extLst>
          </p:cNvPr>
          <p:cNvSpPr/>
          <p:nvPr/>
        </p:nvSpPr>
        <p:spPr>
          <a:xfrm>
            <a:off x="4053526" y="1233382"/>
            <a:ext cx="1453576" cy="555086"/>
          </a:xfrm>
          <a:prstGeom prst="homePlate">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sz="1200" b="1">
                <a:solidFill>
                  <a:schemeClr val="tx1"/>
                </a:solidFill>
              </a:rPr>
              <a:t>CONTRIBUTO A CONTO IMPIANTI</a:t>
            </a:r>
          </a:p>
        </p:txBody>
      </p:sp>
      <p:sp>
        <p:nvSpPr>
          <p:cNvPr id="10" name="Freccia a pentagono 98">
            <a:extLst>
              <a:ext uri="{FF2B5EF4-FFF2-40B4-BE49-F238E27FC236}">
                <a16:creationId xmlns:a16="http://schemas.microsoft.com/office/drawing/2014/main" id="{43CC112C-5BB4-8C82-0330-D385D3AD740D}"/>
              </a:ext>
            </a:extLst>
          </p:cNvPr>
          <p:cNvSpPr/>
          <p:nvPr/>
        </p:nvSpPr>
        <p:spPr>
          <a:xfrm>
            <a:off x="5574102" y="1232675"/>
            <a:ext cx="1453576" cy="555086"/>
          </a:xfrm>
          <a:prstGeom prst="homePlate">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sz="1200" b="1" dirty="0">
                <a:solidFill>
                  <a:schemeClr val="tx1"/>
                </a:solidFill>
              </a:rPr>
              <a:t>CONTRIBUTO ALLA SPESA</a:t>
            </a:r>
          </a:p>
          <a:p>
            <a:pPr algn="ctr"/>
            <a:r>
              <a:rPr lang="it-IT" sz="1200" b="1" dirty="0">
                <a:solidFill>
                  <a:schemeClr val="tx1"/>
                </a:solidFill>
              </a:rPr>
              <a:t>(eventuale)</a:t>
            </a:r>
          </a:p>
        </p:txBody>
      </p:sp>
      <p:sp>
        <p:nvSpPr>
          <p:cNvPr id="11" name="Freccia a pentagono 99">
            <a:extLst>
              <a:ext uri="{FF2B5EF4-FFF2-40B4-BE49-F238E27FC236}">
                <a16:creationId xmlns:a16="http://schemas.microsoft.com/office/drawing/2014/main" id="{5AA1CEB6-0FCD-9CCE-1D90-E081E663A73E}"/>
              </a:ext>
            </a:extLst>
          </p:cNvPr>
          <p:cNvSpPr/>
          <p:nvPr/>
        </p:nvSpPr>
        <p:spPr>
          <a:xfrm>
            <a:off x="7094678" y="1212746"/>
            <a:ext cx="1728811" cy="565330"/>
          </a:xfrm>
          <a:prstGeom prst="homePlate">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it-IT" sz="1200" b="1">
                <a:solidFill>
                  <a:schemeClr val="tx1"/>
                </a:solidFill>
              </a:rPr>
              <a:t>FIN AGEVOLATO</a:t>
            </a:r>
          </a:p>
          <a:p>
            <a:pPr algn="ctr"/>
            <a:r>
              <a:rPr lang="it-IT" sz="1200" b="1">
                <a:solidFill>
                  <a:schemeClr val="tx1"/>
                </a:solidFill>
              </a:rPr>
              <a:t>(Min 20% dei costi ammissibili)</a:t>
            </a:r>
          </a:p>
        </p:txBody>
      </p:sp>
      <p:sp>
        <p:nvSpPr>
          <p:cNvPr id="15" name="TextBox 14">
            <a:extLst>
              <a:ext uri="{FF2B5EF4-FFF2-40B4-BE49-F238E27FC236}">
                <a16:creationId xmlns:a16="http://schemas.microsoft.com/office/drawing/2014/main" id="{C521459B-D1EB-F9AB-4A52-40EC43BEA882}"/>
              </a:ext>
            </a:extLst>
          </p:cNvPr>
          <p:cNvSpPr txBox="1"/>
          <p:nvPr/>
        </p:nvSpPr>
        <p:spPr>
          <a:xfrm>
            <a:off x="8936610" y="1042785"/>
            <a:ext cx="2928031" cy="735291"/>
          </a:xfrm>
          <a:prstGeom prst="rect">
            <a:avLst/>
          </a:prstGeom>
          <a:noFill/>
          <a:ln w="12700" cap="sq">
            <a:noFill/>
            <a:miter lim="800000"/>
          </a:ln>
        </p:spPr>
        <p:txBody>
          <a:bodyPr wrap="square" lIns="0" tIns="0" rIns="0" bIns="0" rtlCol="0">
            <a:noAutofit/>
          </a:bodyPr>
          <a:lstStyle/>
          <a:p>
            <a:pPr algn="ctr" defTabSz="685434">
              <a:spcAft>
                <a:spcPts val="600"/>
              </a:spcAft>
              <a:buClr>
                <a:srgbClr val="FFE600"/>
              </a:buClr>
              <a:buSzPct val="80000"/>
            </a:pPr>
            <a:r>
              <a:rPr lang="it-IT" sz="1400" b="1" kern="0">
                <a:solidFill>
                  <a:srgbClr val="FFE600"/>
                </a:solidFill>
              </a:rPr>
              <a:t>CONTRIBUTO FINANZIARIO DA PARTE DELL’IMPRESA BENEFICIARIA PARI AD ALMENO IL 25% DELLE SPESE AMMISSIBILI</a:t>
            </a:r>
          </a:p>
          <a:p>
            <a:pPr algn="ctr" defTabSz="685434">
              <a:spcAft>
                <a:spcPts val="600"/>
              </a:spcAft>
              <a:buClr>
                <a:srgbClr val="FFE600"/>
              </a:buClr>
              <a:buSzPct val="80000"/>
            </a:pPr>
            <a:endParaRPr lang="it-IT" sz="1400" b="1" kern="0">
              <a:solidFill>
                <a:srgbClr val="FFE600"/>
              </a:solidFill>
            </a:endParaRPr>
          </a:p>
        </p:txBody>
      </p:sp>
      <p:sp>
        <p:nvSpPr>
          <p:cNvPr id="17" name="TextBox 16">
            <a:extLst>
              <a:ext uri="{FF2B5EF4-FFF2-40B4-BE49-F238E27FC236}">
                <a16:creationId xmlns:a16="http://schemas.microsoft.com/office/drawing/2014/main" id="{451A6511-77E3-0966-41E8-245B851764E7}"/>
              </a:ext>
            </a:extLst>
          </p:cNvPr>
          <p:cNvSpPr txBox="1"/>
          <p:nvPr/>
        </p:nvSpPr>
        <p:spPr>
          <a:xfrm>
            <a:off x="3470635" y="6155959"/>
            <a:ext cx="5250730" cy="21986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a:solidFill>
                  <a:schemeClr val="bg1"/>
                </a:solidFill>
              </a:rPr>
              <a:t>(*) Agevolazione massima al netto di eventuali maggiorazioni</a:t>
            </a:r>
          </a:p>
        </p:txBody>
      </p:sp>
    </p:spTree>
    <p:extLst>
      <p:ext uri="{BB962C8B-B14F-4D97-AF65-F5344CB8AC3E}">
        <p14:creationId xmlns:p14="http://schemas.microsoft.com/office/powerpoint/2010/main" val="2479527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a:t>Focus presentazione della domanda</a:t>
            </a:r>
          </a:p>
        </p:txBody>
      </p:sp>
      <p:grpSp>
        <p:nvGrpSpPr>
          <p:cNvPr id="2" name="Group 1">
            <a:extLst>
              <a:ext uri="{FF2B5EF4-FFF2-40B4-BE49-F238E27FC236}">
                <a16:creationId xmlns:a16="http://schemas.microsoft.com/office/drawing/2014/main" id="{17B7E9E6-FEE3-184F-90AF-50A66D4B7B97}"/>
              </a:ext>
            </a:extLst>
          </p:cNvPr>
          <p:cNvGrpSpPr/>
          <p:nvPr/>
        </p:nvGrpSpPr>
        <p:grpSpPr>
          <a:xfrm>
            <a:off x="625275" y="5717216"/>
            <a:ext cx="10997883" cy="669624"/>
            <a:chOff x="-1354835" y="4319881"/>
            <a:chExt cx="10997883" cy="669624"/>
          </a:xfrm>
        </p:grpSpPr>
        <p:sp>
          <p:nvSpPr>
            <p:cNvPr id="3" name="Rectangle 14">
              <a:extLst>
                <a:ext uri="{FF2B5EF4-FFF2-40B4-BE49-F238E27FC236}">
                  <a16:creationId xmlns:a16="http://schemas.microsoft.com/office/drawing/2014/main" id="{09741ED6-9763-BF86-A226-8127BE30E2E2}"/>
                </a:ext>
              </a:extLst>
            </p:cNvPr>
            <p:cNvSpPr/>
            <p:nvPr/>
          </p:nvSpPr>
          <p:spPr>
            <a:xfrm>
              <a:off x="-1354835" y="4319881"/>
              <a:ext cx="10971211" cy="669624"/>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6" name="TextBox 5">
              <a:extLst>
                <a:ext uri="{FF2B5EF4-FFF2-40B4-BE49-F238E27FC236}">
                  <a16:creationId xmlns:a16="http://schemas.microsoft.com/office/drawing/2014/main" id="{A9FD795C-9768-3045-32DD-8F4C6EF81EDC}"/>
                </a:ext>
              </a:extLst>
            </p:cNvPr>
            <p:cNvSpPr txBox="1"/>
            <p:nvPr/>
          </p:nvSpPr>
          <p:spPr>
            <a:xfrm>
              <a:off x="-1328163" y="4371255"/>
              <a:ext cx="10971211" cy="467820"/>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en-US" sz="1600" b="1" i="0" u="none" strike="noStrike" kern="0" cap="none" spc="0" normalizeH="0" baseline="0" noProof="0" dirty="0">
                  <a:ln>
                    <a:noFill/>
                  </a:ln>
                  <a:solidFill>
                    <a:srgbClr val="FFE600"/>
                  </a:solidFill>
                  <a:effectLst/>
                  <a:uLnTx/>
                  <a:uFillTx/>
                </a:rPr>
                <a:t>ULTERIORE DOCUMENTAZIONE A SUPPORTO</a:t>
              </a:r>
            </a:p>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it-IT" sz="1200" b="0" i="0" u="none" strike="noStrike" kern="0" cap="none" spc="0" normalizeH="0" baseline="0" noProof="0" dirty="0">
                  <a:ln>
                    <a:noFill/>
                  </a:ln>
                  <a:solidFill>
                    <a:prstClr val="white"/>
                  </a:solidFill>
                  <a:effectLst/>
                  <a:uLnTx/>
                  <a:uFillTx/>
                </a:rPr>
                <a:t>Documenti di supporto al progetto; Contratti commerciali chiave; Due Diligence reports; Permessi, licenze, autorizzazioni.</a:t>
              </a:r>
              <a:endParaRPr kumimoji="0" lang="en-US" sz="1200" b="0" i="0" u="none" strike="noStrike" kern="0" cap="none" spc="0" normalizeH="0" baseline="0" noProof="0" dirty="0">
                <a:ln>
                  <a:noFill/>
                </a:ln>
                <a:solidFill>
                  <a:prstClr val="white"/>
                </a:solidFill>
                <a:effectLst/>
                <a:uLnTx/>
                <a:uFillTx/>
              </a:endParaRPr>
            </a:p>
          </p:txBody>
        </p:sp>
      </p:grpSp>
      <p:grpSp>
        <p:nvGrpSpPr>
          <p:cNvPr id="11" name="Group 10">
            <a:extLst>
              <a:ext uri="{FF2B5EF4-FFF2-40B4-BE49-F238E27FC236}">
                <a16:creationId xmlns:a16="http://schemas.microsoft.com/office/drawing/2014/main" id="{8980FFCA-B8BD-5114-F368-DA4DD3B83031}"/>
              </a:ext>
            </a:extLst>
          </p:cNvPr>
          <p:cNvGrpSpPr/>
          <p:nvPr/>
        </p:nvGrpSpPr>
        <p:grpSpPr>
          <a:xfrm>
            <a:off x="8018923" y="4306215"/>
            <a:ext cx="3574800" cy="1299600"/>
            <a:chOff x="6864977" y="4404260"/>
            <a:chExt cx="2981410" cy="1396800"/>
          </a:xfrm>
        </p:grpSpPr>
        <p:sp>
          <p:nvSpPr>
            <p:cNvPr id="12" name="Rectangle 14">
              <a:extLst>
                <a:ext uri="{FF2B5EF4-FFF2-40B4-BE49-F238E27FC236}">
                  <a16:creationId xmlns:a16="http://schemas.microsoft.com/office/drawing/2014/main" id="{97D37733-4344-7011-2FF2-28C7BABD0AFB}"/>
                </a:ext>
              </a:extLst>
            </p:cNvPr>
            <p:cNvSpPr/>
            <p:nvPr/>
          </p:nvSpPr>
          <p:spPr>
            <a:xfrm>
              <a:off x="6864977" y="4404260"/>
              <a:ext cx="2981410" cy="1396800"/>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13" name="TextBox 12">
              <a:extLst>
                <a:ext uri="{FF2B5EF4-FFF2-40B4-BE49-F238E27FC236}">
                  <a16:creationId xmlns:a16="http://schemas.microsoft.com/office/drawing/2014/main" id="{F11A9C13-804F-C3BF-2D13-694178374488}"/>
                </a:ext>
              </a:extLst>
            </p:cNvPr>
            <p:cNvSpPr txBox="1"/>
            <p:nvPr/>
          </p:nvSpPr>
          <p:spPr>
            <a:xfrm>
              <a:off x="6998988" y="4509709"/>
              <a:ext cx="2844180" cy="1019580"/>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en-US" sz="1600" b="1" i="0" u="none" strike="noStrike" kern="0" cap="none" spc="0" normalizeH="0" baseline="0" noProof="0" dirty="0">
                  <a:ln>
                    <a:noFill/>
                  </a:ln>
                  <a:solidFill>
                    <a:srgbClr val="FFE600"/>
                  </a:solidFill>
                  <a:effectLst/>
                  <a:uLnTx/>
                  <a:uFillTx/>
                </a:rPr>
                <a:t>TIMETABLE E GANTT CHART</a:t>
              </a:r>
            </a:p>
            <a:p>
              <a:pPr marL="0" marR="0" lvl="0" indent="0" algn="ctr" defTabSz="914400" eaLnBrk="1" fontAlgn="auto" latinLnBrk="0" hangingPunct="1">
                <a:lnSpc>
                  <a:spcPct val="100000"/>
                </a:lnSpc>
                <a:spcBef>
                  <a:spcPts val="600"/>
                </a:spcBef>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Tabella con i principali riferimenti cronologici del progetto e il GANTT per il monitoraggio e rendicontazione temporale delle attività</a:t>
              </a:r>
              <a:endParaRPr kumimoji="0" lang="en-US" sz="1200" b="0" i="0" u="none" strike="noStrike" kern="0" cap="none" spc="0" normalizeH="0" baseline="0" noProof="0" dirty="0">
                <a:ln>
                  <a:noFill/>
                </a:ln>
                <a:solidFill>
                  <a:srgbClr val="FFE600"/>
                </a:solidFill>
                <a:effectLst/>
                <a:uLnTx/>
                <a:uFillTx/>
              </a:endParaRPr>
            </a:p>
          </p:txBody>
        </p:sp>
      </p:grpSp>
      <p:grpSp>
        <p:nvGrpSpPr>
          <p:cNvPr id="15" name="Group 14">
            <a:extLst>
              <a:ext uri="{FF2B5EF4-FFF2-40B4-BE49-F238E27FC236}">
                <a16:creationId xmlns:a16="http://schemas.microsoft.com/office/drawing/2014/main" id="{75B9EB7A-AF42-1661-B67F-3DD6B5AEC904}"/>
              </a:ext>
            </a:extLst>
          </p:cNvPr>
          <p:cNvGrpSpPr/>
          <p:nvPr/>
        </p:nvGrpSpPr>
        <p:grpSpPr>
          <a:xfrm>
            <a:off x="4326357" y="2887056"/>
            <a:ext cx="3574800" cy="1299600"/>
            <a:chOff x="3720579" y="2865188"/>
            <a:chExt cx="2981410" cy="1396800"/>
          </a:xfrm>
        </p:grpSpPr>
        <p:sp>
          <p:nvSpPr>
            <p:cNvPr id="16" name="Rectangle 14">
              <a:extLst>
                <a:ext uri="{FF2B5EF4-FFF2-40B4-BE49-F238E27FC236}">
                  <a16:creationId xmlns:a16="http://schemas.microsoft.com/office/drawing/2014/main" id="{73D3E9A3-CE23-A92A-D763-BD83CF4115AB}"/>
                </a:ext>
              </a:extLst>
            </p:cNvPr>
            <p:cNvSpPr/>
            <p:nvPr/>
          </p:nvSpPr>
          <p:spPr>
            <a:xfrm>
              <a:off x="3720579" y="2865188"/>
              <a:ext cx="2981410" cy="1396800"/>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17" name="TextBox 16">
              <a:extLst>
                <a:ext uri="{FF2B5EF4-FFF2-40B4-BE49-F238E27FC236}">
                  <a16:creationId xmlns:a16="http://schemas.microsoft.com/office/drawing/2014/main" id="{BF172DC9-3517-0F66-8C84-1D2FBA02B4EB}"/>
                </a:ext>
              </a:extLst>
            </p:cNvPr>
            <p:cNvSpPr txBox="1"/>
            <p:nvPr/>
          </p:nvSpPr>
          <p:spPr>
            <a:xfrm>
              <a:off x="3757658" y="2914845"/>
              <a:ext cx="2867974" cy="813604"/>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en-US" sz="1600" b="1" i="0" u="none" strike="noStrike" kern="0" cap="none" spc="0" normalizeH="0" baseline="0" noProof="0" dirty="0">
                  <a:ln>
                    <a:noFill/>
                  </a:ln>
                  <a:solidFill>
                    <a:srgbClr val="FFE600"/>
                  </a:solidFill>
                  <a:effectLst/>
                  <a:uLnTx/>
                  <a:uFillTx/>
                </a:rPr>
                <a:t>RETI D’IMPRESA*</a:t>
              </a:r>
            </a:p>
            <a:p>
              <a:pPr marL="0" marR="0" lvl="0" indent="0" algn="ctr" defTabSz="914400" eaLnBrk="1" fontAlgn="auto" latinLnBrk="0" hangingPunct="1">
                <a:lnSpc>
                  <a:spcPct val="100000"/>
                </a:lnSpc>
                <a:spcBef>
                  <a:spcPts val="600"/>
                </a:spcBef>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Contratti di rete, sintesi di rete e Situazione patrimoniale della Rete con personalità giuridica</a:t>
              </a:r>
              <a:endParaRPr kumimoji="0" lang="en-US" sz="1200" b="0" i="0" u="none" strike="noStrike" kern="0" cap="none" spc="0" normalizeH="0" baseline="0" noProof="0" dirty="0">
                <a:ln>
                  <a:noFill/>
                </a:ln>
                <a:solidFill>
                  <a:srgbClr val="FFE600"/>
                </a:solidFill>
                <a:effectLst/>
                <a:uLnTx/>
                <a:uFillTx/>
              </a:endParaRPr>
            </a:p>
          </p:txBody>
        </p:sp>
      </p:grpSp>
      <p:grpSp>
        <p:nvGrpSpPr>
          <p:cNvPr id="18" name="Group 17">
            <a:extLst>
              <a:ext uri="{FF2B5EF4-FFF2-40B4-BE49-F238E27FC236}">
                <a16:creationId xmlns:a16="http://schemas.microsoft.com/office/drawing/2014/main" id="{5420FC25-6D4F-A602-C7DF-DDA47067AFC8}"/>
              </a:ext>
            </a:extLst>
          </p:cNvPr>
          <p:cNvGrpSpPr/>
          <p:nvPr/>
        </p:nvGrpSpPr>
        <p:grpSpPr>
          <a:xfrm>
            <a:off x="634065" y="2887055"/>
            <a:ext cx="3574800" cy="1299600"/>
            <a:chOff x="568456" y="2865187"/>
            <a:chExt cx="2981410" cy="1396800"/>
          </a:xfrm>
        </p:grpSpPr>
        <p:sp>
          <p:nvSpPr>
            <p:cNvPr id="19" name="Rectangle 14">
              <a:extLst>
                <a:ext uri="{FF2B5EF4-FFF2-40B4-BE49-F238E27FC236}">
                  <a16:creationId xmlns:a16="http://schemas.microsoft.com/office/drawing/2014/main" id="{2330DAFE-CA78-C53A-705B-12D419AFD465}"/>
                </a:ext>
              </a:extLst>
            </p:cNvPr>
            <p:cNvSpPr/>
            <p:nvPr/>
          </p:nvSpPr>
          <p:spPr>
            <a:xfrm>
              <a:off x="568456" y="2865187"/>
              <a:ext cx="2981410" cy="1396800"/>
            </a:xfrm>
            <a:prstGeom prst="rect">
              <a:avLst/>
            </a:prstGeom>
            <a:solidFill>
              <a:srgbClr val="000000">
                <a:alpha val="35000"/>
              </a:srgbClr>
            </a:solidFill>
            <a:ln w="1905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20" name="TextBox 19">
              <a:extLst>
                <a:ext uri="{FF2B5EF4-FFF2-40B4-BE49-F238E27FC236}">
                  <a16:creationId xmlns:a16="http://schemas.microsoft.com/office/drawing/2014/main" id="{A944FB3C-3115-EAE7-E81B-1AC0E13B3A40}"/>
                </a:ext>
              </a:extLst>
            </p:cNvPr>
            <p:cNvSpPr txBox="1"/>
            <p:nvPr/>
          </p:nvSpPr>
          <p:spPr>
            <a:xfrm>
              <a:off x="640926" y="2945623"/>
              <a:ext cx="2894844" cy="813604"/>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en-US" sz="1600" b="1" i="0" u="none" strike="noStrike" kern="0" cap="none" spc="0" normalizeH="0" baseline="0" noProof="0" dirty="0">
                  <a:ln>
                    <a:noFill/>
                  </a:ln>
                  <a:solidFill>
                    <a:srgbClr val="FFE600"/>
                  </a:solidFill>
                  <a:effectLst/>
                  <a:uLnTx/>
                  <a:uFillTx/>
                </a:rPr>
                <a:t>ALLEGATI TECNICI</a:t>
              </a:r>
            </a:p>
            <a:p>
              <a:pPr marL="0" marR="0" lvl="0" indent="0" algn="ctr" defTabSz="914400" eaLnBrk="1" fontAlgn="auto" latinLnBrk="0" hangingPunct="1">
                <a:lnSpc>
                  <a:spcPct val="100000"/>
                </a:lnSpc>
                <a:spcBef>
                  <a:spcPts val="600"/>
                </a:spcBef>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Planimetrie, layout, perizie giurate, ecc. relativi al programma degli investimenti</a:t>
              </a:r>
              <a:endParaRPr kumimoji="0" lang="en-US" sz="1200" b="1" i="0" u="none" strike="noStrike" kern="0" cap="none" spc="0" normalizeH="0" baseline="0" noProof="0" dirty="0">
                <a:ln>
                  <a:noFill/>
                </a:ln>
                <a:solidFill>
                  <a:srgbClr val="27ACAA"/>
                </a:solidFill>
                <a:effectLst/>
                <a:uLnTx/>
                <a:uFillTx/>
              </a:endParaRPr>
            </a:p>
          </p:txBody>
        </p:sp>
      </p:grpSp>
      <p:grpSp>
        <p:nvGrpSpPr>
          <p:cNvPr id="21" name="Group 20">
            <a:extLst>
              <a:ext uri="{FF2B5EF4-FFF2-40B4-BE49-F238E27FC236}">
                <a16:creationId xmlns:a16="http://schemas.microsoft.com/office/drawing/2014/main" id="{7DD6AED1-0A7B-393E-EB7D-5ACC2EDD742B}"/>
              </a:ext>
            </a:extLst>
          </p:cNvPr>
          <p:cNvGrpSpPr/>
          <p:nvPr/>
        </p:nvGrpSpPr>
        <p:grpSpPr>
          <a:xfrm>
            <a:off x="634065" y="1502693"/>
            <a:ext cx="3574800" cy="1299600"/>
            <a:chOff x="596729" y="1297096"/>
            <a:chExt cx="2999100" cy="1449574"/>
          </a:xfrm>
        </p:grpSpPr>
        <p:sp>
          <p:nvSpPr>
            <p:cNvPr id="22" name="Rectangle 14">
              <a:extLst>
                <a:ext uri="{FF2B5EF4-FFF2-40B4-BE49-F238E27FC236}">
                  <a16:creationId xmlns:a16="http://schemas.microsoft.com/office/drawing/2014/main" id="{6685431D-907C-ED5D-B436-4AAE925623B5}"/>
                </a:ext>
              </a:extLst>
            </p:cNvPr>
            <p:cNvSpPr/>
            <p:nvPr/>
          </p:nvSpPr>
          <p:spPr>
            <a:xfrm>
              <a:off x="596729" y="1349870"/>
              <a:ext cx="2981410" cy="1396800"/>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23" name="TextBox 22">
              <a:extLst>
                <a:ext uri="{FF2B5EF4-FFF2-40B4-BE49-F238E27FC236}">
                  <a16:creationId xmlns:a16="http://schemas.microsoft.com/office/drawing/2014/main" id="{F5BB9D26-A2C9-245A-6805-5439256C9519}"/>
                </a:ext>
              </a:extLst>
            </p:cNvPr>
            <p:cNvSpPr txBox="1"/>
            <p:nvPr/>
          </p:nvSpPr>
          <p:spPr>
            <a:xfrm>
              <a:off x="614419" y="1297096"/>
              <a:ext cx="2981410" cy="1414368"/>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it-IT" sz="1600" b="1" i="0" u="none" strike="noStrike" kern="0" cap="none" spc="0" normalizeH="0" baseline="0" noProof="0" dirty="0">
                  <a:ln>
                    <a:noFill/>
                  </a:ln>
                  <a:solidFill>
                    <a:srgbClr val="FFE600"/>
                  </a:solidFill>
                  <a:effectLst/>
                  <a:uLnTx/>
                  <a:uFillTx/>
                </a:rPr>
                <a:t>INFORMAZIONI RELATIVE AL SOGGETTO PROPONENTE</a:t>
              </a:r>
            </a:p>
            <a:p>
              <a:pPr marL="234900" marR="0" lvl="0" indent="-171450" algn="ctr" defTabSz="914400" eaLnBrk="1" fontAlgn="auto" latinLnBrk="0" hangingPunct="1">
                <a:lnSpc>
                  <a:spcPct val="100000"/>
                </a:lnSpc>
                <a:spcBef>
                  <a:spcPts val="0"/>
                </a:spcBef>
                <a:spcAft>
                  <a:spcPts val="0"/>
                </a:spcAft>
                <a:buClr>
                  <a:srgbClr val="FFE600"/>
                </a:buClr>
                <a:buSzTx/>
                <a:buFont typeface="Wingdings" panose="05000000000000000000" pitchFamily="2" charset="2"/>
                <a:buChar char="§"/>
                <a:tabLst/>
                <a:defRPr/>
              </a:pPr>
              <a:r>
                <a:rPr lang="it-IT" sz="1200" kern="0" dirty="0">
                  <a:solidFill>
                    <a:prstClr val="white"/>
                  </a:solidFill>
                </a:rPr>
                <a:t>Documentazione Amministrativa</a:t>
              </a:r>
            </a:p>
            <a:p>
              <a:pPr marL="234900" marR="0" lvl="0" indent="-171450" algn="ctr" defTabSz="914400" eaLnBrk="1" fontAlgn="auto" latinLnBrk="0" hangingPunct="1">
                <a:lnSpc>
                  <a:spcPct val="100000"/>
                </a:lnSpc>
                <a:spcBef>
                  <a:spcPts val="0"/>
                </a:spcBef>
                <a:spcAft>
                  <a:spcPts val="0"/>
                </a:spcAft>
                <a:buClr>
                  <a:srgbClr val="FFE600"/>
                </a:buClr>
                <a:buSzTx/>
                <a:buFont typeface="Wingdings" panose="05000000000000000000" pitchFamily="2" charset="2"/>
                <a:buChar char="§"/>
                <a:tabLst/>
                <a:defRPr/>
              </a:pPr>
              <a:r>
                <a:rPr kumimoji="0" lang="it-IT" sz="1200" b="0" i="1" u="none" strike="noStrike" kern="0" cap="none" spc="0" normalizeH="0" baseline="0" noProof="0" dirty="0">
                  <a:ln>
                    <a:noFill/>
                  </a:ln>
                  <a:solidFill>
                    <a:prstClr val="white"/>
                  </a:solidFill>
                  <a:effectLst/>
                  <a:uLnTx/>
                  <a:uFillTx/>
                </a:rPr>
                <a:t>Business plan</a:t>
              </a:r>
            </a:p>
            <a:p>
              <a:pPr marL="234900" marR="0" lvl="0" indent="-171450" algn="ctr" defTabSz="914400" eaLnBrk="1" fontAlgn="auto" latinLnBrk="0" hangingPunct="1">
                <a:lnSpc>
                  <a:spcPct val="100000"/>
                </a:lnSpc>
                <a:spcBef>
                  <a:spcPts val="0"/>
                </a:spcBef>
                <a:spcAft>
                  <a:spcPts val="0"/>
                </a:spcAft>
                <a:buClr>
                  <a:srgbClr val="FFE600"/>
                </a:buClr>
                <a:buSzTx/>
                <a:buFont typeface="Wingdings" panose="05000000000000000000" pitchFamily="2" charset="2"/>
                <a:buChar char="§"/>
                <a:tabLst/>
                <a:defRPr/>
              </a:pPr>
              <a:r>
                <a:rPr kumimoji="0" lang="it-IT" sz="1200" b="1" u="none" strike="noStrike" kern="0" cap="none" spc="0" normalizeH="0" baseline="0" noProof="0" dirty="0">
                  <a:ln>
                    <a:noFill/>
                  </a:ln>
                  <a:solidFill>
                    <a:prstClr val="white"/>
                  </a:solidFill>
                  <a:effectLst/>
                  <a:uLnTx/>
                  <a:uFillTx/>
                </a:rPr>
                <a:t>Indicazione dei beni presenti nel progetto di innovazione/ricerca/sviluppo</a:t>
              </a:r>
              <a:endParaRPr kumimoji="0" lang="en-US" sz="1200" b="1" u="none" strike="noStrike" kern="0" cap="none" spc="0" normalizeH="0" baseline="0" noProof="0" dirty="0">
                <a:ln>
                  <a:noFill/>
                </a:ln>
                <a:solidFill>
                  <a:prstClr val="white"/>
                </a:solidFill>
                <a:effectLst/>
                <a:uLnTx/>
                <a:uFillTx/>
              </a:endParaRPr>
            </a:p>
          </p:txBody>
        </p:sp>
      </p:grpSp>
      <p:grpSp>
        <p:nvGrpSpPr>
          <p:cNvPr id="24" name="Group 23">
            <a:extLst>
              <a:ext uri="{FF2B5EF4-FFF2-40B4-BE49-F238E27FC236}">
                <a16:creationId xmlns:a16="http://schemas.microsoft.com/office/drawing/2014/main" id="{A89E742E-6D8F-61E5-268F-3871C7DEE633}"/>
              </a:ext>
            </a:extLst>
          </p:cNvPr>
          <p:cNvGrpSpPr/>
          <p:nvPr/>
        </p:nvGrpSpPr>
        <p:grpSpPr>
          <a:xfrm>
            <a:off x="4326357" y="4310882"/>
            <a:ext cx="3574800" cy="1299600"/>
            <a:chOff x="3720579" y="4409467"/>
            <a:chExt cx="2981410" cy="1396800"/>
          </a:xfrm>
        </p:grpSpPr>
        <p:sp>
          <p:nvSpPr>
            <p:cNvPr id="25" name="Rectangle 14">
              <a:extLst>
                <a:ext uri="{FF2B5EF4-FFF2-40B4-BE49-F238E27FC236}">
                  <a16:creationId xmlns:a16="http://schemas.microsoft.com/office/drawing/2014/main" id="{2779E266-7E43-4D71-565A-25451D28C2D4}"/>
                </a:ext>
              </a:extLst>
            </p:cNvPr>
            <p:cNvSpPr/>
            <p:nvPr/>
          </p:nvSpPr>
          <p:spPr>
            <a:xfrm>
              <a:off x="3720579" y="4409467"/>
              <a:ext cx="2981410" cy="1396800"/>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26" name="TextBox 25">
              <a:extLst>
                <a:ext uri="{FF2B5EF4-FFF2-40B4-BE49-F238E27FC236}">
                  <a16:creationId xmlns:a16="http://schemas.microsoft.com/office/drawing/2014/main" id="{546D3303-1DF3-8E82-FE03-2915E6B3F147}"/>
                </a:ext>
              </a:extLst>
            </p:cNvPr>
            <p:cNvSpPr txBox="1"/>
            <p:nvPr/>
          </p:nvSpPr>
          <p:spPr>
            <a:xfrm>
              <a:off x="3793048" y="4514917"/>
              <a:ext cx="2824459" cy="1225556"/>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it-IT" sz="1600" b="1" i="0" u="none" strike="noStrike" kern="0" cap="none" spc="0" normalizeH="0" baseline="0" noProof="0" dirty="0">
                  <a:ln>
                    <a:noFill/>
                  </a:ln>
                  <a:solidFill>
                    <a:srgbClr val="FFE600"/>
                  </a:solidFill>
                  <a:effectLst/>
                  <a:uLnTx/>
                  <a:uFillTx/>
                </a:rPr>
                <a:t>PIANO OCCUPAZIONALE</a:t>
              </a:r>
            </a:p>
            <a:p>
              <a:pPr marR="0" lvl="0" algn="ctr" defTabSz="914400" eaLnBrk="1" fontAlgn="auto" latinLnBrk="0" hangingPunct="1">
                <a:lnSpc>
                  <a:spcPct val="100000"/>
                </a:lnSpc>
                <a:spcBef>
                  <a:spcPts val="600"/>
                </a:spcBef>
                <a:spcAft>
                  <a:spcPts val="0"/>
                </a:spcAft>
                <a:buClr>
                  <a:srgbClr val="FFE600"/>
                </a:buClr>
                <a:buSzTx/>
                <a:tabLst/>
                <a:defRPr/>
              </a:pPr>
              <a:r>
                <a:rPr kumimoji="0" lang="it-IT" sz="1200" b="0" i="0" u="none" strike="noStrike" kern="0" cap="none" spc="0" normalizeH="0" baseline="0" noProof="0" dirty="0">
                  <a:ln>
                    <a:noFill/>
                  </a:ln>
                  <a:solidFill>
                    <a:prstClr val="white"/>
                  </a:solidFill>
                  <a:effectLst/>
                  <a:uLnTx/>
                  <a:uFillTx/>
                </a:rPr>
                <a:t>Motivare l’incremento occupazionale, se previsto, ed il dimensionamento dell’organico (in termini di ULA) in relazione alle caratteristiche di funzionamento dell’impianto produttivo</a:t>
              </a:r>
              <a:endParaRPr kumimoji="0" lang="en-US" sz="1200" b="0" i="0" u="none" strike="noStrike" kern="0" cap="none" spc="0" normalizeH="0" baseline="0" noProof="0" dirty="0">
                <a:ln>
                  <a:noFill/>
                </a:ln>
                <a:solidFill>
                  <a:srgbClr val="FFFFFF"/>
                </a:solidFill>
                <a:effectLst/>
                <a:uLnTx/>
                <a:uFillTx/>
              </a:endParaRPr>
            </a:p>
          </p:txBody>
        </p:sp>
      </p:grpSp>
      <p:grpSp>
        <p:nvGrpSpPr>
          <p:cNvPr id="27" name="Group 26">
            <a:extLst>
              <a:ext uri="{FF2B5EF4-FFF2-40B4-BE49-F238E27FC236}">
                <a16:creationId xmlns:a16="http://schemas.microsoft.com/office/drawing/2014/main" id="{660024A5-34BE-059E-02D5-69A934594C05}"/>
              </a:ext>
            </a:extLst>
          </p:cNvPr>
          <p:cNvGrpSpPr/>
          <p:nvPr/>
        </p:nvGrpSpPr>
        <p:grpSpPr>
          <a:xfrm>
            <a:off x="634065" y="4319218"/>
            <a:ext cx="3574800" cy="1299600"/>
            <a:chOff x="7984513" y="1346762"/>
            <a:chExt cx="3453750" cy="1396067"/>
          </a:xfrm>
        </p:grpSpPr>
        <p:sp>
          <p:nvSpPr>
            <p:cNvPr id="28" name="Rectangle 14">
              <a:extLst>
                <a:ext uri="{FF2B5EF4-FFF2-40B4-BE49-F238E27FC236}">
                  <a16:creationId xmlns:a16="http://schemas.microsoft.com/office/drawing/2014/main" id="{563ED8CA-1DDD-0787-23BA-E26000312C07}"/>
                </a:ext>
              </a:extLst>
            </p:cNvPr>
            <p:cNvSpPr/>
            <p:nvPr/>
          </p:nvSpPr>
          <p:spPr>
            <a:xfrm>
              <a:off x="7984513" y="1346762"/>
              <a:ext cx="3453750" cy="1396067"/>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29" name="TextBox 28">
              <a:extLst>
                <a:ext uri="{FF2B5EF4-FFF2-40B4-BE49-F238E27FC236}">
                  <a16:creationId xmlns:a16="http://schemas.microsoft.com/office/drawing/2014/main" id="{A3E36A02-ECC5-F6BD-6A11-537090A77F2E}"/>
                </a:ext>
              </a:extLst>
            </p:cNvPr>
            <p:cNvSpPr txBox="1"/>
            <p:nvPr/>
          </p:nvSpPr>
          <p:spPr>
            <a:xfrm>
              <a:off x="8039097" y="1441093"/>
              <a:ext cx="3341615" cy="1225556"/>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0"/>
                </a:spcAft>
                <a:buClr>
                  <a:srgbClr val="FFE600"/>
                </a:buClr>
                <a:buSzTx/>
                <a:buFontTx/>
                <a:buNone/>
                <a:tabLst/>
                <a:defRPr/>
              </a:pPr>
              <a:r>
                <a:rPr kumimoji="0" lang="it-IT" sz="1600" b="1" i="0" u="none" strike="noStrike" kern="0" cap="none" spc="0" normalizeH="0" baseline="0" noProof="0" dirty="0">
                  <a:ln>
                    <a:noFill/>
                  </a:ln>
                  <a:solidFill>
                    <a:srgbClr val="FFE600"/>
                  </a:solidFill>
                  <a:effectLst/>
                  <a:uLnTx/>
                  <a:uFillTx/>
                  <a:latin typeface="EYInterstate Light"/>
                  <a:ea typeface="+mn-ea"/>
                  <a:cs typeface="+mn-cs"/>
                </a:rPr>
                <a:t>ALLEGATO F*</a:t>
              </a:r>
            </a:p>
            <a:p>
              <a:pPr marL="0" marR="0" lvl="0" indent="0" algn="ctr" defTabSz="914400" rtl="0" eaLnBrk="1" fontAlgn="auto" latinLnBrk="0" hangingPunct="1">
                <a:lnSpc>
                  <a:spcPct val="100000"/>
                </a:lnSpc>
                <a:spcBef>
                  <a:spcPts val="600"/>
                </a:spcBef>
                <a:spcAft>
                  <a:spcPts val="0"/>
                </a:spcAft>
                <a:buClr>
                  <a:srgbClr val="FFE600"/>
                </a:buClr>
                <a:buSzTx/>
                <a:buFontTx/>
                <a:buNone/>
                <a:tabLst/>
                <a:defRPr/>
              </a:pPr>
              <a:r>
                <a:rPr kumimoji="0" lang="it-IT" sz="1200" b="0" i="0" u="none" strike="noStrike" kern="0" cap="none" spc="0" normalizeH="0" baseline="0" noProof="0" dirty="0" err="1">
                  <a:ln>
                    <a:noFill/>
                  </a:ln>
                  <a:solidFill>
                    <a:prstClr val="white">
                      <a:lumMod val="95000"/>
                    </a:prstClr>
                  </a:solidFill>
                  <a:effectLst/>
                  <a:uLnTx/>
                  <a:uFillTx/>
                  <a:latin typeface="EYInterstate Light"/>
                  <a:ea typeface="+mn-ea"/>
                  <a:cs typeface="+mn-cs"/>
                </a:rPr>
                <a:t>Aggiuntività</a:t>
              </a:r>
              <a:r>
                <a:rPr kumimoji="0" lang="it-IT" sz="1200" b="0" i="0" u="none" strike="noStrike" kern="0" cap="none" spc="0" normalizeH="0" baseline="0" noProof="0" dirty="0">
                  <a:ln>
                    <a:noFill/>
                  </a:ln>
                  <a:solidFill>
                    <a:prstClr val="white">
                      <a:lumMod val="95000"/>
                    </a:prstClr>
                  </a:solidFill>
                  <a:effectLst/>
                  <a:uLnTx/>
                  <a:uFillTx/>
                  <a:latin typeface="EYInterstate Light"/>
                  <a:ea typeface="+mn-ea"/>
                  <a:cs typeface="+mn-cs"/>
                </a:rPr>
                <a:t> beni per eventuali progetti complementari relativi a progetti di innovazione di processo e/o organizzativa e a progetti di ricerca industriale e/o sviluppo sperimentale</a:t>
              </a:r>
              <a:endParaRPr kumimoji="0" lang="en-US" sz="1200" b="0" i="0" u="none" strike="noStrike" kern="0" cap="none" spc="0" normalizeH="0" baseline="0" noProof="0" dirty="0">
                <a:ln>
                  <a:noFill/>
                </a:ln>
                <a:solidFill>
                  <a:srgbClr val="FFE600"/>
                </a:solidFill>
                <a:effectLst/>
                <a:uLnTx/>
                <a:uFillTx/>
                <a:latin typeface="EYInterstate Light"/>
                <a:ea typeface="+mn-ea"/>
                <a:cs typeface="+mn-cs"/>
              </a:endParaRPr>
            </a:p>
          </p:txBody>
        </p:sp>
      </p:grpSp>
      <p:grpSp>
        <p:nvGrpSpPr>
          <p:cNvPr id="30" name="Group 29">
            <a:extLst>
              <a:ext uri="{FF2B5EF4-FFF2-40B4-BE49-F238E27FC236}">
                <a16:creationId xmlns:a16="http://schemas.microsoft.com/office/drawing/2014/main" id="{77761E56-7683-A1BE-E4B7-FA5005B21849}"/>
              </a:ext>
            </a:extLst>
          </p:cNvPr>
          <p:cNvGrpSpPr/>
          <p:nvPr/>
        </p:nvGrpSpPr>
        <p:grpSpPr>
          <a:xfrm>
            <a:off x="4326357" y="1513051"/>
            <a:ext cx="3574800" cy="1299600"/>
            <a:chOff x="3685944" y="1308649"/>
            <a:chExt cx="2981410" cy="1434180"/>
          </a:xfrm>
        </p:grpSpPr>
        <p:sp>
          <p:nvSpPr>
            <p:cNvPr id="31" name="Rectangle 14">
              <a:extLst>
                <a:ext uri="{FF2B5EF4-FFF2-40B4-BE49-F238E27FC236}">
                  <a16:creationId xmlns:a16="http://schemas.microsoft.com/office/drawing/2014/main" id="{BD8859E3-ECF8-ED87-310C-990868353D88}"/>
                </a:ext>
              </a:extLst>
            </p:cNvPr>
            <p:cNvSpPr/>
            <p:nvPr/>
          </p:nvSpPr>
          <p:spPr>
            <a:xfrm>
              <a:off x="3685944" y="1346762"/>
              <a:ext cx="2981410" cy="1396067"/>
            </a:xfrm>
            <a:prstGeom prst="rect">
              <a:avLst/>
            </a:prstGeom>
            <a:solidFill>
              <a:srgbClr val="000000">
                <a:alpha val="35000"/>
              </a:srgbClr>
            </a:solidFill>
            <a:ln w="1905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32" name="TextBox 31">
              <a:extLst>
                <a:ext uri="{FF2B5EF4-FFF2-40B4-BE49-F238E27FC236}">
                  <a16:creationId xmlns:a16="http://schemas.microsoft.com/office/drawing/2014/main" id="{3740B1A6-E542-05CC-C8DA-43454211E6D5}"/>
                </a:ext>
              </a:extLst>
            </p:cNvPr>
            <p:cNvSpPr txBox="1"/>
            <p:nvPr/>
          </p:nvSpPr>
          <p:spPr>
            <a:xfrm>
              <a:off x="3758413" y="1308649"/>
              <a:ext cx="2837592" cy="1345709"/>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it-IT" sz="1600" b="1" i="0" u="none" strike="noStrike" kern="0" cap="none" spc="0" normalizeH="0" baseline="0" noProof="0" dirty="0">
                  <a:ln>
                    <a:noFill/>
                  </a:ln>
                  <a:solidFill>
                    <a:srgbClr val="FFE600"/>
                  </a:solidFill>
                  <a:effectLst/>
                  <a:uLnTx/>
                  <a:uFillTx/>
                </a:rPr>
                <a:t>DSAN</a:t>
              </a:r>
              <a:endParaRPr kumimoji="0" lang="en-US" sz="1600" b="1" i="0" u="none" strike="noStrike" kern="0" cap="none" spc="0" normalizeH="0" baseline="0" noProof="0" dirty="0">
                <a:ln>
                  <a:noFill/>
                </a:ln>
                <a:solidFill>
                  <a:srgbClr val="FFE600"/>
                </a:solidFill>
                <a:effectLst/>
                <a:uLnTx/>
                <a:uFillTx/>
              </a:endParaRPr>
            </a:p>
            <a:p>
              <a:pPr marL="0" marR="0" lvl="0" indent="0" algn="ctr" defTabSz="914400" eaLnBrk="1" fontAlgn="auto" latinLnBrk="0" hangingPunct="1">
                <a:lnSpc>
                  <a:spcPct val="100000"/>
                </a:lnSpc>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i. Possesso requisiti di accesso e dimensione</a:t>
              </a:r>
            </a:p>
            <a:p>
              <a:pPr marL="0" marR="0" lvl="0" indent="0" algn="ctr" defTabSz="914400" eaLnBrk="1" fontAlgn="auto" latinLnBrk="0" hangingPunct="1">
                <a:lnSpc>
                  <a:spcPct val="100000"/>
                </a:lnSpc>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ii. acquisizione informazioni Antimafia </a:t>
              </a:r>
            </a:p>
            <a:p>
              <a:pPr marL="0" marR="0" lvl="0" indent="0" algn="ctr" defTabSz="914400" eaLnBrk="1" fontAlgn="auto" latinLnBrk="0" hangingPunct="1">
                <a:lnSpc>
                  <a:spcPct val="100000"/>
                </a:lnSpc>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iii. cambiamento processo produttivo*</a:t>
              </a:r>
            </a:p>
            <a:p>
              <a:pPr marL="0" marR="0" lvl="0" indent="0" algn="ctr" defTabSz="914400" eaLnBrk="1" fontAlgn="auto" latinLnBrk="0" hangingPunct="1">
                <a:lnSpc>
                  <a:spcPct val="100000"/>
                </a:lnSpc>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iv. diversificazione produzione*</a:t>
              </a:r>
            </a:p>
            <a:p>
              <a:pPr marL="0" marR="0" lvl="0" indent="0" algn="ctr" defTabSz="914400" eaLnBrk="1" fontAlgn="auto" latinLnBrk="0" hangingPunct="1">
                <a:lnSpc>
                  <a:spcPct val="100000"/>
                </a:lnSpc>
                <a:spcAft>
                  <a:spcPts val="0"/>
                </a:spcAft>
                <a:buClr>
                  <a:srgbClr val="FFE600"/>
                </a:buClr>
                <a:buSzTx/>
                <a:buFontTx/>
                <a:buNone/>
                <a:tabLst/>
                <a:defRPr/>
              </a:pPr>
              <a:r>
                <a:rPr kumimoji="0" lang="it-IT" sz="1200" b="0" i="0" u="none" strike="noStrike" kern="0" cap="none" spc="0" normalizeH="0" baseline="0" noProof="0" dirty="0">
                  <a:ln>
                    <a:noFill/>
                  </a:ln>
                  <a:solidFill>
                    <a:srgbClr val="FFFFFF"/>
                  </a:solidFill>
                  <a:effectLst/>
                  <a:uLnTx/>
                  <a:uFillTx/>
                </a:rPr>
                <a:t>v. delocalizzazione*</a:t>
              </a:r>
              <a:endParaRPr kumimoji="0" lang="en-US" sz="1200" b="1" i="0" u="none" strike="noStrike" kern="0" cap="none" spc="0" normalizeH="0" baseline="0" noProof="0" dirty="0">
                <a:ln>
                  <a:noFill/>
                </a:ln>
                <a:solidFill>
                  <a:prstClr val="white">
                    <a:lumMod val="95000"/>
                  </a:prstClr>
                </a:solidFill>
                <a:effectLst/>
                <a:uLnTx/>
                <a:uFillTx/>
              </a:endParaRPr>
            </a:p>
          </p:txBody>
        </p:sp>
      </p:grpSp>
      <p:grpSp>
        <p:nvGrpSpPr>
          <p:cNvPr id="33" name="Group 32">
            <a:extLst>
              <a:ext uri="{FF2B5EF4-FFF2-40B4-BE49-F238E27FC236}">
                <a16:creationId xmlns:a16="http://schemas.microsoft.com/office/drawing/2014/main" id="{862CAA75-9258-441A-EA07-08E2646FD3F7}"/>
              </a:ext>
            </a:extLst>
          </p:cNvPr>
          <p:cNvGrpSpPr/>
          <p:nvPr/>
        </p:nvGrpSpPr>
        <p:grpSpPr>
          <a:xfrm>
            <a:off x="8018923" y="1527017"/>
            <a:ext cx="3574800" cy="1299600"/>
            <a:chOff x="6810359" y="1324228"/>
            <a:chExt cx="2981410" cy="1418601"/>
          </a:xfrm>
        </p:grpSpPr>
        <p:sp>
          <p:nvSpPr>
            <p:cNvPr id="34" name="Rectangle 14">
              <a:extLst>
                <a:ext uri="{FF2B5EF4-FFF2-40B4-BE49-F238E27FC236}">
                  <a16:creationId xmlns:a16="http://schemas.microsoft.com/office/drawing/2014/main" id="{5D6EF772-080E-9E0F-EC67-C2D1C81FC25C}"/>
                </a:ext>
              </a:extLst>
            </p:cNvPr>
            <p:cNvSpPr/>
            <p:nvPr/>
          </p:nvSpPr>
          <p:spPr>
            <a:xfrm>
              <a:off x="6810359" y="1346762"/>
              <a:ext cx="2981410" cy="1396067"/>
            </a:xfrm>
            <a:prstGeom prst="rect">
              <a:avLst/>
            </a:prstGeom>
            <a:solidFill>
              <a:srgbClr val="000000">
                <a:alpha val="35000"/>
              </a:srgbClr>
            </a:solidFill>
            <a:ln w="1905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35" name="TextBox 34">
              <a:extLst>
                <a:ext uri="{FF2B5EF4-FFF2-40B4-BE49-F238E27FC236}">
                  <a16:creationId xmlns:a16="http://schemas.microsoft.com/office/drawing/2014/main" id="{86164922-C2FD-FA68-7F13-6491D8C73843}"/>
                </a:ext>
              </a:extLst>
            </p:cNvPr>
            <p:cNvSpPr txBox="1"/>
            <p:nvPr/>
          </p:nvSpPr>
          <p:spPr>
            <a:xfrm>
              <a:off x="6939432" y="1324228"/>
              <a:ext cx="2773136" cy="1384150"/>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0"/>
                </a:spcAft>
                <a:buClr>
                  <a:srgbClr val="FFE600"/>
                </a:buClr>
                <a:buSzTx/>
                <a:buFontTx/>
                <a:buNone/>
                <a:tabLst/>
                <a:defRPr/>
              </a:pPr>
              <a:r>
                <a:rPr kumimoji="0" lang="it-IT" sz="1600" b="1" i="0" u="none" strike="noStrike" kern="0" cap="none" spc="0" normalizeH="0" baseline="0" noProof="0" dirty="0">
                  <a:ln>
                    <a:noFill/>
                  </a:ln>
                  <a:solidFill>
                    <a:srgbClr val="FFE600"/>
                  </a:solidFill>
                  <a:effectLst/>
                  <a:uLnTx/>
                  <a:uFillTx/>
                  <a:latin typeface="EYInterstate Light"/>
                  <a:ea typeface="+mn-ea"/>
                  <a:cs typeface="+mn-cs"/>
                </a:rPr>
                <a:t>INFORMAZIONI COMPILAZIONE PIANO D’IMPRESA</a:t>
              </a:r>
            </a:p>
            <a:p>
              <a:pPr marL="0" marR="0" lvl="0" indent="0" algn="ctr" defTabSz="914400" rtl="0" eaLnBrk="1" fontAlgn="auto" latinLnBrk="0" hangingPunct="1">
                <a:lnSpc>
                  <a:spcPct val="100000"/>
                </a:lnSpc>
                <a:spcBef>
                  <a:spcPts val="0"/>
                </a:spcBef>
                <a:spcAft>
                  <a:spcPts val="0"/>
                </a:spcAft>
                <a:buClr>
                  <a:srgbClr val="FFE600"/>
                </a:buClr>
                <a:buSzTx/>
                <a:buFontTx/>
                <a:buNone/>
                <a:tabLst/>
                <a:defRPr/>
              </a:pPr>
              <a:r>
                <a:rPr kumimoji="0" lang="it-IT" sz="1200" b="0" i="0" u="none" strike="noStrike" kern="0" cap="none" spc="0" normalizeH="0" baseline="0" noProof="0" dirty="0">
                  <a:ln>
                    <a:noFill/>
                  </a:ln>
                  <a:solidFill>
                    <a:prstClr val="white"/>
                  </a:solidFill>
                  <a:effectLst/>
                  <a:uLnTx/>
                  <a:uFillTx/>
                  <a:latin typeface="EYInterstate Light"/>
                  <a:ea typeface="+mn-ea"/>
                  <a:cs typeface="+mn-cs"/>
                </a:rPr>
                <a:t>Storia dell’azienda, descrizione attività, analisi di mercato, cronoprogramma, descrizione progetto, capacità produttiva, CV membri del team, previsioni di vendita</a:t>
              </a:r>
              <a:endParaRPr kumimoji="0" lang="en-US" sz="1200" b="0" i="0" u="none" strike="noStrike" kern="0" cap="none" spc="0" normalizeH="0" baseline="0" noProof="0" dirty="0">
                <a:ln>
                  <a:noFill/>
                </a:ln>
                <a:solidFill>
                  <a:prstClr val="white"/>
                </a:solidFill>
                <a:effectLst/>
                <a:uLnTx/>
                <a:uFillTx/>
                <a:latin typeface="EYInterstate Light"/>
                <a:ea typeface="+mn-ea"/>
                <a:cs typeface="+mn-cs"/>
              </a:endParaRPr>
            </a:p>
          </p:txBody>
        </p:sp>
      </p:grpSp>
      <p:grpSp>
        <p:nvGrpSpPr>
          <p:cNvPr id="36" name="Group 35">
            <a:extLst>
              <a:ext uri="{FF2B5EF4-FFF2-40B4-BE49-F238E27FC236}">
                <a16:creationId xmlns:a16="http://schemas.microsoft.com/office/drawing/2014/main" id="{7F903039-D715-77BD-E723-AF65D3B9B014}"/>
              </a:ext>
            </a:extLst>
          </p:cNvPr>
          <p:cNvGrpSpPr/>
          <p:nvPr/>
        </p:nvGrpSpPr>
        <p:grpSpPr>
          <a:xfrm>
            <a:off x="8018923" y="2902340"/>
            <a:ext cx="3574800" cy="1299600"/>
            <a:chOff x="6872702" y="2882236"/>
            <a:chExt cx="2981410" cy="1396800"/>
          </a:xfrm>
        </p:grpSpPr>
        <p:sp>
          <p:nvSpPr>
            <p:cNvPr id="37" name="Rectangle 14">
              <a:extLst>
                <a:ext uri="{FF2B5EF4-FFF2-40B4-BE49-F238E27FC236}">
                  <a16:creationId xmlns:a16="http://schemas.microsoft.com/office/drawing/2014/main" id="{9DA4A703-55D2-B876-622C-91D0392FF014}"/>
                </a:ext>
              </a:extLst>
            </p:cNvPr>
            <p:cNvSpPr/>
            <p:nvPr/>
          </p:nvSpPr>
          <p:spPr>
            <a:xfrm>
              <a:off x="6872702" y="2882236"/>
              <a:ext cx="2981410" cy="1396800"/>
            </a:xfrm>
            <a:prstGeom prst="rect">
              <a:avLst/>
            </a:prstGeom>
            <a:solidFill>
              <a:srgbClr val="000000">
                <a:alpha val="35000"/>
              </a:srgb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it-IT" sz="1200" b="0" i="0" u="none" strike="noStrike" kern="0" cap="none" spc="0" normalizeH="0" baseline="0" noProof="0" dirty="0">
                  <a:ln>
                    <a:noFill/>
                  </a:ln>
                  <a:solidFill>
                    <a:prstClr val="white"/>
                  </a:solidFill>
                  <a:effectLst/>
                  <a:uLnTx/>
                  <a:uFillTx/>
                </a:rPr>
                <a:t>Relazione Tecnica Asseverata relativa a Programmi Agevolabili ed eventuali preventivi e Relazione Tecnica DNSH</a:t>
              </a:r>
            </a:p>
          </p:txBody>
        </p:sp>
        <p:sp>
          <p:nvSpPr>
            <p:cNvPr id="38" name="TextBox 37">
              <a:extLst>
                <a:ext uri="{FF2B5EF4-FFF2-40B4-BE49-F238E27FC236}">
                  <a16:creationId xmlns:a16="http://schemas.microsoft.com/office/drawing/2014/main" id="{9DCE1BDB-8EDF-3C8C-9EDD-C85DCCC933AD}"/>
                </a:ext>
              </a:extLst>
            </p:cNvPr>
            <p:cNvSpPr txBox="1"/>
            <p:nvPr/>
          </p:nvSpPr>
          <p:spPr>
            <a:xfrm>
              <a:off x="7000925" y="2959001"/>
              <a:ext cx="2844180" cy="521805"/>
            </a:xfrm>
            <a:prstGeom prst="rect">
              <a:avLst/>
            </a:prstGeom>
            <a:noFill/>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E600"/>
                </a:buClr>
                <a:buSzTx/>
                <a:buFontTx/>
                <a:buNone/>
                <a:tabLst/>
                <a:defRPr/>
              </a:pPr>
              <a:r>
                <a:rPr kumimoji="0" lang="en-US" sz="1600" b="1" i="0" u="none" strike="noStrike" kern="0" cap="none" spc="0" normalizeH="0" baseline="0" noProof="0" dirty="0">
                  <a:ln>
                    <a:noFill/>
                  </a:ln>
                  <a:solidFill>
                    <a:srgbClr val="FFE600"/>
                  </a:solidFill>
                  <a:effectLst/>
                  <a:uLnTx/>
                  <a:uFillTx/>
                </a:rPr>
                <a:t>RELAZIONE TECNICA</a:t>
              </a:r>
            </a:p>
            <a:p>
              <a:pPr marL="0" marR="0" lvl="0" indent="0" algn="ctr" defTabSz="914400" eaLnBrk="1" fontAlgn="auto" latinLnBrk="0" hangingPunct="1">
                <a:lnSpc>
                  <a:spcPct val="100000"/>
                </a:lnSpc>
                <a:spcBef>
                  <a:spcPts val="0"/>
                </a:spcBef>
                <a:spcAft>
                  <a:spcPts val="0"/>
                </a:spcAft>
                <a:buClr>
                  <a:srgbClr val="FFE600"/>
                </a:buClr>
                <a:buSzTx/>
                <a:buFontTx/>
                <a:buNone/>
                <a:tabLst/>
                <a:defRPr/>
              </a:pPr>
              <a:endParaRPr kumimoji="0" lang="en-US" sz="1200" b="0" i="0" u="none" strike="noStrike" kern="0" cap="none" spc="0" normalizeH="0" baseline="0" noProof="0" dirty="0">
                <a:ln>
                  <a:noFill/>
                </a:ln>
                <a:solidFill>
                  <a:srgbClr val="FFE600"/>
                </a:solidFill>
                <a:effectLst/>
                <a:uLnTx/>
                <a:uFillTx/>
              </a:endParaRPr>
            </a:p>
          </p:txBody>
        </p:sp>
      </p:grpSp>
      <p:sp>
        <p:nvSpPr>
          <p:cNvPr id="51" name="Rectangle: Rounded Corners 4">
            <a:extLst>
              <a:ext uri="{FF2B5EF4-FFF2-40B4-BE49-F238E27FC236}">
                <a16:creationId xmlns:a16="http://schemas.microsoft.com/office/drawing/2014/main" id="{5E6B7591-F111-C0E0-7D68-70DB313ABC4E}"/>
              </a:ext>
            </a:extLst>
          </p:cNvPr>
          <p:cNvSpPr/>
          <p:nvPr/>
        </p:nvSpPr>
        <p:spPr>
          <a:xfrm>
            <a:off x="651947" y="1025403"/>
            <a:ext cx="10919340" cy="420962"/>
          </a:xfrm>
          <a:prstGeom prst="roundRect">
            <a:avLst>
              <a:gd name="adj" fmla="val 0"/>
            </a:avLst>
          </a:prstGeom>
          <a:solidFill>
            <a:schemeClr val="tx2"/>
          </a:solidFill>
          <a:ln w="12700" cap="sq" cmpd="sng" algn="ctr">
            <a:solidFill>
              <a:srgbClr val="FFE600"/>
            </a:solidFill>
            <a:prstDash val="solid"/>
            <a:miter lim="800000"/>
            <a:tailEnd type="none"/>
          </a:ln>
          <a:effectLst/>
        </p:spPr>
        <p:txBody>
          <a:bodyPr rot="0" spcFirstLastPara="0" vertOverflow="overflow" horzOverflow="overflow" vert="horz" wrap="square" lIns="180000" tIns="45720" rIns="91440" bIns="45720" numCol="1" spcCol="0" rtlCol="0" fromWordArt="0" anchor="ctr" anchorCtr="0" forceAA="0" compatLnSpc="1">
            <a:prstTxWarp prst="textNoShape">
              <a:avLst/>
            </a:prstTxWarp>
            <a:noAutofit/>
          </a:bodyPr>
          <a:lstStyle/>
          <a:p>
            <a:pPr marR="0" algn="ctr" defTabSz="914400" eaLnBrk="1" fontAlgn="auto" latinLnBrk="0" hangingPunct="1">
              <a:lnSpc>
                <a:spcPct val="100000"/>
              </a:lnSpc>
              <a:spcBef>
                <a:spcPts val="0"/>
              </a:spcBef>
              <a:spcAft>
                <a:spcPts val="0"/>
              </a:spcAft>
              <a:buClrTx/>
              <a:buSzTx/>
              <a:buFontTx/>
              <a:buNone/>
              <a:tabLst/>
            </a:pPr>
            <a:r>
              <a:rPr kumimoji="0" lang="it-IT" sz="1400" b="1" i="0" u="none" strike="noStrike" kern="0" cap="none" spc="0" normalizeH="0" baseline="0" noProof="0" dirty="0">
                <a:ln>
                  <a:noFill/>
                </a:ln>
                <a:solidFill>
                  <a:schemeClr val="bg2"/>
                </a:solidFill>
                <a:effectLst/>
                <a:uLnTx/>
                <a:uFillTx/>
              </a:rPr>
              <a:t>Documentazione necessaria per la presentazione della domanda di agevolazione</a:t>
            </a:r>
            <a:endParaRPr kumimoji="0" lang="it-IT" sz="1400" b="1" i="1" u="none" strike="noStrike" kern="0" cap="none" spc="0" normalizeH="0" baseline="0" noProof="0" dirty="0">
              <a:ln>
                <a:noFill/>
              </a:ln>
              <a:solidFill>
                <a:schemeClr val="bg2"/>
              </a:solidFill>
              <a:effectLst/>
              <a:uLnTx/>
              <a:uFillTx/>
            </a:endParaRPr>
          </a:p>
        </p:txBody>
      </p:sp>
      <p:sp>
        <p:nvSpPr>
          <p:cNvPr id="7" name="TextBox 6">
            <a:extLst>
              <a:ext uri="{FF2B5EF4-FFF2-40B4-BE49-F238E27FC236}">
                <a16:creationId xmlns:a16="http://schemas.microsoft.com/office/drawing/2014/main" id="{152B0573-34B1-0821-8751-D736EC56BAC1}"/>
              </a:ext>
            </a:extLst>
          </p:cNvPr>
          <p:cNvSpPr txBox="1"/>
          <p:nvPr/>
        </p:nvSpPr>
        <p:spPr>
          <a:xfrm>
            <a:off x="703570" y="6523348"/>
            <a:ext cx="4500026" cy="261868"/>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Solo se ricorre la fattispecie</a:t>
            </a:r>
          </a:p>
        </p:txBody>
      </p:sp>
    </p:spTree>
    <p:extLst>
      <p:ext uri="{BB962C8B-B14F-4D97-AF65-F5344CB8AC3E}">
        <p14:creationId xmlns:p14="http://schemas.microsoft.com/office/powerpoint/2010/main" val="7823128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732129"/>
          </a:xfrm>
        </p:spPr>
        <p:txBody>
          <a:bodyPr/>
          <a:lstStyle/>
          <a:p>
            <a:r>
              <a:rPr lang="it-IT" dirty="0"/>
              <a:t>Legge 181/89 – Area di crisi Melfi</a:t>
            </a:r>
            <a:br>
              <a:rPr lang="it-IT" dirty="0"/>
            </a:br>
            <a:r>
              <a:rPr lang="it-IT" dirty="0"/>
              <a:t>Focus graduatoria di ammissione alla fase di valutazione istruttoria</a:t>
            </a:r>
          </a:p>
        </p:txBody>
      </p:sp>
      <p:graphicFrame>
        <p:nvGraphicFramePr>
          <p:cNvPr id="3" name="Tabella 22">
            <a:extLst>
              <a:ext uri="{FF2B5EF4-FFF2-40B4-BE49-F238E27FC236}">
                <a16:creationId xmlns:a16="http://schemas.microsoft.com/office/drawing/2014/main" id="{A77DFBAE-B1D7-7EDA-84DE-B55A0B6A9524}"/>
              </a:ext>
            </a:extLst>
          </p:cNvPr>
          <p:cNvGraphicFramePr>
            <a:graphicFrameLocks noGrp="1"/>
          </p:cNvGraphicFramePr>
          <p:nvPr>
            <p:extLst>
              <p:ext uri="{D42A27DB-BD31-4B8C-83A1-F6EECF244321}">
                <p14:modId xmlns:p14="http://schemas.microsoft.com/office/powerpoint/2010/main" val="1574530570"/>
              </p:ext>
            </p:extLst>
          </p:nvPr>
        </p:nvGraphicFramePr>
        <p:xfrm>
          <a:off x="454174" y="1475735"/>
          <a:ext cx="11283652" cy="2316480"/>
        </p:xfrm>
        <a:graphic>
          <a:graphicData uri="http://schemas.openxmlformats.org/drawingml/2006/table">
            <a:tbl>
              <a:tblPr firstRow="1" bandRow="1">
                <a:tableStyleId>{5C22544A-7EE6-4342-B048-85BDC9FD1C3A}</a:tableStyleId>
              </a:tblPr>
              <a:tblGrid>
                <a:gridCol w="1893100">
                  <a:extLst>
                    <a:ext uri="{9D8B030D-6E8A-4147-A177-3AD203B41FA5}">
                      <a16:colId xmlns:a16="http://schemas.microsoft.com/office/drawing/2014/main" val="4286140044"/>
                    </a:ext>
                  </a:extLst>
                </a:gridCol>
                <a:gridCol w="4986780">
                  <a:extLst>
                    <a:ext uri="{9D8B030D-6E8A-4147-A177-3AD203B41FA5}">
                      <a16:colId xmlns:a16="http://schemas.microsoft.com/office/drawing/2014/main" val="3770195215"/>
                    </a:ext>
                  </a:extLst>
                </a:gridCol>
                <a:gridCol w="2705492">
                  <a:extLst>
                    <a:ext uri="{9D8B030D-6E8A-4147-A177-3AD203B41FA5}">
                      <a16:colId xmlns:a16="http://schemas.microsoft.com/office/drawing/2014/main" val="3722099940"/>
                    </a:ext>
                  </a:extLst>
                </a:gridCol>
                <a:gridCol w="1698280">
                  <a:extLst>
                    <a:ext uri="{9D8B030D-6E8A-4147-A177-3AD203B41FA5}">
                      <a16:colId xmlns:a16="http://schemas.microsoft.com/office/drawing/2014/main" val="1919199829"/>
                    </a:ext>
                  </a:extLst>
                </a:gridCol>
              </a:tblGrid>
              <a:tr h="270204">
                <a:tc>
                  <a:txBody>
                    <a:bodyPr/>
                    <a:lstStyle/>
                    <a:p>
                      <a:pPr algn="ctr"/>
                      <a:r>
                        <a:rPr lang="it-IT" sz="1400" dirty="0">
                          <a:solidFill>
                            <a:schemeClr val="bg2"/>
                          </a:solidFill>
                        </a:rPr>
                        <a:t>CRITERIO</a:t>
                      </a:r>
                    </a:p>
                  </a:txBody>
                  <a:tcPr anchor="ctr">
                    <a:solidFill>
                      <a:srgbClr val="FFE600"/>
                    </a:solidFill>
                  </a:tcPr>
                </a:tc>
                <a:tc>
                  <a:txBody>
                    <a:bodyPr/>
                    <a:lstStyle/>
                    <a:p>
                      <a:pPr marL="0" algn="ctr" defTabSz="914400" rtl="0" eaLnBrk="1" latinLnBrk="0" hangingPunct="1"/>
                      <a:r>
                        <a:rPr lang="it-IT" sz="1400" kern="1200" dirty="0">
                          <a:solidFill>
                            <a:schemeClr val="bg2"/>
                          </a:solidFill>
                          <a:latin typeface="+mn-lt"/>
                          <a:ea typeface="+mn-ea"/>
                          <a:cs typeface="+mn-cs"/>
                        </a:rPr>
                        <a:t>PARAMETRO DI VALUTAZIONE</a:t>
                      </a:r>
                    </a:p>
                  </a:txBody>
                  <a:tcPr anchor="ctr">
                    <a:solidFill>
                      <a:srgbClr val="FFE600"/>
                    </a:solidFill>
                  </a:tcPr>
                </a:tc>
                <a:tc>
                  <a:txBody>
                    <a:bodyPr/>
                    <a:lstStyle/>
                    <a:p>
                      <a:pPr marL="0" algn="ctr" defTabSz="914400" rtl="0" eaLnBrk="1" latinLnBrk="0" hangingPunct="1"/>
                      <a:r>
                        <a:rPr lang="it-IT" sz="1400" kern="1200" dirty="0">
                          <a:solidFill>
                            <a:schemeClr val="bg2"/>
                          </a:solidFill>
                          <a:latin typeface="+mn-lt"/>
                          <a:ea typeface="+mn-ea"/>
                          <a:cs typeface="+mn-cs"/>
                        </a:rPr>
                        <a:t>ATTRIBUZIONE PUNTEGGIO</a:t>
                      </a:r>
                    </a:p>
                  </a:txBody>
                  <a:tcPr anchor="ctr">
                    <a:solidFill>
                      <a:srgbClr val="FFE600"/>
                    </a:solidFill>
                  </a:tcPr>
                </a:tc>
                <a:tc>
                  <a:txBody>
                    <a:bodyPr/>
                    <a:lstStyle/>
                    <a:p>
                      <a:pPr marL="0" algn="ctr" defTabSz="914400" rtl="0" eaLnBrk="1" latinLnBrk="0" hangingPunct="1"/>
                      <a:r>
                        <a:rPr lang="it-IT" sz="1400" kern="1200" dirty="0">
                          <a:solidFill>
                            <a:schemeClr val="bg2"/>
                          </a:solidFill>
                          <a:latin typeface="+mn-lt"/>
                          <a:ea typeface="+mn-ea"/>
                          <a:cs typeface="+mn-cs"/>
                        </a:rPr>
                        <a:t>MAX</a:t>
                      </a:r>
                    </a:p>
                  </a:txBody>
                  <a:tcPr anchor="ctr">
                    <a:solidFill>
                      <a:srgbClr val="FFE600"/>
                    </a:solidFill>
                  </a:tcPr>
                </a:tc>
                <a:extLst>
                  <a:ext uri="{0D108BD9-81ED-4DB2-BD59-A6C34878D82A}">
                    <a16:rowId xmlns:a16="http://schemas.microsoft.com/office/drawing/2014/main" val="3652761729"/>
                  </a:ext>
                </a:extLst>
              </a:tr>
              <a:tr h="1783349">
                <a:tc>
                  <a:txBody>
                    <a:bodyPr/>
                    <a:lstStyle/>
                    <a:p>
                      <a:pPr marL="0" algn="l" defTabSz="914400" rtl="0" eaLnBrk="1" latinLnBrk="0" hangingPunct="1"/>
                      <a:r>
                        <a:rPr lang="it-IT" sz="1400" b="1" kern="1200" dirty="0">
                          <a:solidFill>
                            <a:srgbClr val="FFE600"/>
                          </a:solidFill>
                          <a:latin typeface="+mn-lt"/>
                          <a:ea typeface="+mn-ea"/>
                          <a:cs typeface="+mn-cs"/>
                        </a:rPr>
                        <a:t>INCREMENTO OCCUPAZIONALE </a:t>
                      </a:r>
                    </a:p>
                  </a:txBody>
                  <a:tcPr anchor="ctr">
                    <a:solidFill>
                      <a:schemeClr val="tx1"/>
                    </a:solidFill>
                  </a:tcPr>
                </a:tc>
                <a:tc>
                  <a:txBody>
                    <a:bodyPr/>
                    <a:lstStyle/>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b="0" dirty="0">
                          <a:solidFill>
                            <a:schemeClr val="bg1"/>
                          </a:solidFill>
                        </a:rPr>
                        <a:t>Incremento del numero degli addetti espresso in ULA </a:t>
                      </a:r>
                    </a:p>
                  </a:txBody>
                  <a:tcPr anchor="ctr">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Nuova occupazione generata dall’iniziativa imprenditoriale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 0: 0 punti;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gt; 0 a &lt; 5: 4 punti;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 5 a &lt; 10: 8 punti;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 10 a &lt; 20: 15 punti;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 20 a &lt; 30: 30 punti;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 30 a &lt; 40: 40 punti;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kern="1200" dirty="0">
                          <a:solidFill>
                            <a:schemeClr val="bg1"/>
                          </a:solidFill>
                          <a:latin typeface="+mn-lt"/>
                          <a:ea typeface="+mn-ea"/>
                          <a:cs typeface="+mn-cs"/>
                        </a:rPr>
                        <a:t>≥ 40  in poi: 50 punti.</a:t>
                      </a:r>
                    </a:p>
                  </a:txBody>
                  <a:tcPr anchor="ctr">
                    <a:lnB w="12700" cap="flat" cmpd="sng" algn="ctr">
                      <a:solidFill>
                        <a:schemeClr val="bg1"/>
                      </a:solidFill>
                      <a:prstDash val="solid"/>
                      <a:round/>
                      <a:headEnd type="none" w="med" len="med"/>
                      <a:tailEnd type="none" w="med" len="med"/>
                    </a:lnB>
                    <a:solidFill>
                      <a:schemeClr val="tx1"/>
                    </a:solidFill>
                  </a:tcPr>
                </a:tc>
                <a:tc>
                  <a:txBody>
                    <a:bodyPr/>
                    <a:lstStyle/>
                    <a:p>
                      <a:pPr marL="0" algn="ctr" defTabSz="914400" rtl="0" eaLnBrk="1" latinLnBrk="0" hangingPunct="1"/>
                      <a:r>
                        <a:rPr lang="it-IT" sz="1800" b="1" kern="1200" dirty="0">
                          <a:solidFill>
                            <a:schemeClr val="tx2"/>
                          </a:solidFill>
                          <a:latin typeface="+mn-lt"/>
                          <a:ea typeface="+mn-ea"/>
                          <a:cs typeface="+mn-cs"/>
                        </a:rPr>
                        <a:t>50</a:t>
                      </a:r>
                    </a:p>
                  </a:txBody>
                  <a:tcPr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581766805"/>
                  </a:ext>
                </a:extLst>
              </a:tr>
            </a:tbl>
          </a:graphicData>
        </a:graphic>
      </p:graphicFrame>
      <p:graphicFrame>
        <p:nvGraphicFramePr>
          <p:cNvPr id="9" name="Tabella 22">
            <a:extLst>
              <a:ext uri="{FF2B5EF4-FFF2-40B4-BE49-F238E27FC236}">
                <a16:creationId xmlns:a16="http://schemas.microsoft.com/office/drawing/2014/main" id="{EED1C4DA-DC75-ED61-7AE4-CE4DFC7ABB2F}"/>
              </a:ext>
            </a:extLst>
          </p:cNvPr>
          <p:cNvGraphicFramePr>
            <a:graphicFrameLocks noGrp="1"/>
          </p:cNvGraphicFramePr>
          <p:nvPr>
            <p:extLst>
              <p:ext uri="{D42A27DB-BD31-4B8C-83A1-F6EECF244321}">
                <p14:modId xmlns:p14="http://schemas.microsoft.com/office/powerpoint/2010/main" val="2752575738"/>
              </p:ext>
            </p:extLst>
          </p:nvPr>
        </p:nvGraphicFramePr>
        <p:xfrm>
          <a:off x="454174" y="3781851"/>
          <a:ext cx="11283652" cy="2093915"/>
        </p:xfrm>
        <a:graphic>
          <a:graphicData uri="http://schemas.openxmlformats.org/drawingml/2006/table">
            <a:tbl>
              <a:tblPr firstRow="1" bandRow="1">
                <a:tableStyleId>{5C22544A-7EE6-4342-B048-85BDC9FD1C3A}</a:tableStyleId>
              </a:tblPr>
              <a:tblGrid>
                <a:gridCol w="1893100">
                  <a:extLst>
                    <a:ext uri="{9D8B030D-6E8A-4147-A177-3AD203B41FA5}">
                      <a16:colId xmlns:a16="http://schemas.microsoft.com/office/drawing/2014/main" val="4286140044"/>
                    </a:ext>
                  </a:extLst>
                </a:gridCol>
                <a:gridCol w="4986780">
                  <a:extLst>
                    <a:ext uri="{9D8B030D-6E8A-4147-A177-3AD203B41FA5}">
                      <a16:colId xmlns:a16="http://schemas.microsoft.com/office/drawing/2014/main" val="3770195215"/>
                    </a:ext>
                  </a:extLst>
                </a:gridCol>
                <a:gridCol w="2705492">
                  <a:extLst>
                    <a:ext uri="{9D8B030D-6E8A-4147-A177-3AD203B41FA5}">
                      <a16:colId xmlns:a16="http://schemas.microsoft.com/office/drawing/2014/main" val="3722099940"/>
                    </a:ext>
                  </a:extLst>
                </a:gridCol>
                <a:gridCol w="1698280">
                  <a:extLst>
                    <a:ext uri="{9D8B030D-6E8A-4147-A177-3AD203B41FA5}">
                      <a16:colId xmlns:a16="http://schemas.microsoft.com/office/drawing/2014/main" val="1919199829"/>
                    </a:ext>
                  </a:extLst>
                </a:gridCol>
              </a:tblGrid>
              <a:tr h="402275">
                <a:tc>
                  <a:txBody>
                    <a:bodyPr/>
                    <a:lstStyle/>
                    <a:p>
                      <a:pPr algn="ctr"/>
                      <a:r>
                        <a:rPr lang="it-IT" sz="1400" dirty="0">
                          <a:solidFill>
                            <a:schemeClr val="bg2"/>
                          </a:solidFill>
                        </a:rPr>
                        <a:t>CRITERIO</a:t>
                      </a:r>
                    </a:p>
                  </a:txBody>
                  <a:tcPr anchor="ctr">
                    <a:solidFill>
                      <a:srgbClr val="FFE600"/>
                    </a:solidFill>
                  </a:tcPr>
                </a:tc>
                <a:tc>
                  <a:txBody>
                    <a:bodyPr/>
                    <a:lstStyle/>
                    <a:p>
                      <a:pPr marL="0" algn="ctr" defTabSz="914400" rtl="0" eaLnBrk="1" latinLnBrk="0" hangingPunct="1"/>
                      <a:r>
                        <a:rPr lang="it-IT" sz="1400" kern="1200" dirty="0">
                          <a:solidFill>
                            <a:schemeClr val="bg2"/>
                          </a:solidFill>
                          <a:latin typeface="+mn-lt"/>
                          <a:ea typeface="+mn-ea"/>
                          <a:cs typeface="+mn-cs"/>
                        </a:rPr>
                        <a:t>PARAMETRO DI VALUTAZIONE</a:t>
                      </a:r>
                    </a:p>
                  </a:txBody>
                  <a:tcPr anchor="ctr">
                    <a:solidFill>
                      <a:srgbClr val="FFE600"/>
                    </a:solidFill>
                  </a:tcPr>
                </a:tc>
                <a:tc>
                  <a:txBody>
                    <a:bodyPr/>
                    <a:lstStyle/>
                    <a:p>
                      <a:pPr marL="0" algn="ctr" defTabSz="914400" rtl="0" eaLnBrk="1" latinLnBrk="0" hangingPunct="1"/>
                      <a:r>
                        <a:rPr lang="it-IT" sz="1400" kern="1200" dirty="0">
                          <a:solidFill>
                            <a:schemeClr val="bg2"/>
                          </a:solidFill>
                          <a:latin typeface="+mn-lt"/>
                          <a:ea typeface="+mn-ea"/>
                          <a:cs typeface="+mn-cs"/>
                        </a:rPr>
                        <a:t>ATTRIBUZIONE PUNTEGGIO</a:t>
                      </a:r>
                    </a:p>
                  </a:txBody>
                  <a:tcPr anchor="ctr">
                    <a:solidFill>
                      <a:srgbClr val="FFE600"/>
                    </a:solidFill>
                  </a:tcPr>
                </a:tc>
                <a:tc>
                  <a:txBody>
                    <a:bodyPr/>
                    <a:lstStyle/>
                    <a:p>
                      <a:pPr marL="0" algn="ctr" defTabSz="914400" rtl="0" eaLnBrk="1" latinLnBrk="0" hangingPunct="1"/>
                      <a:r>
                        <a:rPr lang="it-IT" sz="1400" kern="1200" dirty="0">
                          <a:solidFill>
                            <a:schemeClr val="bg2"/>
                          </a:solidFill>
                          <a:latin typeface="+mn-lt"/>
                          <a:ea typeface="+mn-ea"/>
                          <a:cs typeface="+mn-cs"/>
                        </a:rPr>
                        <a:t>MAX</a:t>
                      </a:r>
                    </a:p>
                  </a:txBody>
                  <a:tcPr anchor="ctr">
                    <a:solidFill>
                      <a:srgbClr val="FFE600"/>
                    </a:solidFill>
                  </a:tcPr>
                </a:tc>
                <a:extLst>
                  <a:ext uri="{0D108BD9-81ED-4DB2-BD59-A6C34878D82A}">
                    <a16:rowId xmlns:a16="http://schemas.microsoft.com/office/drawing/2014/main" val="3652761729"/>
                  </a:ext>
                </a:extLst>
              </a:tr>
              <a:tr h="1238598">
                <a:tc>
                  <a:txBody>
                    <a:bodyPr/>
                    <a:lstStyle/>
                    <a:p>
                      <a:pPr marL="0" algn="l" defTabSz="914400" rtl="0" eaLnBrk="1" latinLnBrk="0" hangingPunct="1"/>
                      <a:r>
                        <a:rPr lang="it-IT" sz="1400" b="1" kern="1200" dirty="0">
                          <a:solidFill>
                            <a:srgbClr val="FFE600"/>
                          </a:solidFill>
                          <a:latin typeface="+mn-lt"/>
                          <a:ea typeface="+mn-ea"/>
                          <a:cs typeface="+mn-cs"/>
                        </a:rPr>
                        <a:t>ATTIVITÀ </a:t>
                      </a:r>
                    </a:p>
                    <a:p>
                      <a:pPr marL="0" algn="l" defTabSz="914400" rtl="0" eaLnBrk="1" latinLnBrk="0" hangingPunct="1"/>
                      <a:r>
                        <a:rPr lang="it-IT" sz="1400" b="1" kern="1200" dirty="0">
                          <a:solidFill>
                            <a:srgbClr val="FFE600"/>
                          </a:solidFill>
                          <a:latin typeface="+mn-lt"/>
                          <a:ea typeface="+mn-ea"/>
                          <a:cs typeface="+mn-cs"/>
                        </a:rPr>
                        <a:t>ECONOMICHE </a:t>
                      </a:r>
                    </a:p>
                    <a:p>
                      <a:pPr marL="0" algn="l" defTabSz="914400" rtl="0" eaLnBrk="1" latinLnBrk="0" hangingPunct="1"/>
                      <a:r>
                        <a:rPr lang="it-IT" sz="1400" b="1" kern="1200" dirty="0">
                          <a:solidFill>
                            <a:srgbClr val="FFE600"/>
                          </a:solidFill>
                          <a:latin typeface="+mn-lt"/>
                          <a:ea typeface="+mn-ea"/>
                          <a:cs typeface="+mn-cs"/>
                        </a:rPr>
                        <a:t>PRIORITARIE </a:t>
                      </a:r>
                    </a:p>
                  </a:txBody>
                  <a:tcPr anchor="ctr">
                    <a:solidFill>
                      <a:schemeClr val="tx1"/>
                    </a:solidFill>
                  </a:tcPr>
                </a:tc>
                <a:tc>
                  <a:txBody>
                    <a:bodyPr/>
                    <a:lstStyle/>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400" b="0" dirty="0">
                          <a:solidFill>
                            <a:schemeClr val="bg1"/>
                          </a:solidFill>
                        </a:rPr>
                        <a:t>C-13* -  C-15 - C-16 - C-20 - C-22 - C-23 - C-24* -  C-25 - C-26 - C-27 - C-28 - C-29 - C-30 - H-52 - J-61** - M-72</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endParaRPr lang="it-IT" sz="500" b="0" dirty="0">
                        <a:solidFill>
                          <a:schemeClr val="bg1"/>
                        </a:solidFill>
                      </a:endParaRP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200" b="0" dirty="0">
                          <a:solidFill>
                            <a:schemeClr val="bg1"/>
                          </a:solidFill>
                        </a:rPr>
                        <a:t>(*) ad esclusione delle attività economiche non ammissibili in presenza di divieti e limitazioni derivanti dalle vigenti disposizioni comunitarie; </a:t>
                      </a:r>
                    </a:p>
                    <a:p>
                      <a:pPr marL="0" marR="0" lvl="0" indent="0" algn="just"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200" b="0" dirty="0">
                          <a:solidFill>
                            <a:schemeClr val="bg1"/>
                          </a:solidFill>
                        </a:rPr>
                        <a:t>(**) con esclusione delle attività connesse al settore della banda larga in presenza di divieti e limitazioni derivanti dalle vigenti disposizioni comunitarie.</a:t>
                      </a:r>
                    </a:p>
                  </a:txBody>
                  <a:tcPr anchor="ctr">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
                          <a:srgbClr val="FFE600"/>
                        </a:buClr>
                        <a:buSzTx/>
                        <a:buFont typeface="Arial" panose="020B0604020202020204" pitchFamily="34" charset="0"/>
                        <a:buNone/>
                        <a:tabLst/>
                        <a:defRPr/>
                      </a:pPr>
                      <a:r>
                        <a:rPr lang="it-IT" sz="1600" kern="1200" dirty="0">
                          <a:solidFill>
                            <a:schemeClr val="bg1"/>
                          </a:solidFill>
                          <a:latin typeface="+mn-lt"/>
                          <a:ea typeface="+mn-ea"/>
                          <a:cs typeface="+mn-cs"/>
                        </a:rPr>
                        <a:t>50</a:t>
                      </a:r>
                    </a:p>
                  </a:txBody>
                  <a:tcPr anchor="ctr">
                    <a:lnB w="12700" cap="flat" cmpd="sng" algn="ctr">
                      <a:solidFill>
                        <a:schemeClr val="bg1"/>
                      </a:solidFill>
                      <a:prstDash val="solid"/>
                      <a:round/>
                      <a:headEnd type="none" w="med" len="med"/>
                      <a:tailEnd type="none" w="med" len="med"/>
                    </a:lnB>
                    <a:solidFill>
                      <a:schemeClr val="tx1"/>
                    </a:solidFill>
                  </a:tcPr>
                </a:tc>
                <a:tc>
                  <a:txBody>
                    <a:bodyPr/>
                    <a:lstStyle/>
                    <a:p>
                      <a:pPr marL="0" algn="ctr" defTabSz="914400" rtl="0" eaLnBrk="1" latinLnBrk="0" hangingPunct="1"/>
                      <a:r>
                        <a:rPr lang="it-IT" sz="1800" b="1" kern="1200" dirty="0">
                          <a:solidFill>
                            <a:schemeClr val="tx2"/>
                          </a:solidFill>
                          <a:latin typeface="+mn-lt"/>
                          <a:ea typeface="+mn-ea"/>
                          <a:cs typeface="+mn-cs"/>
                        </a:rPr>
                        <a:t>50</a:t>
                      </a:r>
                    </a:p>
                  </a:txBody>
                  <a:tcPr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581766805"/>
                  </a:ext>
                </a:extLst>
              </a:tr>
            </a:tbl>
          </a:graphicData>
        </a:graphic>
      </p:graphicFrame>
      <p:sp>
        <p:nvSpPr>
          <p:cNvPr id="12" name="Rectangle 11">
            <a:extLst>
              <a:ext uri="{FF2B5EF4-FFF2-40B4-BE49-F238E27FC236}">
                <a16:creationId xmlns:a16="http://schemas.microsoft.com/office/drawing/2014/main" id="{80C8A7F0-CF33-2C5C-92CA-5B041320D486}"/>
              </a:ext>
            </a:extLst>
          </p:cNvPr>
          <p:cNvSpPr/>
          <p:nvPr/>
        </p:nvSpPr>
        <p:spPr>
          <a:xfrm>
            <a:off x="871578" y="5938081"/>
            <a:ext cx="10143242" cy="530517"/>
          </a:xfrm>
          <a:prstGeom prst="rect">
            <a:avLst/>
          </a:prstGeom>
          <a:solidFill>
            <a:schemeClr val="tx1"/>
          </a:solidFill>
          <a:ln w="28575"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it-IT" sz="1200" b="1" i="0" u="none" strike="noStrike" kern="0" cap="none" spc="0" normalizeH="0" baseline="0" noProof="0" dirty="0">
                <a:ln>
                  <a:noFill/>
                </a:ln>
                <a:solidFill>
                  <a:schemeClr val="bg1"/>
                </a:solidFill>
                <a:effectLst/>
                <a:uLnTx/>
                <a:uFillTx/>
              </a:rPr>
              <a:t>IN CASO DI PARITÀ DI PUNTEGGIO È DATA PRIORITÀ ALLA DOMANDA CHE PREVEDE IL MAGGIOR INCREMENTO OCCUPAZIONALE. NEL CASO DI PARITÀ DI INCREMENTO OCCUPAZIONALE, PREVALE L’ORDINE CRONOLOGICO DI PRESENTAZIONE DELLE DOMANDE.</a:t>
            </a:r>
          </a:p>
        </p:txBody>
      </p:sp>
      <p:sp>
        <p:nvSpPr>
          <p:cNvPr id="13" name="TextBox 12">
            <a:extLst>
              <a:ext uri="{FF2B5EF4-FFF2-40B4-BE49-F238E27FC236}">
                <a16:creationId xmlns:a16="http://schemas.microsoft.com/office/drawing/2014/main" id="{887C4E1A-ECF9-A464-5E02-D324F4888B81}"/>
              </a:ext>
            </a:extLst>
          </p:cNvPr>
          <p:cNvSpPr txBox="1"/>
          <p:nvPr/>
        </p:nvSpPr>
        <p:spPr>
          <a:xfrm>
            <a:off x="454174" y="1002028"/>
            <a:ext cx="11283652" cy="496111"/>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L’</a:t>
            </a:r>
            <a:r>
              <a:rPr lang="it-IT" sz="1400" b="1" kern="0" dirty="0">
                <a:solidFill>
                  <a:schemeClr val="tx2"/>
                </a:solidFill>
              </a:rPr>
              <a:t>accesso alle agevolazioni </a:t>
            </a:r>
            <a:r>
              <a:rPr lang="it-IT" sz="1400" kern="0" dirty="0">
                <a:solidFill>
                  <a:schemeClr val="bg1"/>
                </a:solidFill>
              </a:rPr>
              <a:t>prevede la determinazione di una </a:t>
            </a:r>
            <a:r>
              <a:rPr lang="it-IT" sz="1400" b="1" kern="0" dirty="0">
                <a:solidFill>
                  <a:schemeClr val="tx2"/>
                </a:solidFill>
              </a:rPr>
              <a:t>graduatoria di ammissione </a:t>
            </a:r>
            <a:r>
              <a:rPr lang="it-IT" sz="1400" kern="0" dirty="0">
                <a:solidFill>
                  <a:schemeClr val="bg1"/>
                </a:solidFill>
              </a:rPr>
              <a:t>redatta sulla base dei seguenti criteri e punteggi, alla quale seguirà l’avvio della fase di istruttoria di merito:</a:t>
            </a:r>
          </a:p>
        </p:txBody>
      </p:sp>
    </p:spTree>
    <p:extLst>
      <p:ext uri="{BB962C8B-B14F-4D97-AF65-F5344CB8AC3E}">
        <p14:creationId xmlns:p14="http://schemas.microsoft.com/office/powerpoint/2010/main" val="42021381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34F696-D622-4372-990E-20D32DFD46E4}"/>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406" imgH="403" progId="TCLayout.ActiveDocument.1">
                  <p:embed/>
                </p:oleObj>
              </mc:Choice>
              <mc:Fallback>
                <p:oleObj name="think-cell Folie" r:id="rId4" imgW="406" imgH="403" progId="TCLayout.ActiveDocument.1">
                  <p:embed/>
                  <p:pic>
                    <p:nvPicPr>
                      <p:cNvPr id="4" name="Objekt 3" hidden="1">
                        <a:extLst>
                          <a:ext uri="{FF2B5EF4-FFF2-40B4-BE49-F238E27FC236}">
                            <a16:creationId xmlns:a16="http://schemas.microsoft.com/office/drawing/2014/main" id="{9634F696-D622-4372-990E-20D32DFD46E4}"/>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D866BC0-AB0B-4E04-AF7A-0A0DD38C614E}"/>
              </a:ext>
            </a:extLst>
          </p:cNvPr>
          <p:cNvSpPr/>
          <p:nvPr>
            <p:custDataLst>
              <p:tags r:id="rId2"/>
            </p:custDataLst>
          </p:nvPr>
        </p:nvSpPr>
        <p:spPr>
          <a:xfrm>
            <a:off x="0" y="1785"/>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endParaRPr lang="en-US" sz="2399" kern="0">
              <a:solidFill>
                <a:srgbClr val="2E2E38"/>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14" name="Titel 1">
            <a:extLst>
              <a:ext uri="{FF2B5EF4-FFF2-40B4-BE49-F238E27FC236}">
                <a16:creationId xmlns:a16="http://schemas.microsoft.com/office/drawing/2014/main" id="{60682AB7-02B8-47BB-BB6A-84CBB31B0CC8}"/>
              </a:ext>
            </a:extLst>
          </p:cNvPr>
          <p:cNvSpPr>
            <a:spLocks noGrp="1"/>
          </p:cNvSpPr>
          <p:nvPr>
            <p:ph type="title"/>
          </p:nvPr>
        </p:nvSpPr>
        <p:spPr>
          <a:xfrm>
            <a:off x="609601" y="160140"/>
            <a:ext cx="10972800" cy="590093"/>
          </a:xfrm>
        </p:spPr>
        <p:txBody>
          <a:bodyPr/>
          <a:lstStyle/>
          <a:p>
            <a:r>
              <a:rPr lang="it-IT" dirty="0"/>
              <a:t>Legge 181/89 – Area di crisi Melfi</a:t>
            </a:r>
            <a:br>
              <a:rPr lang="it-IT" dirty="0"/>
            </a:br>
            <a:r>
              <a:rPr lang="it-IT" dirty="0"/>
              <a:t>Focus iter di valutazione</a:t>
            </a:r>
          </a:p>
        </p:txBody>
      </p:sp>
      <p:sp>
        <p:nvSpPr>
          <p:cNvPr id="2" name="TextBox 1">
            <a:extLst>
              <a:ext uri="{FF2B5EF4-FFF2-40B4-BE49-F238E27FC236}">
                <a16:creationId xmlns:a16="http://schemas.microsoft.com/office/drawing/2014/main" id="{806D60EB-D3C7-4CFB-C440-928A96658306}"/>
              </a:ext>
            </a:extLst>
          </p:cNvPr>
          <p:cNvSpPr txBox="1"/>
          <p:nvPr/>
        </p:nvSpPr>
        <p:spPr>
          <a:xfrm>
            <a:off x="638365" y="959426"/>
            <a:ext cx="10972800" cy="967666"/>
          </a:xfrm>
          <a:prstGeom prst="rect">
            <a:avLst/>
          </a:prstGeom>
          <a:noFill/>
          <a:ln w="12700" cap="sq">
            <a:noFill/>
            <a:miter lim="800000"/>
          </a:ln>
        </p:spPr>
        <p:txBody>
          <a:bodyPr wrap="square" lIns="0" tIns="0" rIns="0" bIns="0" rtlCol="0">
            <a:noAutofit/>
          </a:bodyPr>
          <a:lstStyle/>
          <a:p>
            <a:pPr marL="285750" indent="-285750" algn="just" defTabSz="685434">
              <a:spcAft>
                <a:spcPts val="600"/>
              </a:spcAft>
              <a:buClr>
                <a:srgbClr val="FFE600"/>
              </a:buClr>
              <a:buSzPct val="100000"/>
              <a:buFont typeface="Arial" panose="020B0604020202020204" pitchFamily="34" charset="0"/>
              <a:buChar char="►"/>
            </a:pPr>
            <a:r>
              <a:rPr lang="it-IT" sz="1600" b="1" kern="0" dirty="0">
                <a:solidFill>
                  <a:schemeClr val="tx2"/>
                </a:solidFill>
              </a:rPr>
              <a:t>SCADENZA PRESENTAZIONE DOMANDA: </a:t>
            </a:r>
            <a:r>
              <a:rPr lang="it-IT" sz="1600" kern="0" dirty="0">
                <a:solidFill>
                  <a:schemeClr val="bg1"/>
                </a:solidFill>
              </a:rPr>
              <a:t>fino al 18/06/2024</a:t>
            </a:r>
          </a:p>
          <a:p>
            <a:pPr marL="285750" indent="-285750" algn="just" defTabSz="685434">
              <a:spcAft>
                <a:spcPts val="600"/>
              </a:spcAft>
              <a:buClr>
                <a:srgbClr val="FFE600"/>
              </a:buClr>
              <a:buSzPct val="100000"/>
              <a:buFont typeface="Arial" panose="020B0604020202020204" pitchFamily="34" charset="0"/>
              <a:buChar char="►"/>
            </a:pPr>
            <a:r>
              <a:rPr lang="it-IT" sz="1600" b="1" kern="0" dirty="0">
                <a:solidFill>
                  <a:schemeClr val="tx2"/>
                </a:solidFill>
              </a:rPr>
              <a:t>PUBBLICAZIONE GRADUATORIA DI AMMISSIONE ALLA FASE DI VALUTAZIONE ISTRUTTORIA</a:t>
            </a:r>
            <a:r>
              <a:rPr lang="it-IT" sz="1600" kern="0" dirty="0">
                <a:solidFill>
                  <a:schemeClr val="tx2"/>
                </a:solidFill>
              </a:rPr>
              <a:t>:</a:t>
            </a:r>
            <a:r>
              <a:rPr lang="it-IT" sz="1600" kern="0" dirty="0">
                <a:solidFill>
                  <a:schemeClr val="bg1"/>
                </a:solidFill>
              </a:rPr>
              <a:t> entro 30 giorni dalla data di scadenza della presentazione della domanda</a:t>
            </a:r>
          </a:p>
          <a:p>
            <a:pPr marL="285750" indent="-285750" algn="just" defTabSz="685434">
              <a:spcAft>
                <a:spcPts val="600"/>
              </a:spcAft>
              <a:buClr>
                <a:srgbClr val="FFE600"/>
              </a:buClr>
              <a:buSzPct val="100000"/>
              <a:buFont typeface="Arial" panose="020B0604020202020204" pitchFamily="34" charset="0"/>
              <a:buChar char="►"/>
            </a:pPr>
            <a:r>
              <a:rPr lang="it-IT" sz="1600" b="1" kern="0" dirty="0">
                <a:solidFill>
                  <a:schemeClr val="tx2"/>
                </a:solidFill>
              </a:rPr>
              <a:t>FASE DI ISTRUTTORIA (*): </a:t>
            </a:r>
            <a:r>
              <a:rPr lang="it-IT" sz="1600" kern="0" dirty="0">
                <a:solidFill>
                  <a:schemeClr val="bg1"/>
                </a:solidFill>
              </a:rPr>
              <a:t>il processo di valutazione sarà condotto sulla base dei seguenti criteri di valutazione:</a:t>
            </a:r>
          </a:p>
        </p:txBody>
      </p:sp>
      <p:sp>
        <p:nvSpPr>
          <p:cNvPr id="11" name="TextBox 10">
            <a:extLst>
              <a:ext uri="{FF2B5EF4-FFF2-40B4-BE49-F238E27FC236}">
                <a16:creationId xmlns:a16="http://schemas.microsoft.com/office/drawing/2014/main" id="{E6160CB6-3D88-71EA-3F6A-F6EB8FFBCE04}"/>
              </a:ext>
            </a:extLst>
          </p:cNvPr>
          <p:cNvSpPr txBox="1"/>
          <p:nvPr/>
        </p:nvSpPr>
        <p:spPr>
          <a:xfrm>
            <a:off x="638365" y="4836820"/>
            <a:ext cx="10944036" cy="1099531"/>
          </a:xfrm>
          <a:prstGeom prst="rect">
            <a:avLst/>
          </a:prstGeom>
          <a:noFill/>
          <a:ln w="12700" cap="sq">
            <a:noFill/>
            <a:miter lim="800000"/>
          </a:ln>
          <a:effectLst/>
        </p:spPr>
        <p:txBody>
          <a:bodyPr wrap="square" lIns="0" tIns="0" rIns="0" bIns="0" rtlCol="0">
            <a:noAutofit/>
          </a:bodyPr>
          <a:lstStyle/>
          <a:p>
            <a:pPr marL="285750" indent="-285750" algn="just" defTabSz="685434">
              <a:spcAft>
                <a:spcPts val="600"/>
              </a:spcAft>
              <a:buClr>
                <a:srgbClr val="FFE600"/>
              </a:buClr>
              <a:buSzPct val="100000"/>
              <a:buFont typeface="Arial" panose="020B0604020202020204" pitchFamily="34" charset="0"/>
              <a:buChar char="►"/>
            </a:pPr>
            <a:r>
              <a:rPr lang="it-IT" sz="1600" b="1" kern="0" dirty="0">
                <a:solidFill>
                  <a:schemeClr val="tx2"/>
                </a:solidFill>
              </a:rPr>
              <a:t>ESITO DELLA VALUTAZIONE: </a:t>
            </a:r>
            <a:r>
              <a:rPr lang="it-IT" sz="1600" kern="0" dirty="0">
                <a:solidFill>
                  <a:schemeClr val="bg1"/>
                </a:solidFill>
              </a:rPr>
              <a:t>entro 90 giorni dall’inizio della fase di istruttoria</a:t>
            </a:r>
          </a:p>
          <a:p>
            <a:pPr marL="285750" indent="-285750" algn="just" defTabSz="685434">
              <a:spcAft>
                <a:spcPts val="600"/>
              </a:spcAft>
              <a:buClr>
                <a:srgbClr val="FFE600"/>
              </a:buClr>
              <a:buSzPct val="100000"/>
              <a:buFont typeface="Arial" panose="020B0604020202020204" pitchFamily="34" charset="0"/>
              <a:buChar char="►"/>
            </a:pPr>
            <a:r>
              <a:rPr lang="it-IT" sz="1600" b="1" kern="0" dirty="0">
                <a:solidFill>
                  <a:schemeClr val="tx2"/>
                </a:solidFill>
              </a:rPr>
              <a:t>EROGAZIONE DEL CONTRIBUTO:  </a:t>
            </a:r>
            <a:r>
              <a:rPr lang="it-IT" sz="1600" b="1" kern="0" dirty="0">
                <a:solidFill>
                  <a:schemeClr val="bg1"/>
                </a:solidFill>
              </a:rPr>
              <a:t>i</a:t>
            </a:r>
            <a:r>
              <a:rPr lang="it-IT" sz="1600" kern="0" dirty="0">
                <a:solidFill>
                  <a:schemeClr val="bg1"/>
                </a:solidFill>
              </a:rPr>
              <a:t>l numero, i tempi e la consistenza minima delle erogazioni sono definiti nei contratti di concessione. </a:t>
            </a:r>
            <a:r>
              <a:rPr lang="it-IT" sz="1600" b="1" kern="0" dirty="0">
                <a:solidFill>
                  <a:schemeClr val="bg1"/>
                </a:solidFill>
              </a:rPr>
              <a:t>EROGAZIONE DELLE SINGOLE QUOTE DI CONTRIBUTO ENTRO 30 GIORNI DALLA RICEZIONE DI CIASCUNA RICHIESTA DI EROGAZIONE</a:t>
            </a:r>
          </a:p>
        </p:txBody>
      </p:sp>
      <p:grpSp>
        <p:nvGrpSpPr>
          <p:cNvPr id="12" name="Group 11">
            <a:extLst>
              <a:ext uri="{FF2B5EF4-FFF2-40B4-BE49-F238E27FC236}">
                <a16:creationId xmlns:a16="http://schemas.microsoft.com/office/drawing/2014/main" id="{50F17DEB-A391-A6EA-6257-C931547E4EE8}"/>
              </a:ext>
            </a:extLst>
          </p:cNvPr>
          <p:cNvGrpSpPr/>
          <p:nvPr/>
        </p:nvGrpSpPr>
        <p:grpSpPr>
          <a:xfrm>
            <a:off x="638365" y="2199341"/>
            <a:ext cx="11127883" cy="2568966"/>
            <a:chOff x="638365" y="2199341"/>
            <a:chExt cx="11127883" cy="2855448"/>
          </a:xfrm>
        </p:grpSpPr>
        <p:sp>
          <p:nvSpPr>
            <p:cNvPr id="6" name="Rectangle: Rounded Corners 5">
              <a:extLst>
                <a:ext uri="{FF2B5EF4-FFF2-40B4-BE49-F238E27FC236}">
                  <a16:creationId xmlns:a16="http://schemas.microsoft.com/office/drawing/2014/main" id="{581AD5B0-C985-95F0-BD73-B122EE583587}"/>
                </a:ext>
              </a:extLst>
            </p:cNvPr>
            <p:cNvSpPr/>
            <p:nvPr/>
          </p:nvSpPr>
          <p:spPr>
            <a:xfrm>
              <a:off x="1056371" y="2776892"/>
              <a:ext cx="8814494" cy="525890"/>
            </a:xfrm>
            <a:prstGeom prst="roundRect">
              <a:avLst>
                <a:gd name="adj" fmla="val 0"/>
              </a:avLst>
            </a:prstGeom>
            <a:solidFill>
              <a:schemeClr val="tx2"/>
            </a:solidFill>
            <a:ln w="12700" cap="sq" cmpd="sng" algn="ctr">
              <a:solidFill>
                <a:srgbClr val="FFE600"/>
              </a:solid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it-IT" sz="1400" b="1" kern="0" dirty="0">
                  <a:solidFill>
                    <a:schemeClr val="bg2"/>
                  </a:solidFill>
                </a:rPr>
                <a:t>F</a:t>
              </a:r>
              <a:r>
                <a:rPr kumimoji="0" lang="it-IT" sz="1400" b="1" i="0" u="none" strike="noStrike" kern="0" cap="none" spc="0" normalizeH="0" baseline="0" noProof="0" dirty="0">
                  <a:ln>
                    <a:noFill/>
                  </a:ln>
                  <a:solidFill>
                    <a:schemeClr val="bg2"/>
                  </a:solidFill>
                  <a:effectLst/>
                  <a:uLnTx/>
                  <a:uFillTx/>
                </a:rPr>
                <a:t>ATTIBILITÀ TECNICA DEL PROGRAMMA DEGLI INVESTIMENTI </a:t>
              </a:r>
            </a:p>
          </p:txBody>
        </p:sp>
        <p:sp>
          <p:nvSpPr>
            <p:cNvPr id="7" name="Rectangle: Rounded Corners 6">
              <a:extLst>
                <a:ext uri="{FF2B5EF4-FFF2-40B4-BE49-F238E27FC236}">
                  <a16:creationId xmlns:a16="http://schemas.microsoft.com/office/drawing/2014/main" id="{93AB2D83-1854-FAEB-89B6-E3F98C69E78B}"/>
                </a:ext>
              </a:extLst>
            </p:cNvPr>
            <p:cNvSpPr/>
            <p:nvPr/>
          </p:nvSpPr>
          <p:spPr>
            <a:xfrm>
              <a:off x="1558780" y="3362374"/>
              <a:ext cx="8881935" cy="525890"/>
            </a:xfrm>
            <a:prstGeom prst="roundRect">
              <a:avLst>
                <a:gd name="adj" fmla="val 0"/>
              </a:avLst>
            </a:prstGeom>
            <a:solidFill>
              <a:schemeClr val="tx2"/>
            </a:solidFill>
            <a:ln w="12700" cap="sq" cmpd="sng" algn="ctr">
              <a:solidFill>
                <a:srgbClr val="FFE600"/>
              </a:solid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kumimoji="0" lang="it-IT" sz="1400" b="1" i="0" u="none" strike="noStrike" kern="0" cap="none" spc="0" normalizeH="0" baseline="0" noProof="0" dirty="0">
                  <a:ln>
                    <a:noFill/>
                  </a:ln>
                  <a:solidFill>
                    <a:schemeClr val="bg2"/>
                  </a:solidFill>
                  <a:effectLst/>
                  <a:uLnTx/>
                  <a:uFillTx/>
                </a:rPr>
                <a:t> PROGRAMMA OCCUPAZIONALE PREVISTO DAL PROGETTO IMPRENDITORIALE </a:t>
              </a:r>
            </a:p>
          </p:txBody>
        </p:sp>
        <p:sp>
          <p:nvSpPr>
            <p:cNvPr id="8" name="Rectangle: Rounded Corners 7">
              <a:extLst>
                <a:ext uri="{FF2B5EF4-FFF2-40B4-BE49-F238E27FC236}">
                  <a16:creationId xmlns:a16="http://schemas.microsoft.com/office/drawing/2014/main" id="{E939B9ED-651C-A6C1-F876-716CCA883C5E}"/>
                </a:ext>
              </a:extLst>
            </p:cNvPr>
            <p:cNvSpPr/>
            <p:nvPr/>
          </p:nvSpPr>
          <p:spPr>
            <a:xfrm>
              <a:off x="2275571" y="3947856"/>
              <a:ext cx="8814494" cy="525890"/>
            </a:xfrm>
            <a:prstGeom prst="roundRect">
              <a:avLst>
                <a:gd name="adj" fmla="val 0"/>
              </a:avLst>
            </a:prstGeom>
            <a:solidFill>
              <a:schemeClr val="tx2"/>
            </a:solidFill>
            <a:ln w="12700" cap="sq" cmpd="sng" algn="ctr">
              <a:solidFill>
                <a:srgbClr val="FFE600"/>
              </a:solid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it-IT" sz="1400" b="1" kern="0" dirty="0">
                  <a:solidFill>
                    <a:schemeClr val="bg2"/>
                  </a:solidFill>
                </a:rPr>
                <a:t>A</a:t>
              </a:r>
              <a:r>
                <a:rPr kumimoji="0" lang="it-IT" sz="1400" b="1" i="0" u="none" strike="noStrike" kern="0" cap="none" spc="0" normalizeH="0" baseline="0" noProof="0" dirty="0">
                  <a:ln>
                    <a:noFill/>
                  </a:ln>
                  <a:solidFill>
                    <a:schemeClr val="bg2"/>
                  </a:solidFill>
                  <a:effectLst/>
                  <a:uLnTx/>
                  <a:uFillTx/>
                </a:rPr>
                <a:t>TTENDIBILITÀ DELL’ANALISI COMPETITIVA E DELLE STRATEGIE DI PENETRAZIONE DEL</a:t>
              </a:r>
            </a:p>
            <a:p>
              <a:pPr marL="0" marR="0" indent="0" defTabSz="914400" eaLnBrk="1" fontAlgn="auto" latinLnBrk="0" hangingPunct="1">
                <a:lnSpc>
                  <a:spcPct val="100000"/>
                </a:lnSpc>
                <a:spcBef>
                  <a:spcPts val="0"/>
                </a:spcBef>
                <a:spcAft>
                  <a:spcPts val="0"/>
                </a:spcAft>
                <a:buClrTx/>
                <a:buSzTx/>
                <a:buFontTx/>
                <a:buNone/>
                <a:tabLst/>
              </a:pPr>
              <a:r>
                <a:rPr kumimoji="0" lang="it-IT" sz="1400" b="1" i="0" u="none" strike="noStrike" kern="0" cap="none" spc="0" normalizeH="0" baseline="0" noProof="0" dirty="0">
                  <a:ln>
                    <a:noFill/>
                  </a:ln>
                  <a:solidFill>
                    <a:schemeClr val="bg2"/>
                  </a:solidFill>
                  <a:effectLst/>
                  <a:uLnTx/>
                  <a:uFillTx/>
                </a:rPr>
                <a:t>MERCATO DI RIFERIMENTO</a:t>
              </a:r>
            </a:p>
          </p:txBody>
        </p:sp>
        <p:sp>
          <p:nvSpPr>
            <p:cNvPr id="10" name="Rectangle: Rounded Corners 9">
              <a:extLst>
                <a:ext uri="{FF2B5EF4-FFF2-40B4-BE49-F238E27FC236}">
                  <a16:creationId xmlns:a16="http://schemas.microsoft.com/office/drawing/2014/main" id="{CEA26B2C-C891-94CC-2D87-0B305F1A340D}"/>
                </a:ext>
              </a:extLst>
            </p:cNvPr>
            <p:cNvSpPr/>
            <p:nvPr/>
          </p:nvSpPr>
          <p:spPr>
            <a:xfrm>
              <a:off x="2951754" y="4528899"/>
              <a:ext cx="8814494" cy="525890"/>
            </a:xfrm>
            <a:prstGeom prst="roundRect">
              <a:avLst>
                <a:gd name="adj" fmla="val 0"/>
              </a:avLst>
            </a:prstGeom>
            <a:solidFill>
              <a:schemeClr val="tx2"/>
            </a:solidFill>
            <a:ln w="12700" cap="sq" cmpd="sng" algn="ctr">
              <a:solidFill>
                <a:srgbClr val="FFE600"/>
              </a:solid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lang="it-IT" sz="1400" b="1" kern="0" dirty="0">
                  <a:solidFill>
                    <a:schemeClr val="bg2"/>
                  </a:solidFill>
                </a:rPr>
                <a:t>F</a:t>
              </a:r>
              <a:r>
                <a:rPr kumimoji="0" lang="it-IT" sz="1400" b="1" i="0" u="none" strike="noStrike" kern="0" cap="none" spc="0" normalizeH="0" baseline="0" noProof="0" dirty="0">
                  <a:ln>
                    <a:noFill/>
                  </a:ln>
                  <a:solidFill>
                    <a:schemeClr val="bg2"/>
                  </a:solidFill>
                  <a:effectLst/>
                  <a:uLnTx/>
                  <a:uFillTx/>
                </a:rPr>
                <a:t>ATTIBILITÀ E SOSTENIBILITÀ ECONOMICO-FINANZIARIA DEL PROGETTO IMPRENDITORIALE </a:t>
              </a:r>
            </a:p>
          </p:txBody>
        </p:sp>
        <p:sp>
          <p:nvSpPr>
            <p:cNvPr id="16" name="Freccia in giù 5">
              <a:extLst>
                <a:ext uri="{FF2B5EF4-FFF2-40B4-BE49-F238E27FC236}">
                  <a16:creationId xmlns:a16="http://schemas.microsoft.com/office/drawing/2014/main" id="{1D2A5DF0-EF86-9652-3A58-2D43A316FEB6}"/>
                </a:ext>
              </a:extLst>
            </p:cNvPr>
            <p:cNvSpPr/>
            <p:nvPr/>
          </p:nvSpPr>
          <p:spPr>
            <a:xfrm>
              <a:off x="9870865" y="2864711"/>
              <a:ext cx="434897" cy="876142"/>
            </a:xfrm>
            <a:prstGeom prst="downArrow">
              <a:avLst/>
            </a:prstGeom>
            <a:solidFill>
              <a:schemeClr val="bg1"/>
            </a:solidFill>
            <a:ln w="12700" cap="sq" cmpd="sng" algn="ctr">
              <a:no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b="0" i="0" u="none" strike="noStrike" kern="0" cap="none" spc="0" normalizeH="0" baseline="0" noProof="0" dirty="0">
                <a:ln>
                  <a:noFill/>
                </a:ln>
                <a:solidFill>
                  <a:srgbClr val="2E2E38"/>
                </a:solidFill>
                <a:effectLst/>
                <a:uLnTx/>
                <a:uFillTx/>
              </a:endParaRPr>
            </a:p>
          </p:txBody>
        </p:sp>
        <p:sp>
          <p:nvSpPr>
            <p:cNvPr id="17" name="Freccia in giù 7">
              <a:extLst>
                <a:ext uri="{FF2B5EF4-FFF2-40B4-BE49-F238E27FC236}">
                  <a16:creationId xmlns:a16="http://schemas.microsoft.com/office/drawing/2014/main" id="{F1EB24FE-6365-7D22-3075-D937CB2F8B90}"/>
                </a:ext>
              </a:extLst>
            </p:cNvPr>
            <p:cNvSpPr/>
            <p:nvPr/>
          </p:nvSpPr>
          <p:spPr>
            <a:xfrm>
              <a:off x="10440715" y="3505346"/>
              <a:ext cx="434897" cy="876142"/>
            </a:xfrm>
            <a:prstGeom prst="downArrow">
              <a:avLst/>
            </a:prstGeom>
            <a:solidFill>
              <a:schemeClr val="bg1"/>
            </a:solidFill>
            <a:ln w="12700" cap="sq" cmpd="sng" algn="ctr">
              <a:no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b="0" i="0" u="none" strike="noStrike" kern="0" cap="none" spc="0" normalizeH="0" baseline="0" noProof="0" dirty="0">
                <a:ln>
                  <a:noFill/>
                </a:ln>
                <a:solidFill>
                  <a:srgbClr val="2E2E38"/>
                </a:solidFill>
                <a:effectLst/>
                <a:uLnTx/>
                <a:uFillTx/>
              </a:endParaRPr>
            </a:p>
          </p:txBody>
        </p:sp>
        <p:sp>
          <p:nvSpPr>
            <p:cNvPr id="18" name="Freccia in giù 8">
              <a:extLst>
                <a:ext uri="{FF2B5EF4-FFF2-40B4-BE49-F238E27FC236}">
                  <a16:creationId xmlns:a16="http://schemas.microsoft.com/office/drawing/2014/main" id="{AF1CE83D-0F51-00D6-19EE-593AB6D03404}"/>
                </a:ext>
              </a:extLst>
            </p:cNvPr>
            <p:cNvSpPr/>
            <p:nvPr/>
          </p:nvSpPr>
          <p:spPr>
            <a:xfrm>
              <a:off x="11086220" y="4125415"/>
              <a:ext cx="434897" cy="876142"/>
            </a:xfrm>
            <a:prstGeom prst="downArrow">
              <a:avLst/>
            </a:prstGeom>
            <a:solidFill>
              <a:schemeClr val="bg1"/>
            </a:solidFill>
            <a:ln w="12700" cap="sq" cmpd="sng" algn="ctr">
              <a:no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b="0" i="0" u="none" strike="noStrike" kern="0" cap="none" spc="0" normalizeH="0" baseline="0" noProof="0" dirty="0">
                <a:ln>
                  <a:noFill/>
                </a:ln>
                <a:solidFill>
                  <a:srgbClr val="2E2E38"/>
                </a:solidFill>
                <a:effectLst/>
                <a:uLnTx/>
                <a:uFillTx/>
              </a:endParaRPr>
            </a:p>
          </p:txBody>
        </p:sp>
        <p:sp>
          <p:nvSpPr>
            <p:cNvPr id="19" name="Rectangle: Rounded Corners 18">
              <a:extLst>
                <a:ext uri="{FF2B5EF4-FFF2-40B4-BE49-F238E27FC236}">
                  <a16:creationId xmlns:a16="http://schemas.microsoft.com/office/drawing/2014/main" id="{CD79BD15-58DC-D1A6-380B-CCC8E4AB8AF9}"/>
                </a:ext>
              </a:extLst>
            </p:cNvPr>
            <p:cNvSpPr/>
            <p:nvPr/>
          </p:nvSpPr>
          <p:spPr>
            <a:xfrm>
              <a:off x="638365" y="2199341"/>
              <a:ext cx="8814494" cy="525890"/>
            </a:xfrm>
            <a:prstGeom prst="roundRect">
              <a:avLst>
                <a:gd name="adj" fmla="val 0"/>
              </a:avLst>
            </a:prstGeom>
            <a:solidFill>
              <a:schemeClr val="tx2"/>
            </a:solidFill>
            <a:ln w="12700" cap="sq" cmpd="sng" algn="ctr">
              <a:solidFill>
                <a:srgbClr val="FFE600"/>
              </a:solid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defTabSz="914400" eaLnBrk="1" fontAlgn="auto" latinLnBrk="0" hangingPunct="1">
                <a:lnSpc>
                  <a:spcPct val="100000"/>
                </a:lnSpc>
                <a:spcBef>
                  <a:spcPts val="0"/>
                </a:spcBef>
                <a:spcAft>
                  <a:spcPts val="0"/>
                </a:spcAft>
                <a:buClrTx/>
                <a:buSzTx/>
                <a:buFontTx/>
                <a:buNone/>
                <a:tabLst/>
              </a:pPr>
              <a:r>
                <a:rPr kumimoji="0" lang="it-IT" sz="1400" b="1" i="0" u="none" strike="noStrike" kern="0" cap="none" spc="0" normalizeH="0" baseline="0" noProof="0" dirty="0">
                  <a:ln>
                    <a:noFill/>
                  </a:ln>
                  <a:solidFill>
                    <a:schemeClr val="bg2"/>
                  </a:solidFill>
                  <a:effectLst/>
                  <a:uLnTx/>
                  <a:uFillTx/>
                </a:rPr>
                <a:t>CREDIBILITÀ DEL SOGGETTO PROPONENTE IN TERMINI DI ADEGUATEZZA E COERENZA DEL PROFILO DEI SOCI </a:t>
              </a:r>
            </a:p>
          </p:txBody>
        </p:sp>
        <p:sp>
          <p:nvSpPr>
            <p:cNvPr id="20" name="Freccia in giù 5">
              <a:extLst>
                <a:ext uri="{FF2B5EF4-FFF2-40B4-BE49-F238E27FC236}">
                  <a16:creationId xmlns:a16="http://schemas.microsoft.com/office/drawing/2014/main" id="{990B232B-5DAE-1978-D6EC-964A21748739}"/>
                </a:ext>
              </a:extLst>
            </p:cNvPr>
            <p:cNvSpPr/>
            <p:nvPr/>
          </p:nvSpPr>
          <p:spPr>
            <a:xfrm>
              <a:off x="9435968" y="2290516"/>
              <a:ext cx="434897" cy="876142"/>
            </a:xfrm>
            <a:prstGeom prst="downArrow">
              <a:avLst/>
            </a:prstGeom>
            <a:solidFill>
              <a:schemeClr val="bg1"/>
            </a:solidFill>
            <a:ln w="12700" cap="sq" cmpd="sng" algn="ctr">
              <a:noFill/>
              <a:prstDash val="solid"/>
              <a:miter lim="800000"/>
              <a:tailEnd type="none"/>
            </a:ln>
            <a:effectLst/>
          </p:spPr>
          <p:txBody>
            <a:bodyPr rot="0" spcFirstLastPara="0" vertOverflow="overflow" horzOverflow="overflow" vert="horz" wrap="square" lIns="16200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b="0" i="0" u="none" strike="noStrike" kern="0" cap="none" spc="0" normalizeH="0" baseline="0" noProof="0" dirty="0">
                <a:ln>
                  <a:noFill/>
                </a:ln>
                <a:solidFill>
                  <a:srgbClr val="2E2E38"/>
                </a:solidFill>
                <a:effectLst/>
                <a:uLnTx/>
                <a:uFillTx/>
              </a:endParaRPr>
            </a:p>
          </p:txBody>
        </p:sp>
      </p:grpSp>
      <p:sp>
        <p:nvSpPr>
          <p:cNvPr id="9" name="TextBox 8">
            <a:extLst>
              <a:ext uri="{FF2B5EF4-FFF2-40B4-BE49-F238E27FC236}">
                <a16:creationId xmlns:a16="http://schemas.microsoft.com/office/drawing/2014/main" id="{5B195950-DA96-1C54-AE3E-C294832EA947}"/>
              </a:ext>
            </a:extLst>
          </p:cNvPr>
          <p:cNvSpPr txBox="1"/>
          <p:nvPr/>
        </p:nvSpPr>
        <p:spPr>
          <a:xfrm>
            <a:off x="242440" y="6077755"/>
            <a:ext cx="10711553" cy="351322"/>
          </a:xfrm>
          <a:prstGeom prst="rect">
            <a:avLst/>
          </a:prstGeom>
          <a:noFill/>
          <a:ln w="12700" cap="sq">
            <a:noFill/>
            <a:miter lim="800000"/>
          </a:ln>
        </p:spPr>
        <p:txBody>
          <a:bodyPr wrap="square" lIns="0" tIns="0" rIns="0" bIns="0" rtlCol="0">
            <a:noAutofit/>
          </a:bodyPr>
          <a:lstStyle/>
          <a:p>
            <a:pPr algn="l" defTabSz="685434">
              <a:spcAft>
                <a:spcPts val="600"/>
              </a:spcAft>
              <a:buClr>
                <a:srgbClr val="FFE600"/>
              </a:buClr>
              <a:buSzPct val="80000"/>
            </a:pPr>
            <a:r>
              <a:rPr lang="it-IT" sz="1400" kern="0" dirty="0">
                <a:solidFill>
                  <a:schemeClr val="bg1"/>
                </a:solidFill>
              </a:rPr>
              <a:t>(*) Comprendente un colloquio obbligatorio con l’</a:t>
            </a:r>
            <a:r>
              <a:rPr lang="it-IT" sz="1400" i="1" kern="0" dirty="0">
                <a:solidFill>
                  <a:schemeClr val="bg1"/>
                </a:solidFill>
              </a:rPr>
              <a:t>Impresa proponente </a:t>
            </a:r>
            <a:r>
              <a:rPr lang="it-IT" sz="1400" kern="0" dirty="0">
                <a:solidFill>
                  <a:schemeClr val="bg1"/>
                </a:solidFill>
              </a:rPr>
              <a:t>e le eventuali </a:t>
            </a:r>
            <a:r>
              <a:rPr lang="it-IT" sz="1400" i="1" kern="0" dirty="0">
                <a:solidFill>
                  <a:schemeClr val="bg1"/>
                </a:solidFill>
              </a:rPr>
              <a:t>Imprese aderenti </a:t>
            </a:r>
            <a:r>
              <a:rPr lang="it-IT" sz="1400" kern="0" dirty="0">
                <a:solidFill>
                  <a:schemeClr val="bg1"/>
                </a:solidFill>
              </a:rPr>
              <a:t>finalizzato ad approfondire tutti gli aspetti del piano d’impresa</a:t>
            </a:r>
          </a:p>
        </p:txBody>
      </p:sp>
    </p:spTree>
    <p:extLst>
      <p:ext uri="{BB962C8B-B14F-4D97-AF65-F5344CB8AC3E}">
        <p14:creationId xmlns:p14="http://schemas.microsoft.com/office/powerpoint/2010/main" val="15431233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town on a hill&#10;&#10;Description automatically generated">
            <a:extLst>
              <a:ext uri="{FF2B5EF4-FFF2-40B4-BE49-F238E27FC236}">
                <a16:creationId xmlns:a16="http://schemas.microsoft.com/office/drawing/2014/main" id="{8D800684-1874-A857-68E3-B6A9982A567D}"/>
              </a:ext>
            </a:extLst>
          </p:cNvPr>
          <p:cNvPicPr>
            <a:picLocks noChangeAspect="1"/>
          </p:cNvPicPr>
          <p:nvPr/>
        </p:nvPicPr>
        <p:blipFill rotWithShape="1">
          <a:blip r:embed="rId2"/>
          <a:srcRect l="38122" r="34666" b="42511"/>
          <a:stretch/>
        </p:blipFill>
        <p:spPr>
          <a:xfrm>
            <a:off x="0" y="1536817"/>
            <a:ext cx="4474723" cy="5317613"/>
          </a:xfrm>
          <a:prstGeom prst="rect">
            <a:avLst/>
          </a:prstGeom>
        </p:spPr>
      </p:pic>
      <p:sp>
        <p:nvSpPr>
          <p:cNvPr id="14" name="Rettangolo 13">
            <a:extLst>
              <a:ext uri="{FF2B5EF4-FFF2-40B4-BE49-F238E27FC236}">
                <a16:creationId xmlns:a16="http://schemas.microsoft.com/office/drawing/2014/main" id="{5FAECF2F-DAB9-A993-FD4E-8E10E0669755}"/>
              </a:ext>
            </a:extLst>
          </p:cNvPr>
          <p:cNvSpPr/>
          <p:nvPr/>
        </p:nvSpPr>
        <p:spPr>
          <a:xfrm>
            <a:off x="0" y="3570"/>
            <a:ext cx="12192000" cy="6854430"/>
          </a:xfrm>
          <a:prstGeom prst="rect">
            <a:avLst/>
          </a:prstGeom>
          <a:solidFill>
            <a:srgbClr val="00000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it-IT" sz="1199" dirty="0">
              <a:solidFill>
                <a:srgbClr val="2E2E38"/>
              </a:solidFill>
              <a:latin typeface="EYInterstate Light"/>
            </a:endParaRPr>
          </a:p>
        </p:txBody>
      </p:sp>
      <p:sp>
        <p:nvSpPr>
          <p:cNvPr id="2" name="Title 1"/>
          <p:cNvSpPr>
            <a:spLocks noGrp="1"/>
          </p:cNvSpPr>
          <p:nvPr>
            <p:ph type="title" idx="4294967295"/>
          </p:nvPr>
        </p:nvSpPr>
        <p:spPr>
          <a:xfrm>
            <a:off x="619935" y="308594"/>
            <a:ext cx="11366184" cy="590243"/>
          </a:xfrm>
        </p:spPr>
        <p:txBody>
          <a:bodyPr/>
          <a:lstStyle/>
          <a:p>
            <a:pPr>
              <a:spcAft>
                <a:spcPts val="800"/>
              </a:spcAft>
            </a:pPr>
            <a:r>
              <a:rPr lang="it-IT" sz="1899" dirty="0">
                <a:solidFill>
                  <a:schemeClr val="tx2"/>
                </a:solidFill>
              </a:rPr>
              <a:t>EY Smart Funding e Confindustria Basilicata | Bando Legge 181/89</a:t>
            </a:r>
            <a:br>
              <a:rPr lang="it-IT" sz="1899" dirty="0">
                <a:solidFill>
                  <a:schemeClr val="tx2"/>
                </a:solidFill>
              </a:rPr>
            </a:br>
            <a:r>
              <a:rPr lang="it-IT" sz="1600" i="1" dirty="0">
                <a:solidFill>
                  <a:schemeClr val="tx2"/>
                </a:solidFill>
              </a:rPr>
              <a:t>“Progetto di riconversione e riqualificazione industriale dell’area di crisi industriale complessa dei sistemi locali del lavoro di </a:t>
            </a:r>
            <a:r>
              <a:rPr lang="it-IT" sz="1600" b="1" i="1" dirty="0">
                <a:solidFill>
                  <a:schemeClr val="tx2"/>
                </a:solidFill>
              </a:rPr>
              <a:t>Melfi, Potenza e Rionero in Vulture</a:t>
            </a:r>
            <a:r>
              <a:rPr lang="it-IT" sz="1600" i="1" dirty="0">
                <a:solidFill>
                  <a:schemeClr val="tx2"/>
                </a:solidFill>
              </a:rPr>
              <a:t>“</a:t>
            </a:r>
            <a:endParaRPr lang="en-US" sz="1899" i="1" dirty="0">
              <a:solidFill>
                <a:schemeClr val="tx2"/>
              </a:solidFill>
            </a:endParaRPr>
          </a:p>
        </p:txBody>
      </p:sp>
      <p:graphicFrame>
        <p:nvGraphicFramePr>
          <p:cNvPr id="4" name="Tabella 6">
            <a:extLst>
              <a:ext uri="{FF2B5EF4-FFF2-40B4-BE49-F238E27FC236}">
                <a16:creationId xmlns:a16="http://schemas.microsoft.com/office/drawing/2014/main" id="{C829524B-B9D3-4213-99F8-8AAEA20A4311}"/>
              </a:ext>
            </a:extLst>
          </p:cNvPr>
          <p:cNvGraphicFramePr>
            <a:graphicFrameLocks noGrp="1"/>
          </p:cNvGraphicFramePr>
          <p:nvPr>
            <p:extLst>
              <p:ext uri="{D42A27DB-BD31-4B8C-83A1-F6EECF244321}">
                <p14:modId xmlns:p14="http://schemas.microsoft.com/office/powerpoint/2010/main" val="407508504"/>
              </p:ext>
            </p:extLst>
          </p:nvPr>
        </p:nvGraphicFramePr>
        <p:xfrm>
          <a:off x="4861034" y="1871873"/>
          <a:ext cx="6786056" cy="4455458"/>
        </p:xfrm>
        <a:graphic>
          <a:graphicData uri="http://schemas.openxmlformats.org/drawingml/2006/table">
            <a:tbl>
              <a:tblPr firstRow="1" bandRow="1">
                <a:tableStyleId>{2D5ABB26-0587-4C30-8999-92F81FD0307C}</a:tableStyleId>
              </a:tblPr>
              <a:tblGrid>
                <a:gridCol w="3854949">
                  <a:extLst>
                    <a:ext uri="{9D8B030D-6E8A-4147-A177-3AD203B41FA5}">
                      <a16:colId xmlns:a16="http://schemas.microsoft.com/office/drawing/2014/main" val="30240099"/>
                    </a:ext>
                  </a:extLst>
                </a:gridCol>
                <a:gridCol w="2931107">
                  <a:extLst>
                    <a:ext uri="{9D8B030D-6E8A-4147-A177-3AD203B41FA5}">
                      <a16:colId xmlns:a16="http://schemas.microsoft.com/office/drawing/2014/main" val="2406982606"/>
                    </a:ext>
                  </a:extLst>
                </a:gridCol>
              </a:tblGrid>
              <a:tr h="791222">
                <a:tc>
                  <a:txBody>
                    <a:bodyPr/>
                    <a:lstStyle/>
                    <a:p>
                      <a:pPr algn="l">
                        <a:lnSpc>
                          <a:spcPct val="100000"/>
                        </a:lnSpc>
                        <a:spcAft>
                          <a:spcPts val="120"/>
                        </a:spcAft>
                      </a:pPr>
                      <a:r>
                        <a:rPr lang="it-IT" sz="1400" kern="1200" dirty="0">
                          <a:solidFill>
                            <a:schemeClr val="bg2">
                              <a:lumMod val="50000"/>
                              <a:lumOff val="50000"/>
                            </a:schemeClr>
                          </a:solidFill>
                          <a:latin typeface="+mn-lt"/>
                          <a:ea typeface="+mn-ea"/>
                          <a:cs typeface="+mn-cs"/>
                        </a:rPr>
                        <a:t>Contesto territoriale: Melfi, Potenza e Rionero in Vulture</a:t>
                      </a:r>
                      <a:endParaRPr lang="it-IT" sz="1400" dirty="0">
                        <a:solidFill>
                          <a:schemeClr val="bg2">
                            <a:lumMod val="50000"/>
                            <a:lumOff val="50000"/>
                          </a:schemeClr>
                        </a:solidFill>
                        <a:latin typeface="+mn-lt"/>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err="1">
                          <a:ln>
                            <a:noFill/>
                          </a:ln>
                          <a:solidFill>
                            <a:schemeClr val="bg2">
                              <a:lumMod val="50000"/>
                              <a:lumOff val="50000"/>
                            </a:schemeClr>
                          </a:solidFill>
                          <a:effectLst/>
                          <a:uLnTx/>
                          <a:uFillTx/>
                          <a:latin typeface="+mn-lt"/>
                          <a:ea typeface="+mn-ea"/>
                          <a:cs typeface="Georgia"/>
                        </a:rPr>
                        <a:t>Overview</a:t>
                      </a:r>
                      <a:endPar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endParaRP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La aree industriali ricomprese nell’area di crisi complessa</a:t>
                      </a:r>
                    </a:p>
                  </a:txBody>
                  <a:tcPr marL="91392" marR="91392" marT="45696" marB="45696" anchor="ctr">
                    <a:lnR w="9525" cap="flat" cmpd="sng" algn="ctr">
                      <a:solidFill>
                        <a:srgbClr val="C4C4CD"/>
                      </a:solidFill>
                      <a:prstDash val="solid"/>
                      <a:round/>
                      <a:headEnd type="none" w="med" len="med"/>
                      <a:tailEnd type="none" w="med" len="med"/>
                    </a:lnR>
                    <a:lnB w="9525" cap="flat" cmpd="sng" algn="ctr">
                      <a:solidFill>
                        <a:srgbClr val="C4C4CD"/>
                      </a:solidFill>
                      <a:prstDash val="solid"/>
                      <a:round/>
                      <a:headEnd type="none" w="med" len="med"/>
                      <a:tailEnd type="none" w="med" len="med"/>
                    </a:lnB>
                  </a:tcPr>
                </a:tc>
                <a:tc>
                  <a:txBody>
                    <a:bodyPr/>
                    <a:lstStyle/>
                    <a:p>
                      <a:pPr algn="l"/>
                      <a:r>
                        <a:rPr lang="it-IT" sz="1400" dirty="0">
                          <a:solidFill>
                            <a:schemeClr val="bg2">
                              <a:lumMod val="50000"/>
                              <a:lumOff val="50000"/>
                            </a:schemeClr>
                          </a:solidFill>
                          <a:latin typeface="+mn-lt"/>
                        </a:rPr>
                        <a:t>Confindustria Basilicata</a:t>
                      </a:r>
                    </a:p>
                  </a:txBody>
                  <a:tcPr marL="91392" marR="91392" marT="45696" marB="45696" anchor="ctr">
                    <a:lnL w="9525" cap="flat" cmpd="sng" algn="ctr">
                      <a:solidFill>
                        <a:srgbClr val="C4C4CD"/>
                      </a:solidFill>
                      <a:prstDash val="solid"/>
                      <a:round/>
                      <a:headEnd type="none" w="med" len="med"/>
                      <a:tailEnd type="none" w="med" len="med"/>
                    </a:lnL>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793673744"/>
                  </a:ext>
                </a:extLst>
              </a:tr>
              <a:tr h="1180537">
                <a:tc>
                  <a:txBody>
                    <a:bodyPr/>
                    <a:lstStyle/>
                    <a:p>
                      <a:pPr algn="l">
                        <a:lnSpc>
                          <a:spcPct val="100000"/>
                        </a:lnSpc>
                        <a:spcAft>
                          <a:spcPts val="120"/>
                        </a:spcAft>
                      </a:pPr>
                      <a:r>
                        <a:rPr lang="it-IT" sz="1400" dirty="0">
                          <a:solidFill>
                            <a:schemeClr val="bg2">
                              <a:lumMod val="50000"/>
                              <a:lumOff val="50000"/>
                            </a:schemeClr>
                          </a:solidFill>
                          <a:latin typeface="+mn-lt"/>
                        </a:rPr>
                        <a:t>Legge 181/89 – Un’opportunità per il territorio</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Overview</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beneficiar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investimenti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spese ammissibili</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agevolazione</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presentazione della domand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graduatoria di ammissione alla fase di valutazione istruttoria</a:t>
                      </a:r>
                    </a:p>
                    <a:p>
                      <a:pPr marL="171450" marR="398145" lvl="0" indent="-171450" algn="l" defTabSz="914400" rtl="0" eaLnBrk="1" fontAlgn="auto" latinLnBrk="0" hangingPunct="1">
                        <a:lnSpc>
                          <a:spcPct val="100000"/>
                        </a:lnSpc>
                        <a:spcBef>
                          <a:spcPts val="0"/>
                        </a:spcBef>
                        <a:spcAft>
                          <a:spcPts val="120"/>
                        </a:spcAft>
                        <a:buClrTx/>
                        <a:buSzTx/>
                        <a:buFont typeface="EYInterstate Light" panose="02000506000000020004" pitchFamily="2" charset="0"/>
                        <a:buChar char="•"/>
                        <a:tabLst/>
                        <a:defRPr/>
                      </a:pPr>
                      <a:r>
                        <a:rPr kumimoji="0" lang="it-IT" sz="1400" b="0" i="0" u="none" strike="noStrike" kern="1200" cap="none" spc="0" normalizeH="0" baseline="0" noProof="0" dirty="0">
                          <a:ln>
                            <a:noFill/>
                          </a:ln>
                          <a:solidFill>
                            <a:schemeClr val="bg2">
                              <a:lumMod val="50000"/>
                              <a:lumOff val="50000"/>
                            </a:schemeClr>
                          </a:solidFill>
                          <a:effectLst/>
                          <a:uLnTx/>
                          <a:uFillTx/>
                          <a:latin typeface="+mn-lt"/>
                          <a:ea typeface="+mn-ea"/>
                          <a:cs typeface="Georgia"/>
                        </a:rPr>
                        <a:t>Focus iter di valutazione</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tc>
                  <a:txBody>
                    <a:bodyPr/>
                    <a:lstStyle/>
                    <a:p>
                      <a:pPr algn="l"/>
                      <a:r>
                        <a:rPr lang="it-IT" sz="1400" b="1" dirty="0">
                          <a:solidFill>
                            <a:schemeClr val="bg2">
                              <a:lumMod val="50000"/>
                              <a:lumOff val="50000"/>
                            </a:schemeClr>
                          </a:solidFill>
                          <a:latin typeface="+mn-lt"/>
                        </a:rPr>
                        <a:t>Maria Irene Cristini</a:t>
                      </a:r>
                      <a:r>
                        <a:rPr lang="it-IT" sz="1400" dirty="0">
                          <a:solidFill>
                            <a:schemeClr val="bg2">
                              <a:lumMod val="50000"/>
                              <a:lumOff val="50000"/>
                            </a:schemeClr>
                          </a:solidFill>
                          <a:latin typeface="+mn-lt"/>
                        </a:rPr>
                        <a:t>, Manager EY</a:t>
                      </a:r>
                    </a:p>
                    <a:p>
                      <a:pPr algn="l"/>
                      <a:r>
                        <a:rPr lang="it-IT" sz="1400" b="1" dirty="0">
                          <a:solidFill>
                            <a:schemeClr val="bg2">
                              <a:lumMod val="50000"/>
                              <a:lumOff val="50000"/>
                            </a:schemeClr>
                          </a:solidFill>
                          <a:latin typeface="+mn-lt"/>
                        </a:rPr>
                        <a:t>Lorenzo Cenciarelli</a:t>
                      </a:r>
                      <a:r>
                        <a:rPr lang="it-IT" sz="1400" dirty="0">
                          <a:solidFill>
                            <a:schemeClr val="bg2">
                              <a:lumMod val="50000"/>
                              <a:lumOff val="50000"/>
                            </a:schemeClr>
                          </a:solidFill>
                          <a:latin typeface="+mn-lt"/>
                        </a:rPr>
                        <a:t>, Senior EY</a:t>
                      </a: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tcPr>
                </a:tc>
                <a:extLst>
                  <a:ext uri="{0D108BD9-81ED-4DB2-BD59-A6C34878D82A}">
                    <a16:rowId xmlns:a16="http://schemas.microsoft.com/office/drawing/2014/main" val="2360720546"/>
                  </a:ext>
                </a:extLst>
              </a:tr>
              <a:tr h="427162">
                <a:tc>
                  <a:txBody>
                    <a:bodyPr/>
                    <a:lstStyle/>
                    <a:p>
                      <a:pPr algn="l">
                        <a:spcAft>
                          <a:spcPts val="120"/>
                        </a:spcAft>
                      </a:pPr>
                      <a:r>
                        <a:rPr lang="it-IT" sz="1400" dirty="0">
                          <a:solidFill>
                            <a:schemeClr val="tx2"/>
                          </a:solidFill>
                          <a:latin typeface="+mn-lt"/>
                        </a:rPr>
                        <a:t>Chiusura lavori e sessione di Q&amp;A</a:t>
                      </a:r>
                    </a:p>
                  </a:txBody>
                  <a:tcPr marL="91392" marR="91392" marT="45696" marB="45696" anchor="ctr">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l"/>
                      <a:endParaRPr lang="it-IT" sz="1400" dirty="0">
                        <a:solidFill>
                          <a:schemeClr val="bg1"/>
                        </a:solidFill>
                        <a:latin typeface="+mn-lt"/>
                      </a:endParaRPr>
                    </a:p>
                  </a:txBody>
                  <a:tcPr marL="91392" marR="91392" marT="45696" marB="45696" anchor="ctr">
                    <a:lnL w="9525" cap="flat" cmpd="sng" algn="ctr">
                      <a:solidFill>
                        <a:srgbClr val="C4C4CD"/>
                      </a:solidFill>
                      <a:prstDash val="solid"/>
                      <a:round/>
                      <a:headEnd type="none" w="med" len="med"/>
                      <a:tailEnd type="none" w="med" len="med"/>
                    </a:lnL>
                    <a:lnT w="9525" cap="flat" cmpd="sng" algn="ctr">
                      <a:solidFill>
                        <a:srgbClr val="C4C4CD"/>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094908054"/>
                  </a:ext>
                </a:extLst>
              </a:tr>
              <a:tr h="274177">
                <a:tc gridSpan="2">
                  <a:txBody>
                    <a:bodyPr/>
                    <a:lstStyle/>
                    <a:p>
                      <a:endParaRPr lang="it-IT" sz="1400" dirty="0">
                        <a:solidFill>
                          <a:schemeClr val="tx2"/>
                        </a:solidFill>
                        <a:latin typeface="+mn-lt"/>
                      </a:endParaRPr>
                    </a:p>
                  </a:txBody>
                  <a:tcPr marL="91392" marR="91392" marT="45696" marB="45696" anchor="ctr">
                    <a:lnT w="9525" cap="flat" cmpd="sng" algn="ctr">
                      <a:noFill/>
                      <a:prstDash val="solid"/>
                      <a:round/>
                      <a:headEnd type="none" w="med" len="med"/>
                      <a:tailEnd type="none" w="med" len="med"/>
                    </a:lnT>
                  </a:tcPr>
                </a:tc>
                <a:tc hMerge="1">
                  <a:txBody>
                    <a:bodyPr/>
                    <a:lstStyle/>
                    <a:p>
                      <a:endParaRPr lang="it-IT" sz="1200" dirty="0">
                        <a:solidFill>
                          <a:schemeClr val="bg1"/>
                        </a:solidFill>
                      </a:endParaRPr>
                    </a:p>
                  </a:txBody>
                  <a:tcPr anchor="ctr"/>
                </a:tc>
                <a:extLst>
                  <a:ext uri="{0D108BD9-81ED-4DB2-BD59-A6C34878D82A}">
                    <a16:rowId xmlns:a16="http://schemas.microsoft.com/office/drawing/2014/main" val="1011467762"/>
                  </a:ext>
                </a:extLst>
              </a:tr>
            </a:tbl>
          </a:graphicData>
        </a:graphic>
      </p:graphicFrame>
      <p:sp>
        <p:nvSpPr>
          <p:cNvPr id="19" name="Title 1">
            <a:extLst>
              <a:ext uri="{FF2B5EF4-FFF2-40B4-BE49-F238E27FC236}">
                <a16:creationId xmlns:a16="http://schemas.microsoft.com/office/drawing/2014/main" id="{847FE9A9-60E2-A24E-E391-556544674FB7}"/>
              </a:ext>
            </a:extLst>
          </p:cNvPr>
          <p:cNvSpPr txBox="1">
            <a:spLocks/>
          </p:cNvSpPr>
          <p:nvPr/>
        </p:nvSpPr>
        <p:spPr>
          <a:xfrm>
            <a:off x="4861034" y="1499357"/>
            <a:ext cx="889316" cy="25435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defRPr/>
            </a:pPr>
            <a:r>
              <a:rPr lang="en-US" sz="1899" dirty="0">
                <a:solidFill>
                  <a:srgbClr val="FFE600"/>
                </a:solidFill>
              </a:rPr>
              <a:t>Agenda</a:t>
            </a:r>
          </a:p>
        </p:txBody>
      </p:sp>
      <p:sp>
        <p:nvSpPr>
          <p:cNvPr id="5" name="Title 1">
            <a:extLst>
              <a:ext uri="{FF2B5EF4-FFF2-40B4-BE49-F238E27FC236}">
                <a16:creationId xmlns:a16="http://schemas.microsoft.com/office/drawing/2014/main" id="{301452BA-E441-CB3E-701F-FEF1D3EB819B}"/>
              </a:ext>
            </a:extLst>
          </p:cNvPr>
          <p:cNvSpPr txBox="1">
            <a:spLocks/>
          </p:cNvSpPr>
          <p:nvPr/>
        </p:nvSpPr>
        <p:spPr>
          <a:xfrm>
            <a:off x="619935" y="2170612"/>
            <a:ext cx="3705664" cy="125838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it-IT" sz="1800" dirty="0">
                <a:latin typeface="Georgia" panose="02040502050405020303" pitchFamily="18" charset="0"/>
              </a:rPr>
              <a:t>Realizzazione di iniziative imprenditoriali che mirano all’</a:t>
            </a:r>
            <a:r>
              <a:rPr lang="it-IT" sz="1800" dirty="0">
                <a:solidFill>
                  <a:schemeClr val="tx2"/>
                </a:solidFill>
                <a:latin typeface="Georgia" panose="02040502050405020303" pitchFamily="18" charset="0"/>
              </a:rPr>
              <a:t>incremento</a:t>
            </a:r>
            <a:r>
              <a:rPr lang="it-IT" sz="1800" dirty="0">
                <a:latin typeface="Georgia" panose="02040502050405020303" pitchFamily="18" charset="0"/>
              </a:rPr>
              <a:t> o alla </a:t>
            </a:r>
            <a:r>
              <a:rPr lang="it-IT" sz="1800" dirty="0">
                <a:solidFill>
                  <a:schemeClr val="tx2"/>
                </a:solidFill>
                <a:latin typeface="Georgia" panose="02040502050405020303" pitchFamily="18" charset="0"/>
              </a:rPr>
              <a:t>salvaguardia </a:t>
            </a:r>
            <a:r>
              <a:rPr lang="it-IT" sz="1800" dirty="0">
                <a:latin typeface="Georgia" panose="02040502050405020303" pitchFamily="18" charset="0"/>
              </a:rPr>
              <a:t>dei </a:t>
            </a:r>
            <a:r>
              <a:rPr lang="it-IT" sz="1800" dirty="0">
                <a:solidFill>
                  <a:schemeClr val="tx2"/>
                </a:solidFill>
                <a:latin typeface="Georgia" panose="02040502050405020303" pitchFamily="18" charset="0"/>
              </a:rPr>
              <a:t>livelli occupazionali</a:t>
            </a:r>
            <a:r>
              <a:rPr lang="it-IT" sz="1800" dirty="0">
                <a:latin typeface="Georgia" panose="02040502050405020303" pitchFamily="18" charset="0"/>
              </a:rPr>
              <a:t>, al </a:t>
            </a:r>
            <a:r>
              <a:rPr lang="it-IT" sz="1800" dirty="0">
                <a:solidFill>
                  <a:schemeClr val="tx2"/>
                </a:solidFill>
                <a:latin typeface="Georgia" panose="02040502050405020303" pitchFamily="18" charset="0"/>
              </a:rPr>
              <a:t>recupero </a:t>
            </a:r>
            <a:r>
              <a:rPr lang="it-IT" sz="1800" dirty="0">
                <a:latin typeface="Georgia" panose="02040502050405020303" pitchFamily="18" charset="0"/>
              </a:rPr>
              <a:t>della</a:t>
            </a:r>
            <a:r>
              <a:rPr lang="it-IT" sz="1800" dirty="0">
                <a:solidFill>
                  <a:schemeClr val="tx2"/>
                </a:solidFill>
                <a:latin typeface="Georgia" panose="02040502050405020303" pitchFamily="18" charset="0"/>
              </a:rPr>
              <a:t> capacità produttiva</a:t>
            </a:r>
            <a:r>
              <a:rPr lang="it-IT" sz="1800" dirty="0">
                <a:latin typeface="Georgia" panose="02040502050405020303" pitchFamily="18" charset="0"/>
              </a:rPr>
              <a:t> dei territori e all’</a:t>
            </a:r>
            <a:r>
              <a:rPr lang="it-IT" sz="1800" dirty="0">
                <a:solidFill>
                  <a:schemeClr val="tx2"/>
                </a:solidFill>
                <a:latin typeface="Georgia" panose="02040502050405020303" pitchFamily="18" charset="0"/>
              </a:rPr>
              <a:t>attrazione</a:t>
            </a:r>
            <a:r>
              <a:rPr lang="it-IT" sz="1800" dirty="0">
                <a:latin typeface="Georgia" panose="02040502050405020303" pitchFamily="18" charset="0"/>
              </a:rPr>
              <a:t> di </a:t>
            </a:r>
            <a:r>
              <a:rPr lang="it-IT" sz="1800" dirty="0">
                <a:solidFill>
                  <a:schemeClr val="tx2"/>
                </a:solidFill>
                <a:latin typeface="Georgia" panose="02040502050405020303" pitchFamily="18" charset="0"/>
              </a:rPr>
              <a:t>nuovi investimenti: </a:t>
            </a:r>
            <a:r>
              <a:rPr lang="it-IT" sz="1800" dirty="0">
                <a:solidFill>
                  <a:prstClr val="white"/>
                </a:solidFill>
                <a:latin typeface="Georgia" panose="02040502050405020303" pitchFamily="18" charset="0"/>
              </a:rPr>
              <a:t>le opportunità per la </a:t>
            </a:r>
            <a:r>
              <a:rPr lang="it-IT" sz="1800" dirty="0">
                <a:solidFill>
                  <a:schemeClr val="tx2"/>
                </a:solidFill>
                <a:latin typeface="Georgia" panose="02040502050405020303" pitchFamily="18" charset="0"/>
              </a:rPr>
              <a:t>riconversione e riqualificazione </a:t>
            </a:r>
            <a:r>
              <a:rPr lang="it-IT" sz="1800" dirty="0">
                <a:latin typeface="Georgia" panose="02040502050405020303" pitchFamily="18" charset="0"/>
              </a:rPr>
              <a:t>dell'area industriale di </a:t>
            </a:r>
            <a:r>
              <a:rPr lang="it-IT" sz="1800" dirty="0">
                <a:solidFill>
                  <a:schemeClr val="tx2"/>
                </a:solidFill>
                <a:latin typeface="Georgia" panose="02040502050405020303" pitchFamily="18" charset="0"/>
              </a:rPr>
              <a:t>Melfi, Potenza e Rionero in Vulture</a:t>
            </a:r>
            <a:r>
              <a:rPr lang="it-IT" sz="1599" dirty="0">
                <a:solidFill>
                  <a:schemeClr val="tx2"/>
                </a:solidFill>
                <a:latin typeface="Georgia" panose="02040502050405020303" pitchFamily="18" charset="0"/>
              </a:rPr>
              <a:t>.</a:t>
            </a:r>
          </a:p>
          <a:p>
            <a:pPr algn="just" defTabSz="913943">
              <a:defRPr/>
            </a:pPr>
            <a:endParaRPr lang="it-IT" sz="1599" dirty="0">
              <a:solidFill>
                <a:schemeClr val="tx2"/>
              </a:solidFill>
              <a:latin typeface="Georgia" panose="02040502050405020303" pitchFamily="18" charset="0"/>
            </a:endParaRPr>
          </a:p>
          <a:p>
            <a:pPr algn="just" defTabSz="913943">
              <a:defRPr/>
            </a:pPr>
            <a:endParaRPr lang="it-IT" sz="1599" dirty="0">
              <a:solidFill>
                <a:schemeClr val="tx2"/>
              </a:solidFill>
              <a:latin typeface="Georgia" panose="02040502050405020303" pitchFamily="18" charset="0"/>
            </a:endParaRPr>
          </a:p>
          <a:p>
            <a:pPr algn="just" defTabSz="913943">
              <a:defRPr/>
            </a:pPr>
            <a:endParaRPr lang="en-US" sz="2399" dirty="0">
              <a:solidFill>
                <a:srgbClr val="FFE600"/>
              </a:solidFill>
              <a:latin typeface="Georgia" panose="02040502050405020303" pitchFamily="18" charset="0"/>
            </a:endParaRPr>
          </a:p>
        </p:txBody>
      </p:sp>
    </p:spTree>
    <p:extLst>
      <p:ext uri="{BB962C8B-B14F-4D97-AF65-F5344CB8AC3E}">
        <p14:creationId xmlns:p14="http://schemas.microsoft.com/office/powerpoint/2010/main" val="24551031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town on a hill&#10;&#10;Description automatically generated">
            <a:extLst>
              <a:ext uri="{FF2B5EF4-FFF2-40B4-BE49-F238E27FC236}">
                <a16:creationId xmlns:a16="http://schemas.microsoft.com/office/drawing/2014/main" id="{9E542A3A-E453-3AAC-C48F-3CEAE10BFEAF}"/>
              </a:ext>
            </a:extLst>
          </p:cNvPr>
          <p:cNvPicPr>
            <a:picLocks noChangeAspect="1"/>
          </p:cNvPicPr>
          <p:nvPr/>
        </p:nvPicPr>
        <p:blipFill>
          <a:blip r:embed="rId3"/>
          <a:stretch>
            <a:fillRect/>
          </a:stretch>
        </p:blipFill>
        <p:spPr>
          <a:xfrm>
            <a:off x="0" y="0"/>
            <a:ext cx="12192000" cy="6858000"/>
          </a:xfrm>
          <a:prstGeom prst="rect">
            <a:avLst/>
          </a:prstGeom>
        </p:spPr>
      </p:pic>
      <p:sp>
        <p:nvSpPr>
          <p:cNvPr id="11" name="Rettangolo 13">
            <a:extLst>
              <a:ext uri="{FF2B5EF4-FFF2-40B4-BE49-F238E27FC236}">
                <a16:creationId xmlns:a16="http://schemas.microsoft.com/office/drawing/2014/main" id="{BC5262A4-42B6-5EFB-8E8D-FB38FC4044C8}"/>
              </a:ext>
            </a:extLst>
          </p:cNvPr>
          <p:cNvSpPr/>
          <p:nvPr/>
        </p:nvSpPr>
        <p:spPr>
          <a:xfrm>
            <a:off x="0" y="3570"/>
            <a:ext cx="12192000" cy="6854430"/>
          </a:xfrm>
          <a:prstGeom prst="rect">
            <a:avLst/>
          </a:prstGeom>
          <a:solidFill>
            <a:srgbClr val="000000">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it-IT" sz="1199" dirty="0">
              <a:solidFill>
                <a:srgbClr val="2E2E38"/>
              </a:solidFill>
              <a:latin typeface="EYInterstate Light"/>
            </a:endParaRPr>
          </a:p>
        </p:txBody>
      </p:sp>
      <p:cxnSp>
        <p:nvCxnSpPr>
          <p:cNvPr id="13" name="Straight Connector 7">
            <a:extLst>
              <a:ext uri="{FF2B5EF4-FFF2-40B4-BE49-F238E27FC236}">
                <a16:creationId xmlns:a16="http://schemas.microsoft.com/office/drawing/2014/main" id="{737C39FD-6659-CE11-95A4-5172F3261935}"/>
              </a:ext>
            </a:extLst>
          </p:cNvPr>
          <p:cNvCxnSpPr>
            <a:cxnSpLocks/>
          </p:cNvCxnSpPr>
          <p:nvPr/>
        </p:nvCxnSpPr>
        <p:spPr>
          <a:xfrm>
            <a:off x="617221" y="372879"/>
            <a:ext cx="0" cy="5719946"/>
          </a:xfrm>
          <a:prstGeom prst="line">
            <a:avLst/>
          </a:prstGeom>
          <a:ln w="38100" cap="sq">
            <a:solidFill>
              <a:srgbClr val="FFE6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F03DF8C-A35A-CE54-03CE-CE122D174557}"/>
              </a:ext>
            </a:extLst>
          </p:cNvPr>
          <p:cNvSpPr/>
          <p:nvPr/>
        </p:nvSpPr>
        <p:spPr>
          <a:xfrm>
            <a:off x="1263192" y="1244337"/>
            <a:ext cx="5854033" cy="4694549"/>
          </a:xfrm>
          <a:prstGeom prst="rect">
            <a:avLst/>
          </a:prstGeom>
          <a:solidFill>
            <a:schemeClr val="tx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it-IT" sz="1800" b="0" i="0" u="none" strike="noStrike" kern="0" cap="none" spc="0" normalizeH="0" baseline="0" noProof="0">
              <a:ln>
                <a:noFill/>
              </a:ln>
              <a:solidFill>
                <a:srgbClr val="2E2E38"/>
              </a:solidFill>
              <a:effectLst/>
              <a:uLnTx/>
              <a:uFillTx/>
            </a:endParaRPr>
          </a:p>
        </p:txBody>
      </p:sp>
      <p:grpSp>
        <p:nvGrpSpPr>
          <p:cNvPr id="20" name="Group 19">
            <a:extLst>
              <a:ext uri="{FF2B5EF4-FFF2-40B4-BE49-F238E27FC236}">
                <a16:creationId xmlns:a16="http://schemas.microsoft.com/office/drawing/2014/main" id="{E419EDA9-6042-31F3-452D-9CD33BB7A281}"/>
              </a:ext>
            </a:extLst>
          </p:cNvPr>
          <p:cNvGrpSpPr/>
          <p:nvPr/>
        </p:nvGrpSpPr>
        <p:grpSpPr>
          <a:xfrm>
            <a:off x="9234924" y="435071"/>
            <a:ext cx="2657833" cy="1338913"/>
            <a:chOff x="3073252" y="1428681"/>
            <a:chExt cx="2657833" cy="1338913"/>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073252" y="1428681"/>
              <a:ext cx="1092844" cy="12796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white outline of a bird with a black background&#10;&#10;Description automatically generated">
              <a:extLst>
                <a:ext uri="{FF2B5EF4-FFF2-40B4-BE49-F238E27FC236}">
                  <a16:creationId xmlns:a16="http://schemas.microsoft.com/office/drawing/2014/main" id="{5A3F04A0-120B-8297-AEF1-6EF3C299CC85}"/>
                </a:ext>
              </a:extLst>
            </p:cNvPr>
            <p:cNvPicPr>
              <a:picLocks noChangeAspect="1"/>
            </p:cNvPicPr>
            <p:nvPr/>
          </p:nvPicPr>
          <p:blipFill>
            <a:blip r:embed="rId5"/>
            <a:stretch>
              <a:fillRect/>
            </a:stretch>
          </p:blipFill>
          <p:spPr>
            <a:xfrm>
              <a:off x="4326352" y="1825732"/>
              <a:ext cx="1404733" cy="941862"/>
            </a:xfrm>
            <a:prstGeom prst="rect">
              <a:avLst/>
            </a:prstGeom>
          </p:spPr>
        </p:pic>
      </p:grpSp>
      <p:pic>
        <p:nvPicPr>
          <p:cNvPr id="19" name="Picture 18" descr="A qr code on a white background&#10;&#10;Description automatically generated">
            <a:extLst>
              <a:ext uri="{FF2B5EF4-FFF2-40B4-BE49-F238E27FC236}">
                <a16:creationId xmlns:a16="http://schemas.microsoft.com/office/drawing/2014/main" id="{AE652AB3-E1AB-F247-278C-F067DDF4297E}"/>
              </a:ext>
            </a:extLst>
          </p:cNvPr>
          <p:cNvPicPr>
            <a:picLocks noChangeAspect="1"/>
          </p:cNvPicPr>
          <p:nvPr/>
        </p:nvPicPr>
        <p:blipFill>
          <a:blip r:embed="rId6"/>
          <a:stretch>
            <a:fillRect/>
          </a:stretch>
        </p:blipFill>
        <p:spPr>
          <a:xfrm>
            <a:off x="2912339" y="3125488"/>
            <a:ext cx="2555738" cy="2555738"/>
          </a:xfrm>
          <a:prstGeom prst="rect">
            <a:avLst/>
          </a:prstGeom>
        </p:spPr>
      </p:pic>
      <p:sp>
        <p:nvSpPr>
          <p:cNvPr id="21" name="Text Placeholder 1">
            <a:extLst>
              <a:ext uri="{FF2B5EF4-FFF2-40B4-BE49-F238E27FC236}">
                <a16:creationId xmlns:a16="http://schemas.microsoft.com/office/drawing/2014/main" id="{799431C3-A61C-5826-F0B5-30340F4F2B45}"/>
              </a:ext>
            </a:extLst>
          </p:cNvPr>
          <p:cNvSpPr txBox="1">
            <a:spLocks/>
          </p:cNvSpPr>
          <p:nvPr/>
        </p:nvSpPr>
        <p:spPr>
          <a:xfrm>
            <a:off x="1049366" y="208833"/>
            <a:ext cx="10544148" cy="895695"/>
          </a:xfrm>
          <a:prstGeom prst="rect">
            <a:avLst/>
          </a:prstGeom>
        </p:spPr>
        <p:txBody>
          <a:bodyPr vert="horz" lIns="0" tIns="0" rIns="0" bIns="0" rtlCol="0" anchor="ctr"/>
          <a:lstStyle>
            <a:defPPr>
              <a:defRPr lang="en-US"/>
            </a:defPPr>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0" cap="none" spc="0" normalizeH="0" baseline="0" noProof="0" dirty="0">
                <a:ln>
                  <a:noFill/>
                </a:ln>
                <a:solidFill>
                  <a:schemeClr val="tx2"/>
                </a:solidFill>
                <a:effectLst/>
                <a:uLnTx/>
                <a:uFillTx/>
                <a:latin typeface="EYInterstate Light"/>
                <a:ea typeface="+mn-ea"/>
                <a:cs typeface="+mn-cs"/>
              </a:rPr>
              <a:t>CONCLUSIONI E Q</a:t>
            </a:r>
            <a:r>
              <a:rPr lang="it-IT" sz="3600" b="1" kern="0" dirty="0">
                <a:solidFill>
                  <a:schemeClr val="tx2"/>
                </a:solidFill>
                <a:latin typeface="EYInterstate Light"/>
              </a:rPr>
              <a:t>&amp;A</a:t>
            </a:r>
            <a:endParaRPr kumimoji="0" lang="it-IT" sz="2800" b="0" i="1" u="none" strike="noStrike" kern="0" cap="none" spc="0" normalizeH="0" baseline="0" noProof="0" dirty="0">
              <a:ln>
                <a:noFill/>
              </a:ln>
              <a:solidFill>
                <a:schemeClr val="tx2"/>
              </a:solidFill>
              <a:effectLst/>
              <a:uLnTx/>
              <a:uFillTx/>
              <a:latin typeface="EYInterstate Light"/>
              <a:ea typeface="+mn-ea"/>
              <a:cs typeface="+mn-cs"/>
            </a:endParaRPr>
          </a:p>
        </p:txBody>
      </p:sp>
      <p:sp>
        <p:nvSpPr>
          <p:cNvPr id="22" name="TextBox 21">
            <a:extLst>
              <a:ext uri="{FF2B5EF4-FFF2-40B4-BE49-F238E27FC236}">
                <a16:creationId xmlns:a16="http://schemas.microsoft.com/office/drawing/2014/main" id="{1ACC8F18-4891-C6C1-E97B-9B677EAC117F}"/>
              </a:ext>
            </a:extLst>
          </p:cNvPr>
          <p:cNvSpPr txBox="1"/>
          <p:nvPr/>
        </p:nvSpPr>
        <p:spPr>
          <a:xfrm>
            <a:off x="1343313" y="1370803"/>
            <a:ext cx="5693790" cy="1471897"/>
          </a:xfrm>
          <a:prstGeom prst="rect">
            <a:avLst/>
          </a:prstGeom>
          <a:noFill/>
          <a:ln w="12700" cap="sq">
            <a:noFill/>
            <a:miter lim="800000"/>
          </a:ln>
        </p:spPr>
        <p:txBody>
          <a:bodyPr wrap="square" lIns="0" tIns="0" rIns="0" bIns="0" rtlCol="0">
            <a:noAutofit/>
          </a:bodyPr>
          <a:lstStyle/>
          <a:p>
            <a:pPr algn="ctr" defTabSz="685434">
              <a:spcAft>
                <a:spcPts val="600"/>
              </a:spcAft>
              <a:buClr>
                <a:srgbClr val="FFE600"/>
              </a:buClr>
              <a:buSzPct val="80000"/>
            </a:pPr>
            <a:r>
              <a:rPr kumimoji="0" lang="it-IT" sz="1800" b="1" i="0" u="none" strike="noStrike" kern="1200" cap="none" spc="0" normalizeH="0" baseline="0" noProof="0" dirty="0">
                <a:ln>
                  <a:noFill/>
                </a:ln>
                <a:solidFill>
                  <a:schemeClr val="bg1"/>
                </a:solidFill>
                <a:effectLst/>
                <a:uLnTx/>
                <a:uFillTx/>
                <a:latin typeface="EYInterstate "/>
                <a:ea typeface="+mj-ea"/>
                <a:cs typeface="Arial" pitchFamily="34" charset="0"/>
              </a:rPr>
              <a:t>EY Smart Funding e Confindustria Basilicata</a:t>
            </a:r>
            <a:br>
              <a:rPr kumimoji="0" lang="it-IT" sz="2000" b="1" i="0" u="none" strike="noStrike" kern="1200" cap="none" spc="0" normalizeH="0" baseline="0" noProof="0" dirty="0">
                <a:ln>
                  <a:noFill/>
                </a:ln>
                <a:solidFill>
                  <a:schemeClr val="bg1"/>
                </a:solidFill>
                <a:effectLst/>
                <a:uLnTx/>
                <a:uFillTx/>
                <a:latin typeface="EYInterstate "/>
                <a:ea typeface="+mj-ea"/>
                <a:cs typeface="Arial" pitchFamily="34" charset="0"/>
              </a:rPr>
            </a:br>
            <a:r>
              <a:rPr kumimoji="0" lang="it-IT" sz="2400" b="1" i="0" u="none" strike="noStrike" kern="1200" cap="none" spc="0" normalizeH="0" baseline="0" noProof="0" dirty="0">
                <a:ln>
                  <a:noFill/>
                </a:ln>
                <a:solidFill>
                  <a:schemeClr val="bg1"/>
                </a:solidFill>
                <a:effectLst/>
                <a:uLnTx/>
                <a:uFillTx/>
                <a:latin typeface="EYInterstate "/>
                <a:ea typeface="+mj-ea"/>
                <a:cs typeface="Arial" pitchFamily="34" charset="0"/>
              </a:rPr>
              <a:t>Bando Legge 181/89 </a:t>
            </a:r>
          </a:p>
          <a:p>
            <a:pPr algn="ctr" defTabSz="685434">
              <a:spcAft>
                <a:spcPts val="600"/>
              </a:spcAft>
              <a:buClr>
                <a:srgbClr val="FFE600"/>
              </a:buClr>
              <a:buSzPct val="80000"/>
            </a:pPr>
            <a:r>
              <a:rPr kumimoji="0" lang="it-IT" sz="1800" b="0" i="1" u="none" strike="noStrike" kern="1200" cap="none" spc="0" normalizeH="0" baseline="0" noProof="0" dirty="0">
                <a:ln>
                  <a:noFill/>
                </a:ln>
                <a:solidFill>
                  <a:schemeClr val="bg1"/>
                </a:solidFill>
                <a:effectLst/>
                <a:uLnTx/>
                <a:uFillTx/>
                <a:latin typeface="EYInterstate Light"/>
                <a:ea typeface="+mn-ea"/>
                <a:cs typeface="+mn-cs"/>
              </a:rPr>
              <a:t>Progetto di riconversione e riqualificazione industriale dell’area di crisi industriale complessa dei sistemi locali del lavoro di Melfi, Potenza e Rionero in Vulture</a:t>
            </a:r>
            <a:endParaRPr kumimoji="0" lang="en-GB" sz="1800" b="0" i="1" u="none" strike="noStrike" kern="1200" cap="none" spc="0" normalizeH="0" baseline="0" noProof="0" dirty="0">
              <a:ln>
                <a:noFill/>
              </a:ln>
              <a:solidFill>
                <a:schemeClr val="bg1"/>
              </a:solidFill>
              <a:effectLst/>
              <a:uLnTx/>
              <a:uFillTx/>
              <a:latin typeface="EYInterstate Light"/>
              <a:ea typeface="+mn-ea"/>
              <a:cs typeface="+mn-cs"/>
            </a:endParaRPr>
          </a:p>
          <a:p>
            <a:pPr algn="l" defTabSz="685434">
              <a:spcAft>
                <a:spcPts val="600"/>
              </a:spcAft>
              <a:buClr>
                <a:srgbClr val="FFE600"/>
              </a:buClr>
              <a:buSzPct val="80000"/>
            </a:pPr>
            <a:endParaRPr lang="it-IT" sz="1400" kern="0" dirty="0">
              <a:solidFill>
                <a:schemeClr val="bg1"/>
              </a:solidFill>
            </a:endParaRPr>
          </a:p>
        </p:txBody>
      </p:sp>
    </p:spTree>
    <p:extLst>
      <p:ext uri="{BB962C8B-B14F-4D97-AF65-F5344CB8AC3E}">
        <p14:creationId xmlns:p14="http://schemas.microsoft.com/office/powerpoint/2010/main" val="7319465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tangolo 90">
            <a:extLst>
              <a:ext uri="{FF2B5EF4-FFF2-40B4-BE49-F238E27FC236}">
                <a16:creationId xmlns:a16="http://schemas.microsoft.com/office/drawing/2014/main" id="{5351FA34-7B84-4E5F-8AD8-086AD26B06C2}"/>
              </a:ext>
            </a:extLst>
          </p:cNvPr>
          <p:cNvSpPr/>
          <p:nvPr/>
        </p:nvSpPr>
        <p:spPr>
          <a:xfrm>
            <a:off x="4118940" y="579097"/>
            <a:ext cx="8073060" cy="3711549"/>
          </a:xfrm>
          <a:prstGeom prst="rect">
            <a:avLst/>
          </a:prstGeom>
          <a:solidFill>
            <a:srgbClr val="FFE600"/>
          </a:solidFill>
          <a:ln w="9525" cap="flat" cmpd="sng" algn="ctr">
            <a:noFill/>
            <a:prstDash val="solid"/>
          </a:ln>
          <a:effectLst/>
        </p:spPr>
        <p:txBody>
          <a:bodyPr rtlCol="0" anchor="t" anchorCtr="0"/>
          <a:lstStyle/>
          <a:p>
            <a:pPr marL="0" marR="0" lvl="0" indent="0" algn="l" defTabSz="3014320" rtl="0" eaLnBrk="1" fontAlgn="auto" latinLnBrk="0" hangingPunct="1">
              <a:lnSpc>
                <a:spcPct val="100000"/>
              </a:lnSpc>
              <a:spcBef>
                <a:spcPts val="600"/>
              </a:spcBef>
              <a:spcAft>
                <a:spcPts val="0"/>
              </a:spcAft>
              <a:buClrTx/>
              <a:buSzTx/>
              <a:buFontTx/>
              <a:buNone/>
              <a:tabLst/>
              <a:defRPr/>
            </a:pPr>
            <a:endParaRPr kumimoji="0" lang="it-IT" sz="1200" b="0" i="1" u="none" strike="noStrike" kern="0" cap="none" spc="0" normalizeH="0" baseline="0" noProof="0">
              <a:ln>
                <a:noFill/>
              </a:ln>
              <a:solidFill>
                <a:srgbClr val="FFE600">
                  <a:lumMod val="40000"/>
                  <a:lumOff val="60000"/>
                </a:srgbClr>
              </a:solidFill>
              <a:effectLst/>
              <a:uLnTx/>
              <a:uFillTx/>
              <a:latin typeface="EYInterstate Light"/>
              <a:ea typeface="+mn-ea"/>
              <a:cs typeface="+mn-cs"/>
            </a:endParaRPr>
          </a:p>
        </p:txBody>
      </p:sp>
      <p:sp>
        <p:nvSpPr>
          <p:cNvPr id="20" name="Rettangolo 19"/>
          <p:cNvSpPr/>
          <p:nvPr/>
        </p:nvSpPr>
        <p:spPr>
          <a:xfrm>
            <a:off x="4731190" y="3987204"/>
            <a:ext cx="7258653" cy="264687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en-US" sz="14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Y</a:t>
            </a:r>
            <a:r>
              <a:rPr kumimoji="0" lang="en-US" sz="14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 Assurance | Tax | Transactions | Advisory</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endPar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 è leader mondiale nei servizi professionali di revisione e organizzazione contabile, assistenza fiscale e legale,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transaction</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e consulenza. La nostra conoscenza e la qualità dei nostri servizi contribuiscono a costruire la fiducia nei mercati finanziari e nelle economie di tutto il mondo. I nostri professionisti si distinguono per la loro capacità di lavorare insieme per assistere i nostri stakeholder al raggiungimento dei loro obiettivi. Così facendo, svolgiamo un ruolo fondamentale nel costruire un mondo professionale migliore per le nostre persone, i nostri clienti e la comunità in cui operiamo. </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 indica l’organizzazione globale di cui fanno parte le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Member</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Firm</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di Ernst &amp; Young Global Limited, ciascuna delle quali è un’entità legale autonoma. Ernst &amp; Young Global Limited, una “Private Company Limited by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Guarantee</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di diritto inglese, non presta servizi ai clienti. Per maggiori informazioni sulla nostra organizzazione visita ey.com.</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endPar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2023 EY S.p.A.</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All</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Rights</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Reserved</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endPar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Questa pubblicazione contiene informazioni di sintesi ed è pertanto esclusivamente intesa a scopo orientativo; non intende essere sostitutiva di un approfondimento dettagliato o di una valutazione professionale. EYGM Limited o le altre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member</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r>
              <a:rPr kumimoji="0" lang="it-IT" sz="800" b="0" i="0" u="none" strike="noStrike" kern="1200" cap="none" spc="0" normalizeH="0" baseline="0" noProof="0" err="1">
                <a:ln>
                  <a:noFill/>
                </a:ln>
                <a:solidFill>
                  <a:prstClr val="white"/>
                </a:solidFill>
                <a:effectLst/>
                <a:uLnTx/>
                <a:uFillTx/>
                <a:latin typeface="EYInterstate Light" panose="02000506000000020004" pitchFamily="2" charset="0"/>
                <a:ea typeface="+mn-ea"/>
                <a:cs typeface="+mn-cs"/>
              </a:rPr>
              <a:t>firm</a:t>
            </a:r>
            <a:r>
              <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dell’organizzazione globale EY non assumono alcuna responsabilità per le perdite causate a chiunque in conseguenza di azioni od omissioni intraprese sulla base delle informazioni contenute nella presente pubblicazione. Per qualsiasi questione di carattere specifico, è opportuno consultarsi con un professionista competente della materia.</a:t>
            </a: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endParaRPr kumimoji="0" lang="it-IT" sz="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base" latinLnBrk="0" hangingPunct="1">
              <a:lnSpc>
                <a:spcPct val="100000"/>
              </a:lnSpc>
              <a:spcBef>
                <a:spcPct val="0"/>
              </a:spcBef>
              <a:spcAft>
                <a:spcPts val="0"/>
              </a:spcAft>
              <a:buClr>
                <a:srgbClr val="FFE600"/>
              </a:buClr>
              <a:buSzPct val="80000"/>
              <a:buFont typeface="Arial" charset="0"/>
              <a:buNone/>
              <a:tabLst/>
              <a:defRPr/>
            </a:pPr>
            <a:r>
              <a:rPr kumimoji="0" lang="it-IT" sz="800" b="1"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com</a:t>
            </a:r>
          </a:p>
        </p:txBody>
      </p:sp>
      <p:sp>
        <p:nvSpPr>
          <p:cNvPr id="21" name="Line 10">
            <a:extLst>
              <a:ext uri="{FF2B5EF4-FFF2-40B4-BE49-F238E27FC236}">
                <a16:creationId xmlns:a16="http://schemas.microsoft.com/office/drawing/2014/main" id="{755A3C4A-B7DD-433D-A96F-2F78F767619D}"/>
              </a:ext>
            </a:extLst>
          </p:cNvPr>
          <p:cNvSpPr>
            <a:spLocks noChangeShapeType="1"/>
          </p:cNvSpPr>
          <p:nvPr/>
        </p:nvSpPr>
        <p:spPr bwMode="auto">
          <a:xfrm>
            <a:off x="677420" y="671439"/>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22" name="TextBox 13">
            <a:extLst>
              <a:ext uri="{FF2B5EF4-FFF2-40B4-BE49-F238E27FC236}">
                <a16:creationId xmlns:a16="http://schemas.microsoft.com/office/drawing/2014/main" id="{E2D4306D-F050-45C6-84F4-94FDB7072D49}"/>
              </a:ext>
            </a:extLst>
          </p:cNvPr>
          <p:cNvSpPr txBox="1"/>
          <p:nvPr/>
        </p:nvSpPr>
        <p:spPr>
          <a:xfrm>
            <a:off x="677419" y="808219"/>
            <a:ext cx="6116573" cy="663690"/>
          </a:xfrm>
          <a:prstGeom prst="rect">
            <a:avLst/>
          </a:prstGeom>
          <a:noFill/>
          <a:ln w="12700" cap="sq">
            <a:noFill/>
            <a:miter lim="800000"/>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200" b="0" i="0" u="none" strike="noStrike" kern="1200" cap="none" spc="0" normalizeH="0" baseline="0" noProof="0">
                <a:ln>
                  <a:noFill/>
                </a:ln>
                <a:solidFill>
                  <a:prstClr val="white"/>
                </a:solidFill>
                <a:effectLst/>
                <a:uLnTx/>
                <a:uFillTx/>
                <a:latin typeface="EYInterstate Light"/>
                <a:ea typeface="+mn-ea"/>
                <a:cs typeface="+mn-cs"/>
              </a:rPr>
              <a:t>Contatti</a:t>
            </a:r>
          </a:p>
        </p:txBody>
      </p:sp>
      <p:pic>
        <p:nvPicPr>
          <p:cNvPr id="2050" name="Picture 2" descr="Worker typing on laptop">
            <a:extLst>
              <a:ext uri="{FF2B5EF4-FFF2-40B4-BE49-F238E27FC236}">
                <a16:creationId xmlns:a16="http://schemas.microsoft.com/office/drawing/2014/main" id="{91F64F31-BB58-99AB-1D62-88379C923D2E}"/>
              </a:ext>
            </a:extLst>
          </p:cNvPr>
          <p:cNvPicPr>
            <a:picLocks noChangeAspect="1" noChangeArrowheads="1"/>
          </p:cNvPicPr>
          <p:nvPr/>
        </p:nvPicPr>
        <p:blipFill>
          <a:blip r:embed="rId2"/>
          <a:srcRect/>
          <a:stretch/>
        </p:blipFill>
        <p:spPr bwMode="auto">
          <a:xfrm>
            <a:off x="4731190" y="0"/>
            <a:ext cx="7460810" cy="3865418"/>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17">
            <a:extLst>
              <a:ext uri="{FF2B5EF4-FFF2-40B4-BE49-F238E27FC236}">
                <a16:creationId xmlns:a16="http://schemas.microsoft.com/office/drawing/2014/main" id="{E455B105-0FBC-6200-A81F-92521846265E}"/>
              </a:ext>
            </a:extLst>
          </p:cNvPr>
          <p:cNvSpPr txBox="1">
            <a:spLocks/>
          </p:cNvSpPr>
          <p:nvPr/>
        </p:nvSpPr>
        <p:spPr>
          <a:xfrm>
            <a:off x="677417" y="2746986"/>
            <a:ext cx="2688983" cy="1025384"/>
          </a:xfrm>
          <a:prstGeom prst="rect">
            <a:avLst/>
          </a:prstGeom>
        </p:spPr>
        <p:txBody>
          <a:bodyPr lIns="0" tIns="0" rIns="0" bIns="0"/>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Fabio </a:t>
            </a:r>
            <a:r>
              <a:rPr kumimoji="0" lang="en-US" sz="1200" b="1" i="0" u="none" strike="noStrike" kern="1200" cap="none" spc="0" normalizeH="0" baseline="0" noProof="0" err="1">
                <a:ln>
                  <a:noFill/>
                </a:ln>
                <a:solidFill>
                  <a:srgbClr val="FFE600"/>
                </a:solidFill>
                <a:effectLst/>
                <a:uLnTx/>
                <a:uFillTx/>
                <a:latin typeface="EYInterstate Light" panose="02000506000000020004" pitchFamily="2" charset="0"/>
                <a:ea typeface="+mn-ea"/>
                <a:cs typeface="+mn-cs"/>
              </a:rPr>
              <a:t>Tentori</a:t>
            </a:r>
            <a:endParaRPr kumimoji="0" lang="en-US" sz="1200"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nior</a:t>
            </a:r>
            <a:r>
              <a:rPr kumimoji="0" lang="en-US" sz="1200"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Manager EY</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l: + 39 339 7556184 </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hlinkClick r:id="rId3"/>
              </a:rPr>
              <a:t>Fabio.Tentori@it.ey.com</a:t>
            </a: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p>
        </p:txBody>
      </p:sp>
      <p:sp>
        <p:nvSpPr>
          <p:cNvPr id="3" name="Textplatzhalter 17">
            <a:extLst>
              <a:ext uri="{FF2B5EF4-FFF2-40B4-BE49-F238E27FC236}">
                <a16:creationId xmlns:a16="http://schemas.microsoft.com/office/drawing/2014/main" id="{DFA8B1AA-38F5-0C56-DD1B-3B95D93F45BD}"/>
              </a:ext>
            </a:extLst>
          </p:cNvPr>
          <p:cNvSpPr txBox="1">
            <a:spLocks/>
          </p:cNvSpPr>
          <p:nvPr/>
        </p:nvSpPr>
        <p:spPr>
          <a:xfrm>
            <a:off x="677419" y="1471909"/>
            <a:ext cx="2688983" cy="1025384"/>
          </a:xfrm>
          <a:prstGeom prst="rect">
            <a:avLst/>
          </a:prstGeom>
        </p:spPr>
        <p:txBody>
          <a:bodyPr lIns="0" tIns="0" rIns="0" bIns="0"/>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Giuseppe Lorizzo</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Partner EY</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l: + 39 335 7350633</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hlinkClick r:id="rId4"/>
              </a:rPr>
              <a:t>Giuseppe.Lorizzo@it.ey.com</a:t>
            </a: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p>
        </p:txBody>
      </p:sp>
      <p:sp>
        <p:nvSpPr>
          <p:cNvPr id="4" name="Textplatzhalter 17">
            <a:extLst>
              <a:ext uri="{FF2B5EF4-FFF2-40B4-BE49-F238E27FC236}">
                <a16:creationId xmlns:a16="http://schemas.microsoft.com/office/drawing/2014/main" id="{6F23743A-2756-E587-DC12-BFF4D2D10EF6}"/>
              </a:ext>
            </a:extLst>
          </p:cNvPr>
          <p:cNvSpPr txBox="1">
            <a:spLocks/>
          </p:cNvSpPr>
          <p:nvPr/>
        </p:nvSpPr>
        <p:spPr>
          <a:xfrm>
            <a:off x="677416" y="4022063"/>
            <a:ext cx="2688983" cy="1025384"/>
          </a:xfrm>
          <a:prstGeom prst="rect">
            <a:avLst/>
          </a:prstGeom>
        </p:spPr>
        <p:txBody>
          <a:bodyPr lIns="0" tIns="0" rIns="0" bIns="0"/>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lang="en-US" sz="1200" b="1" dirty="0">
                <a:solidFill>
                  <a:srgbClr val="FFE600"/>
                </a:solidFill>
              </a:rPr>
              <a:t>Maria </a:t>
            </a:r>
            <a:r>
              <a:rPr lang="en-US" sz="1200" b="1">
                <a:solidFill>
                  <a:srgbClr val="FFE600"/>
                </a:solidFill>
              </a:rPr>
              <a:t>Irene Cristini</a:t>
            </a:r>
            <a:endPar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Manager</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EY</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l: +39 3397936709 </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hlinkClick r:id="rId5"/>
              </a:rPr>
              <a:t>Ilaria.Achilli@it.ey.com</a:t>
            </a:r>
            <a:endParaRPr kumimoji="0" lang="en-US" sz="1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6" name="Textplatzhalter 17">
            <a:extLst>
              <a:ext uri="{FF2B5EF4-FFF2-40B4-BE49-F238E27FC236}">
                <a16:creationId xmlns:a16="http://schemas.microsoft.com/office/drawing/2014/main" id="{5AAAC4E5-528F-430B-D103-D7CBE9ECA5B6}"/>
              </a:ext>
            </a:extLst>
          </p:cNvPr>
          <p:cNvSpPr txBox="1">
            <a:spLocks/>
          </p:cNvSpPr>
          <p:nvPr/>
        </p:nvSpPr>
        <p:spPr>
          <a:xfrm>
            <a:off x="677415" y="5297141"/>
            <a:ext cx="2688983" cy="1025384"/>
          </a:xfrm>
          <a:prstGeom prst="rect">
            <a:avLst/>
          </a:prstGeom>
        </p:spPr>
        <p:txBody>
          <a:bodyPr lIns="0" tIns="0" rIns="0" bIns="0"/>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Lorenzo Cenciarelli</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nior</a:t>
            </a:r>
            <a:r>
              <a:rPr kumimoji="0" lang="en-US" sz="1200"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l: + 39 339 </a:t>
            </a:r>
            <a:r>
              <a:rPr lang="en-US" sz="1000">
                <a:solidFill>
                  <a:prstClr val="white"/>
                </a:solidFill>
              </a:rPr>
              <a:t>7996048</a:t>
            </a: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E600"/>
              </a:buClr>
              <a:buSzPct val="70000"/>
              <a:buFont typeface="Arial" pitchFamily="34" charset="0"/>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hlinkClick r:id="rId3"/>
              </a:rPr>
              <a:t>Lorenzo.Cenciarelli@it.ey.com</a:t>
            </a: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a:t>
            </a:r>
          </a:p>
        </p:txBody>
      </p:sp>
    </p:spTree>
    <p:extLst>
      <p:ext uri="{BB962C8B-B14F-4D97-AF65-F5344CB8AC3E}">
        <p14:creationId xmlns:p14="http://schemas.microsoft.com/office/powerpoint/2010/main" val="757317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3" name="Picture 103"/>
          <p:cNvPicPr>
            <a:picLocks noChangeArrowheads="1"/>
          </p:cNvPicPr>
          <p:nvPr/>
        </p:nvPicPr>
        <p:blipFill>
          <a:blip r:embed="rId2"/>
          <a:srcRect/>
          <a:stretch/>
        </p:blipFill>
        <p:spPr>
          <a:xfrm>
            <a:off x="10304687" y="5638799"/>
            <a:ext cx="1650167" cy="1106424"/>
          </a:xfrm>
          <a:prstGeom prst="rect">
            <a:avLst/>
          </a:prstGeom>
          <a:noFill/>
        </p:spPr>
      </p:pic>
      <p:sp>
        <p:nvSpPr>
          <p:cNvPr id="114" name="Rectangle 114"/>
          <p:cNvSpPr/>
          <p:nvPr/>
        </p:nvSpPr>
        <p:spPr>
          <a:xfrm>
            <a:off x="658368" y="1619383"/>
            <a:ext cx="10793789" cy="812338"/>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tab pos="3865753" algn="l"/>
              </a:tabLst>
              <a:defRPr/>
            </a:pPr>
            <a:r>
              <a:rPr kumimoji="0" lang="it-IT" sz="1392" b="0" i="0" u="none" strike="noStrike" kern="0" cap="none" spc="0" normalizeH="0" baseline="0" noProof="0" dirty="0">
                <a:ln>
                  <a:noFill/>
                </a:ln>
                <a:solidFill>
                  <a:schemeClr val="bg1"/>
                </a:solidFill>
                <a:effectLst/>
                <a:uLnTx/>
                <a:uFillTx/>
                <a:latin typeface="Verdana"/>
              </a:rPr>
              <a:t>Il</a:t>
            </a:r>
            <a:r>
              <a:rPr kumimoji="0" lang="it-IT" sz="1392" b="0" i="0" u="none" strike="noStrike" kern="0" cap="none" spc="326"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presente</a:t>
            </a:r>
            <a:r>
              <a:rPr kumimoji="0" lang="it-IT" sz="1392" b="0" i="0" u="none" strike="noStrike" kern="0" cap="none" spc="326"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ocumento</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ha</a:t>
            </a:r>
            <a:r>
              <a:rPr kumimoji="0" lang="it-IT" sz="1392" b="0" i="0" u="none" strike="noStrike" kern="0" cap="none" spc="326"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l’obiettivo</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i	fotografare</a:t>
            </a:r>
            <a:r>
              <a:rPr kumimoji="0" lang="it-IT" sz="1392" b="0" i="0" u="none" strike="noStrike" kern="0" cap="none" spc="326"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lo</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stato</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ella</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consistenza</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elle</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aree</a:t>
            </a:r>
            <a:r>
              <a:rPr kumimoji="0" lang="it-IT" sz="1392" b="0" i="0" u="none" strike="noStrike" kern="0" cap="none" spc="326"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ndustriali</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ella</a:t>
            </a:r>
            <a:r>
              <a:rPr kumimoji="0" lang="it-IT" sz="1392" b="0" i="0" u="none" strike="noStrike" kern="0" cap="none" spc="30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Regione </a:t>
            </a:r>
          </a:p>
          <a:p>
            <a:pPr marL="0" marR="0" lvl="0" indent="0" defTabSz="914400" eaLnBrk="1" fontAlgn="auto" latinLnBrk="0" hangingPunct="1">
              <a:lnSpc>
                <a:spcPts val="2520"/>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Basilicata, ricadenti nel perimetro dell’Area di Crisi complessa, e nello specifico delle </a:t>
            </a:r>
            <a:r>
              <a:rPr kumimoji="0" lang="it-IT" sz="1392" b="1" i="1" u="none" strike="noStrike" kern="0" cap="none" spc="0" normalizeH="0" baseline="0" noProof="0" dirty="0">
                <a:ln>
                  <a:noFill/>
                </a:ln>
                <a:solidFill>
                  <a:schemeClr val="bg1"/>
                </a:solidFill>
                <a:effectLst/>
                <a:uLnTx/>
                <a:uFillTx/>
                <a:latin typeface="Verdana-BoldItalic"/>
              </a:rPr>
              <a:t>Le aree ricomprese nei sistemi </a:t>
            </a:r>
          </a:p>
          <a:p>
            <a:pPr marL="0" marR="0" lvl="0" indent="0" defTabSz="914400" eaLnBrk="1" fontAlgn="auto" latinLnBrk="0" hangingPunct="1">
              <a:lnSpc>
                <a:spcPts val="2522"/>
              </a:lnSpc>
              <a:spcBef>
                <a:spcPts val="0"/>
              </a:spcBef>
              <a:spcAft>
                <a:spcPts val="0"/>
              </a:spcAft>
              <a:buClrTx/>
              <a:buSzTx/>
              <a:buFontTx/>
              <a:buNone/>
              <a:tabLst/>
              <a:defRPr/>
            </a:pPr>
            <a:r>
              <a:rPr kumimoji="0" lang="it-IT" sz="1392" b="1" i="1" u="none" strike="noStrike" kern="0" cap="none" spc="0" normalizeH="0" baseline="0" noProof="0" dirty="0">
                <a:ln>
                  <a:noFill/>
                </a:ln>
                <a:solidFill>
                  <a:schemeClr val="bg1"/>
                </a:solidFill>
                <a:effectLst/>
                <a:uLnTx/>
                <a:uFillTx/>
                <a:latin typeface="Verdana-BoldItalic"/>
              </a:rPr>
              <a:t>del lavoro di Melfi, Rionero in Vulture e Potenza.</a:t>
            </a:r>
          </a:p>
        </p:txBody>
      </p:sp>
      <p:sp>
        <p:nvSpPr>
          <p:cNvPr id="116" name="Rectangle 116"/>
          <p:cNvSpPr/>
          <p:nvPr/>
        </p:nvSpPr>
        <p:spPr>
          <a:xfrm>
            <a:off x="658368" y="2900178"/>
            <a:ext cx="10732747" cy="2135199"/>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Il dossier, fotografa la situazione attuale in relazione ai dati pubblicati sul proprio sito istituzionale da </a:t>
            </a:r>
            <a:r>
              <a:rPr kumimoji="0" lang="it-IT" sz="1392" b="1" i="0" u="none" strike="noStrike" kern="0" cap="none" spc="0" normalizeH="0" baseline="0" noProof="0" dirty="0">
                <a:ln>
                  <a:noFill/>
                </a:ln>
                <a:solidFill>
                  <a:schemeClr val="bg1"/>
                </a:solidFill>
                <a:effectLst/>
                <a:uLnTx/>
                <a:uFillTx/>
                <a:latin typeface="Verdana-Bold"/>
              </a:rPr>
              <a:t>API-BAS S.p.A </a:t>
            </a:r>
          </a:p>
          <a:p>
            <a:pPr marL="0" marR="0" lvl="0" indent="0" defTabSz="914400" eaLnBrk="1" fontAlgn="auto" latinLnBrk="0" hangingPunct="1">
              <a:lnSpc>
                <a:spcPts val="2519"/>
              </a:lnSpc>
              <a:spcBef>
                <a:spcPts val="0"/>
              </a:spcBef>
              <a:spcAft>
                <a:spcPts val="0"/>
              </a:spcAft>
              <a:buClrTx/>
              <a:buSzTx/>
              <a:buFontTx/>
              <a:buNone/>
              <a:tabLst>
                <a:tab pos="9228454" algn="l"/>
              </a:tabLst>
              <a:defRPr/>
            </a:pPr>
            <a:r>
              <a:rPr kumimoji="0" lang="it-IT" sz="1392" b="0" i="0" u="none" strike="noStrike" kern="0" cap="none" spc="0" normalizeH="0" baseline="0" noProof="0" dirty="0">
                <a:ln>
                  <a:noFill/>
                </a:ln>
                <a:solidFill>
                  <a:schemeClr val="bg1"/>
                </a:solidFill>
                <a:effectLst/>
                <a:uLnTx/>
                <a:uFillTx/>
                <a:latin typeface="Verdana"/>
              </a:rPr>
              <a:t>società</a:t>
            </a:r>
            <a:r>
              <a:rPr kumimoji="0" lang="it-IT" sz="1392" b="0" i="0" u="none" strike="noStrike" kern="0" cap="none" spc="37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n</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House</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ella</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Regione</a:t>
            </a:r>
            <a:r>
              <a:rPr kumimoji="0" lang="it-IT" sz="1392" b="0" i="0" u="none" strike="noStrike" kern="0" cap="none" spc="37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Basilicata</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che</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gestisce</a:t>
            </a:r>
            <a:r>
              <a:rPr kumimoji="0" lang="it-IT" sz="1392" b="0" i="0" u="none" strike="noStrike" kern="0" cap="none" spc="37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le</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aree</a:t>
            </a:r>
            <a:r>
              <a:rPr kumimoji="0" lang="it-IT" sz="1392" b="0" i="0" u="none" strike="noStrike" kern="0" cap="none" spc="376"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nd.li</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ella</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provincia</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i</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Potenza,	ed</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è</a:t>
            </a:r>
            <a:r>
              <a:rPr kumimoji="0" lang="it-IT" sz="1392" b="0" i="0" u="none" strike="noStrike" kern="0" cap="none" spc="35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finalizzato </a:t>
            </a:r>
          </a:p>
          <a:p>
            <a:pPr marL="0" marR="0" lvl="0" indent="0" defTabSz="914400" eaLnBrk="1" fontAlgn="auto" latinLnBrk="0" hangingPunct="1">
              <a:lnSpc>
                <a:spcPts val="2520"/>
              </a:lnSpc>
              <a:spcBef>
                <a:spcPts val="0"/>
              </a:spcBef>
              <a:spcAft>
                <a:spcPts val="0"/>
              </a:spcAft>
              <a:buClrTx/>
              <a:buSzTx/>
              <a:buFontTx/>
              <a:buNone/>
              <a:tabLst>
                <a:tab pos="8841358" algn="l"/>
              </a:tabLst>
              <a:defRPr/>
            </a:pPr>
            <a:r>
              <a:rPr kumimoji="0" lang="it-IT" sz="1394" b="0" i="0" u="none" strike="noStrike" kern="0" cap="none" spc="0" normalizeH="0" baseline="0" noProof="0" dirty="0">
                <a:ln>
                  <a:noFill/>
                </a:ln>
                <a:solidFill>
                  <a:schemeClr val="bg1"/>
                </a:solidFill>
                <a:effectLst/>
                <a:uLnTx/>
                <a:uFillTx/>
                <a:latin typeface="Verdana"/>
              </a:rPr>
              <a:t>all’inquadramento</a:t>
            </a:r>
            <a:r>
              <a:rPr kumimoji="0" lang="it-IT" sz="1394" b="0" i="0" u="none" strike="noStrike" kern="0" cap="none" spc="8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complessivo</a:t>
            </a:r>
            <a:r>
              <a:rPr kumimoji="0" lang="it-IT" sz="1394" b="0" i="0" u="none" strike="noStrike" kern="0" cap="none" spc="8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delle</a:t>
            </a:r>
            <a:r>
              <a:rPr kumimoji="0" lang="it-IT" sz="1394" b="0" i="0" u="none" strike="noStrike" kern="0" cap="none" spc="8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opportunità</a:t>
            </a:r>
            <a:r>
              <a:rPr kumimoji="0" lang="it-IT" sz="1394" b="0" i="0" u="none" strike="noStrike" kern="0" cap="none" spc="8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orientate</a:t>
            </a:r>
            <a:r>
              <a:rPr kumimoji="0" lang="it-IT" sz="1394" b="0" i="0" u="none" strike="noStrike" kern="0" cap="none" spc="8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all’attrazione</a:t>
            </a:r>
            <a:r>
              <a:rPr kumimoji="0" lang="it-IT" sz="1394" b="0" i="0" u="none" strike="noStrike" kern="0" cap="none" spc="8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di</a:t>
            </a:r>
            <a:r>
              <a:rPr kumimoji="0" lang="it-IT" sz="1394" b="0" i="0" u="none" strike="noStrike" kern="0" cap="none" spc="829"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vestimenti	esogeni</a:t>
            </a:r>
            <a:r>
              <a:rPr kumimoji="0" lang="it-IT" sz="1394" b="0" i="0" u="none" strike="noStrike" kern="0" cap="none" spc="8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al</a:t>
            </a:r>
            <a:r>
              <a:rPr kumimoji="0" lang="it-IT" sz="1394" b="0" i="0" u="none" strike="noStrike" kern="0" cap="none" spc="80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tessuto </a:t>
            </a:r>
          </a:p>
          <a:p>
            <a:pPr marL="0" marR="0" lvl="0" indent="0" defTabSz="914400" eaLnBrk="1" fontAlgn="auto" latinLnBrk="0" hangingPunct="1">
              <a:lnSpc>
                <a:spcPts val="2522"/>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imprenditoriale</a:t>
            </a:r>
            <a:r>
              <a:rPr kumimoji="0" lang="it-IT" sz="1392" b="0" i="0" u="none" strike="noStrike" kern="0" cap="none" spc="73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lucano,</a:t>
            </a:r>
            <a:r>
              <a:rPr kumimoji="0" lang="it-IT" sz="1392" b="0" i="0" u="none" strike="noStrike" kern="0" cap="none" spc="73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facenti</a:t>
            </a:r>
            <a:r>
              <a:rPr kumimoji="0" lang="it-IT" sz="1392" b="0" i="0" u="none" strike="noStrike" kern="0" cap="none" spc="73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parte</a:t>
            </a:r>
            <a:r>
              <a:rPr kumimoji="0" lang="it-IT" sz="1392" b="0" i="0" u="none" strike="noStrike" kern="0" cap="none" spc="7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el</a:t>
            </a:r>
            <a:r>
              <a:rPr kumimoji="0" lang="it-IT" sz="1392" b="0" i="0" u="none" strike="noStrike" kern="0" cap="none" spc="7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portfolio</a:t>
            </a:r>
            <a:r>
              <a:rPr kumimoji="0" lang="it-IT" sz="1392" b="0" i="0" u="none" strike="noStrike" kern="0" cap="none" spc="7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clienti</a:t>
            </a:r>
            <a:r>
              <a:rPr kumimoji="0" lang="it-IT" sz="1392" b="0" i="0" u="none" strike="noStrike" kern="0" cap="none" spc="73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i</a:t>
            </a:r>
            <a:r>
              <a:rPr kumimoji="0" lang="it-IT" sz="1392" b="0" i="0" u="none" strike="noStrike" kern="0" cap="none" spc="71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EY</a:t>
            </a:r>
            <a:r>
              <a:rPr kumimoji="0" lang="it-IT" sz="1392" b="0" i="0" u="none" strike="noStrike" kern="0" cap="none" spc="7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a</a:t>
            </a:r>
            <a:r>
              <a:rPr kumimoji="0" lang="it-IT" sz="1392" b="0" i="0" u="none" strike="noStrike" kern="0" cap="none" spc="7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livello</a:t>
            </a:r>
            <a:r>
              <a:rPr kumimoji="0" lang="it-IT" sz="1392" b="0" i="0" u="none" strike="noStrike" kern="0" cap="none" spc="71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nazionale</a:t>
            </a:r>
            <a:r>
              <a:rPr kumimoji="0" lang="it-IT" sz="1392" b="0" i="0" u="none" strike="noStrike" kern="0" cap="none" spc="7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ed</a:t>
            </a:r>
            <a:r>
              <a:rPr kumimoji="0" lang="it-IT" sz="1392" b="0" i="0" u="none" strike="noStrike" kern="0" cap="none" spc="737"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nternazionale,</a:t>
            </a:r>
            <a:r>
              <a:rPr kumimoji="0" lang="it-IT" sz="1392" b="0" i="0" u="none" strike="noStrike" kern="0" cap="none" spc="73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per</a:t>
            </a:r>
            <a:r>
              <a:rPr kumimoji="0" lang="it-IT" sz="1392" b="0" i="0" u="none" strike="noStrike" kern="0" cap="none" spc="734"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l </a:t>
            </a:r>
          </a:p>
          <a:p>
            <a:pPr marL="0" marR="0" lvl="0" indent="0" defTabSz="914400" eaLnBrk="1" fontAlgn="auto" latinLnBrk="0" hangingPunct="1">
              <a:lnSpc>
                <a:spcPts val="2520"/>
              </a:lnSpc>
              <a:spcBef>
                <a:spcPts val="0"/>
              </a:spcBef>
              <a:spcAft>
                <a:spcPts val="0"/>
              </a:spcAft>
              <a:buClrTx/>
              <a:buSzTx/>
              <a:buFontTx/>
              <a:buNone/>
              <a:tabLst>
                <a:tab pos="6844283" algn="l"/>
              </a:tabLst>
              <a:defRPr/>
            </a:pPr>
            <a:r>
              <a:rPr kumimoji="0" lang="it-IT" sz="1394" b="0" i="0" u="none" strike="noStrike" kern="0" cap="none" spc="0" normalizeH="0" baseline="0" noProof="0" dirty="0">
                <a:ln>
                  <a:noFill/>
                </a:ln>
                <a:solidFill>
                  <a:schemeClr val="bg1"/>
                </a:solidFill>
                <a:effectLst/>
                <a:uLnTx/>
                <a:uFillTx/>
                <a:latin typeface="Verdana"/>
              </a:rPr>
              <a:t>radicamento</a:t>
            </a:r>
            <a:r>
              <a:rPr kumimoji="0" lang="it-IT" sz="1394" b="0" i="0" u="none" strike="noStrike" kern="0" cap="none" spc="1357"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di</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vestimenti</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sviluppo</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dustriale</a:t>
            </a:r>
            <a:r>
              <a:rPr kumimoji="0" lang="it-IT" sz="1394" b="0" i="0" u="none" strike="noStrike" kern="0" cap="none" spc="421"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a</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lungo</a:t>
            </a:r>
            <a:r>
              <a:rPr kumimoji="0" lang="it-IT" sz="1394" b="0" i="0" u="none" strike="noStrike" kern="0" cap="none" spc="421"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termine,	rivenienti</a:t>
            </a:r>
            <a:r>
              <a:rPr kumimoji="0" lang="it-IT" sz="1394" b="0" i="0" u="none" strike="noStrike" kern="0" cap="none" spc="421"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da</a:t>
            </a:r>
            <a:r>
              <a:rPr kumimoji="0" lang="it-IT" sz="1394" b="0" i="0" u="none" strike="noStrike" kern="0" cap="none" spc="421"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nuovi</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sediamenti</a:t>
            </a:r>
            <a:r>
              <a:rPr kumimoji="0" lang="it-IT" sz="1394" b="0" i="0" u="none" strike="noStrike" kern="0" cap="none" spc="445"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in</a:t>
            </a:r>
            <a:r>
              <a:rPr kumimoji="0" lang="it-IT" sz="1394" b="0" i="0" u="none" strike="noStrike" kern="0" cap="none" spc="421" normalizeH="0" baseline="0" noProof="0" dirty="0">
                <a:ln>
                  <a:noFill/>
                </a:ln>
                <a:solidFill>
                  <a:schemeClr val="bg1"/>
                </a:solidFill>
                <a:effectLst/>
                <a:uLnTx/>
                <a:uFillTx/>
                <a:latin typeface="Verdana"/>
              </a:rPr>
              <a:t> </a:t>
            </a:r>
            <a:r>
              <a:rPr kumimoji="0" lang="it-IT" sz="1394" b="0" i="0" u="none" strike="noStrike" kern="0" cap="none" spc="0" normalizeH="0" baseline="0" noProof="0" dirty="0">
                <a:ln>
                  <a:noFill/>
                </a:ln>
                <a:solidFill>
                  <a:schemeClr val="bg1"/>
                </a:solidFill>
                <a:effectLst/>
                <a:uLnTx/>
                <a:uFillTx/>
                <a:latin typeface="Verdana"/>
              </a:rPr>
              <a:t>aree </a:t>
            </a:r>
          </a:p>
          <a:p>
            <a:pPr marL="0" marR="0" lvl="0" indent="0" defTabSz="914400" eaLnBrk="1" fontAlgn="auto" latinLnBrk="0" hangingPunct="1">
              <a:lnSpc>
                <a:spcPts val="2521"/>
              </a:lnSpc>
              <a:spcBef>
                <a:spcPts val="0"/>
              </a:spcBef>
              <a:spcAft>
                <a:spcPts val="0"/>
              </a:spcAft>
              <a:buClrTx/>
              <a:buSzTx/>
              <a:buFontTx/>
              <a:buNone/>
              <a:tabLst/>
              <a:defRPr/>
            </a:pPr>
            <a:r>
              <a:rPr kumimoji="0" lang="it-IT" sz="1392" b="0" i="0" u="none" strike="noStrike" kern="0" cap="none" spc="0" normalizeH="0" baseline="0" noProof="0" dirty="0">
                <a:ln>
                  <a:noFill/>
                </a:ln>
                <a:solidFill>
                  <a:schemeClr val="bg1"/>
                </a:solidFill>
                <a:effectLst/>
                <a:uLnTx/>
                <a:uFillTx/>
                <a:latin typeface="Verdana"/>
              </a:rPr>
              <a:t>produttive Lucane da parte</a:t>
            </a:r>
            <a:r>
              <a:rPr kumimoji="0" lang="it-IT" sz="1392" b="0" i="0" u="none" strike="noStrike" kern="0" cap="none" spc="1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i nuovi soggetti</a:t>
            </a:r>
            <a:r>
              <a:rPr kumimoji="0" lang="it-IT" sz="1392" b="0" i="0" u="none" strike="noStrike" kern="0" cap="none" spc="1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imprenditorial</a:t>
            </a:r>
            <a:r>
              <a:rPr kumimoji="0" lang="it-IT" sz="1392" b="0" i="0" u="none" strike="noStrike" kern="0" cap="none" spc="1169" normalizeH="0" baseline="0" noProof="0" dirty="0">
                <a:ln>
                  <a:noFill/>
                </a:ln>
                <a:solidFill>
                  <a:schemeClr val="bg1"/>
                </a:solidFill>
                <a:effectLst/>
                <a:uLnTx/>
                <a:uFillTx/>
                <a:latin typeface="Verdana"/>
              </a:rPr>
              <a:t>i</a:t>
            </a:r>
            <a:r>
              <a:rPr kumimoji="0" lang="it-IT" sz="1392" b="0" i="0" u="none" strike="noStrike" kern="0" cap="none" spc="0" normalizeH="0" baseline="0" noProof="0" dirty="0">
                <a:ln>
                  <a:noFill/>
                </a:ln>
                <a:solidFill>
                  <a:schemeClr val="bg1"/>
                </a:solidFill>
                <a:effectLst/>
                <a:uLnTx/>
                <a:uFillTx/>
                <a:latin typeface="Verdana"/>
              </a:rPr>
              <a:t>non</a:t>
            </a:r>
            <a:r>
              <a:rPr kumimoji="0" lang="it-IT" sz="1392" b="0" i="0" u="none" strike="noStrike" kern="0" cap="none" spc="112"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Lucani</a:t>
            </a:r>
            <a:r>
              <a:rPr kumimoji="0" lang="it-IT" sz="1392" b="0" i="0" u="none" strike="noStrike" kern="0" cap="none" spc="1154" normalizeH="0" baseline="0" noProof="0" dirty="0">
                <a:ln>
                  <a:noFill/>
                </a:ln>
                <a:solidFill>
                  <a:schemeClr val="bg1"/>
                </a:solidFill>
                <a:effectLst/>
                <a:uLnTx/>
                <a:uFillTx/>
                <a:latin typeface="Verdana"/>
              </a:rPr>
              <a:t>,</a:t>
            </a:r>
            <a:r>
              <a:rPr kumimoji="0" lang="it-IT" sz="1392" b="0" i="0" u="none" strike="noStrike" kern="0" cap="none" spc="0" normalizeH="0" baseline="0" noProof="0" dirty="0">
                <a:ln>
                  <a:noFill/>
                </a:ln>
                <a:solidFill>
                  <a:schemeClr val="bg1"/>
                </a:solidFill>
                <a:effectLst/>
                <a:uLnTx/>
                <a:uFillTx/>
                <a:latin typeface="Verdana"/>
              </a:rPr>
              <a:t>da allocare prioritariamente in Aree</a:t>
            </a:r>
            <a:r>
              <a:rPr kumimoji="0" lang="it-IT" sz="1392" b="0" i="0" u="none" strike="noStrike" kern="0" cap="none" spc="110" normalizeH="0" baseline="0" noProof="0" dirty="0">
                <a:ln>
                  <a:noFill/>
                </a:ln>
                <a:solidFill>
                  <a:schemeClr val="bg1"/>
                </a:solidFill>
                <a:effectLst/>
                <a:uLnTx/>
                <a:uFillTx/>
                <a:latin typeface="Verdana"/>
              </a:rPr>
              <a:t> </a:t>
            </a:r>
            <a:r>
              <a:rPr kumimoji="0" lang="it-IT" sz="1392" b="0" i="0" u="none" strike="noStrike" kern="0" cap="none" spc="0" normalizeH="0" baseline="0" noProof="0" dirty="0">
                <a:ln>
                  <a:noFill/>
                </a:ln>
                <a:solidFill>
                  <a:schemeClr val="bg1"/>
                </a:solidFill>
                <a:effectLst/>
                <a:uLnTx/>
                <a:uFillTx/>
                <a:latin typeface="Verdana"/>
              </a:rPr>
              <a:t>di Crisi </a:t>
            </a:r>
          </a:p>
          <a:p>
            <a:pPr marL="0" marR="0" lvl="0" indent="0" defTabSz="914400" eaLnBrk="1" fontAlgn="auto" latinLnBrk="0" hangingPunct="1">
              <a:lnSpc>
                <a:spcPts val="2520"/>
              </a:lnSpc>
              <a:spcBef>
                <a:spcPts val="0"/>
              </a:spcBef>
              <a:spcAft>
                <a:spcPts val="0"/>
              </a:spcAft>
              <a:buClrTx/>
              <a:buSzTx/>
              <a:buFontTx/>
              <a:buNone/>
              <a:tabLst/>
              <a:defRPr/>
            </a:pPr>
            <a:r>
              <a:rPr kumimoji="0" lang="it-IT" sz="1394" b="0" i="0" u="none" strike="noStrike" kern="0" cap="none" spc="0" normalizeH="0" baseline="0" noProof="0" dirty="0">
                <a:ln>
                  <a:noFill/>
                </a:ln>
                <a:solidFill>
                  <a:schemeClr val="bg1"/>
                </a:solidFill>
                <a:effectLst/>
                <a:uLnTx/>
                <a:uFillTx/>
                <a:latin typeface="Verdana"/>
              </a:rPr>
              <a:t>complessa</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9" name="Rectangle 119"/>
          <p:cNvSpPr/>
          <p:nvPr/>
        </p:nvSpPr>
        <p:spPr>
          <a:xfrm>
            <a:off x="544068" y="1397075"/>
            <a:ext cx="10852651" cy="1839158"/>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L’area</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industriale</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Melf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a</a:t>
            </a:r>
            <a:r>
              <a:rPr kumimoji="0" lang="it-IT" sz="1202" b="0" i="0" u="none" strike="noStrike" kern="0" cap="none" spc="155"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nord</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lla</a:t>
            </a:r>
            <a:r>
              <a:rPr kumimoji="0" lang="it-IT" sz="1202" b="0" i="0" u="none" strike="noStrike" kern="0" cap="none" spc="128"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Basilicata</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s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estende</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per</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irca</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900</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ha</a:t>
            </a:r>
            <a:r>
              <a:rPr kumimoji="0" lang="it-IT" sz="1202" b="0" i="0" u="none" strike="noStrike" kern="0" cap="none" spc="130"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u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irca</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578</a:t>
            </a:r>
            <a:r>
              <a:rPr kumimoji="0" lang="it-IT" sz="1202" b="0" i="0" u="none" strike="noStrike" kern="0" cap="none" spc="154"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ha</a:t>
            </a:r>
            <a:r>
              <a:rPr kumimoji="0" lang="it-IT" sz="1202" b="0" i="0" u="none" strike="noStrike" kern="0" cap="none" spc="128"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infrastrutturat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i</a:t>
            </a:r>
            <a:r>
              <a:rPr kumimoji="0" lang="it-IT" sz="1202" b="0" i="0" u="none" strike="noStrike" kern="0" cap="none" spc="128"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questi</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irca</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469</a:t>
            </a:r>
            <a:r>
              <a:rPr kumimoji="0" lang="it-IT" sz="1202" b="0" i="0" u="none" strike="noStrike" kern="0" cap="none" spc="15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ha </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risultano già impegnati ed oltre </a:t>
            </a:r>
            <a:r>
              <a:rPr kumimoji="0" lang="it-IT" sz="1200" b="1" i="1" u="none" strike="noStrike" kern="0" cap="none" spc="0" normalizeH="0" baseline="0" noProof="0" dirty="0">
                <a:ln>
                  <a:noFill/>
                </a:ln>
                <a:solidFill>
                  <a:schemeClr val="bg1"/>
                </a:solidFill>
                <a:effectLst/>
                <a:uLnTx/>
                <a:uFillTx/>
                <a:latin typeface="Verdana-BoldItalic"/>
              </a:rPr>
              <a:t>103 ha ancora disponibili.</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L’area è allineata sulla direttrice Est-Ovest ed è prossima al confine tra Puglia e Basilicata. L’accessibilità è garantita a Nord dalla SP48 e a </a:t>
            </a:r>
          </a:p>
          <a:p>
            <a:pPr marL="0" marR="0" lvl="0" indent="0" defTabSz="914400" eaLnBrk="1" fontAlgn="auto" latinLnBrk="0" hangingPunct="1">
              <a:lnSpc>
                <a:spcPts val="2163"/>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sud dalla SS655 e raggiunge l’autostrada A16 al bivio di Candela sulla SS655 a circa 20 km.</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Nell’area industriale</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Melfi, la</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forte</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resenza</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ell’industria</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ell’auto,</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he</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ssorbe</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l’83%</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el totale</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egli</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ddetti,</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revale</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u</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tri</a:t>
            </a:r>
            <a:r>
              <a:rPr kumimoji="0" lang="it-IT" sz="1200" b="0" i="0" u="none" strike="noStrike" kern="0" cap="none" spc="10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ettori,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quali</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quello</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ll’agroindustriale</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on</a:t>
            </a:r>
            <a:r>
              <a:rPr kumimoji="0" lang="it-IT" sz="1202" b="0" i="0" u="none" strike="noStrike" kern="0" cap="none" spc="27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la</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presenza</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llo</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Stabilimento</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Barilla)</a:t>
            </a:r>
            <a:r>
              <a:rPr kumimoji="0" lang="it-IT" sz="1202" b="0" i="0" u="none" strike="noStrike" kern="0" cap="none" spc="298"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e</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quello</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lla</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trasformazione</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dei</a:t>
            </a:r>
            <a:r>
              <a:rPr kumimoji="0" lang="it-IT" sz="1202" b="0" i="0" u="none" strike="noStrike" kern="0" cap="none" spc="272"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metalli,</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he</a:t>
            </a:r>
            <a:r>
              <a:rPr kumimoji="0" lang="it-IT" sz="1202" b="0" i="0" u="none" strike="noStrike" kern="0" cap="none" spc="296" normalizeH="0" baseline="0" noProof="0" dirty="0">
                <a:ln>
                  <a:noFill/>
                </a:ln>
                <a:solidFill>
                  <a:schemeClr val="bg1"/>
                </a:solidFill>
                <a:effectLst/>
                <a:uLnTx/>
                <a:uFillTx/>
                <a:latin typeface="Verdana"/>
              </a:rPr>
              <a:t> </a:t>
            </a:r>
            <a:r>
              <a:rPr kumimoji="0" lang="it-IT" sz="1202" b="0" i="0" u="none" strike="noStrike" kern="0" cap="none" spc="0" normalizeH="0" baseline="0" noProof="0" dirty="0">
                <a:ln>
                  <a:noFill/>
                </a:ln>
                <a:solidFill>
                  <a:schemeClr val="bg1"/>
                </a:solidFill>
                <a:effectLst/>
                <a:uLnTx/>
                <a:uFillTx/>
                <a:latin typeface="Verdana"/>
              </a:rPr>
              <a:t>comunque </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raggiungono in quell’area dimensioni comunque significative, anche in rapporto alle altre localizzazioni.</a:t>
            </a:r>
          </a:p>
        </p:txBody>
      </p:sp>
      <p:sp>
        <p:nvSpPr>
          <p:cNvPr id="120" name="Rectangle 120"/>
          <p:cNvSpPr/>
          <p:nvPr/>
        </p:nvSpPr>
        <p:spPr>
          <a:xfrm>
            <a:off x="544068" y="3593084"/>
            <a:ext cx="8735287" cy="184708"/>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La superficie </a:t>
            </a:r>
            <a:r>
              <a:rPr kumimoji="0" lang="it-IT" sz="1200" b="1" i="1" u="none" strike="noStrike" kern="0" cap="none" spc="0" normalizeH="0" baseline="0" noProof="0" dirty="0">
                <a:ln>
                  <a:noFill/>
                </a:ln>
                <a:solidFill>
                  <a:schemeClr val="bg1"/>
                </a:solidFill>
                <a:effectLst/>
                <a:uLnTx/>
                <a:uFillTx/>
                <a:latin typeface="Verdana-BoldItalic"/>
              </a:rPr>
              <a:t>infrastrutturata è suddivisa in circa 124 lotti </a:t>
            </a:r>
            <a:r>
              <a:rPr kumimoji="0" lang="it-IT" sz="1200" b="0" i="0" u="none" strike="noStrike" kern="0" cap="none" spc="0" normalizeH="0" baseline="0" noProof="0" dirty="0">
                <a:ln>
                  <a:noFill/>
                </a:ln>
                <a:solidFill>
                  <a:schemeClr val="bg1"/>
                </a:solidFill>
                <a:effectLst/>
                <a:uLnTx/>
                <a:uFillTx/>
                <a:latin typeface="Verdana"/>
              </a:rPr>
              <a:t>di cui l’83% impegnato dal settore manifatturiero.</a:t>
            </a:r>
          </a:p>
        </p:txBody>
      </p:sp>
      <p:sp>
        <p:nvSpPr>
          <p:cNvPr id="121" name="Rectangle 121"/>
          <p:cNvSpPr/>
          <p:nvPr/>
        </p:nvSpPr>
        <p:spPr>
          <a:xfrm>
            <a:off x="544068" y="4141418"/>
            <a:ext cx="10832645" cy="992772"/>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La specializzazione prevalente del polo di Melf</a:t>
            </a:r>
            <a:r>
              <a:rPr kumimoji="0" lang="it-IT" sz="1202" b="0" i="0" u="none" strike="noStrike" kern="0" cap="none" spc="901" normalizeH="0" baseline="0" noProof="0" dirty="0">
                <a:ln>
                  <a:noFill/>
                </a:ln>
                <a:solidFill>
                  <a:schemeClr val="bg1"/>
                </a:solidFill>
                <a:effectLst/>
                <a:uLnTx/>
                <a:uFillTx/>
                <a:latin typeface="Verdana"/>
              </a:rPr>
              <a:t>i</a:t>
            </a:r>
            <a:r>
              <a:rPr kumimoji="0" lang="it-IT" sz="1202" b="0" i="0" u="none" strike="noStrike" kern="0" cap="none" spc="0" normalizeH="0" baseline="0" noProof="0" dirty="0">
                <a:ln>
                  <a:noFill/>
                </a:ln>
                <a:solidFill>
                  <a:schemeClr val="bg1"/>
                </a:solidFill>
                <a:effectLst/>
                <a:uLnTx/>
                <a:uFillTx/>
                <a:latin typeface="Verdana"/>
              </a:rPr>
              <a:t>è nel settore dell’automotive. Nell’area industriale sono altresì, localizzate alcune decine di </a:t>
            </a:r>
          </a:p>
          <a:p>
            <a:pPr marL="0" marR="0" lvl="0" indent="0" defTabSz="914400" eaLnBrk="1" fontAlgn="auto" latinLnBrk="0" hangingPunct="1">
              <a:lnSpc>
                <a:spcPts val="2162"/>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aziende produttrici per il settore automotive, principalmente piccole imprese locali, fornitrici di secondo o terzo livello, con portafogli clienti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diversificati</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a:t>
            </a:r>
            <a:r>
              <a:rPr kumimoji="0" lang="it-IT" sz="1200" b="0" i="0" u="none" strike="noStrike" kern="0" cap="none" spc="29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un</a:t>
            </a:r>
            <a:r>
              <a:rPr kumimoji="0" lang="it-IT" sz="1200" b="0" i="0" u="none" strike="noStrike" kern="0" cap="none" spc="29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minore</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rapporto</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29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pendenza</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alle</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ommesse</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tellanti</a:t>
            </a:r>
            <a:r>
              <a:rPr kumimoji="0" lang="it-IT" sz="1200" b="0" i="0" u="none" strike="noStrike" kern="0" cap="none" spc="29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le</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ui</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rincipali</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pecializzazioni</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ono:</a:t>
            </a:r>
            <a:r>
              <a:rPr kumimoji="0" lang="it-IT" sz="1200" b="0" i="0" u="none" strike="noStrike" kern="0" cap="none" spc="29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la</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meccanica</a:t>
            </a:r>
            <a:r>
              <a:rPr kumimoji="0" lang="it-IT" sz="1200" b="0" i="0" u="none" strike="noStrike" kern="0" cap="none" spc="29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 </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precisione, la saldatura laser, la produzione di nastri trasportatori e parti meccaniche, il cablaggio materiali elettrici ecc..20</a:t>
            </a:r>
          </a:p>
        </p:txBody>
      </p:sp>
      <p:sp>
        <p:nvSpPr>
          <p:cNvPr id="122" name="Rectangle 122"/>
          <p:cNvSpPr/>
          <p:nvPr/>
        </p:nvSpPr>
        <p:spPr>
          <a:xfrm>
            <a:off x="608990" y="566674"/>
            <a:ext cx="4287723" cy="27592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a:ln>
                  <a:noFill/>
                </a:ln>
                <a:solidFill>
                  <a:schemeClr val="bg1"/>
                </a:solidFill>
                <a:effectLst/>
                <a:uLnTx/>
                <a:uFillTx/>
                <a:latin typeface="Tahoma-Bold"/>
              </a:rPr>
              <a:t>Area industriale di San Nicola di Melfi</a:t>
            </a:r>
          </a:p>
        </p:txBody>
      </p:sp>
      <p:pic>
        <p:nvPicPr>
          <p:cNvPr id="2" name="Picture 103">
            <a:extLst>
              <a:ext uri="{FF2B5EF4-FFF2-40B4-BE49-F238E27FC236}">
                <a16:creationId xmlns:a16="http://schemas.microsoft.com/office/drawing/2014/main" id="{8A0013F8-4A13-2C4C-79BF-CAA1DF112D53}"/>
              </a:ext>
            </a:extLst>
          </p:cNvPr>
          <p:cNvPicPr>
            <a:picLocks noChangeArrowheads="1"/>
          </p:cNvPicPr>
          <p:nvPr/>
        </p:nvPicPr>
        <p:blipFill>
          <a:blip r:embed="rId2"/>
          <a:srcRect/>
          <a:stretch/>
        </p:blipFill>
        <p:spPr>
          <a:xfrm>
            <a:off x="10304687" y="5638799"/>
            <a:ext cx="1650167" cy="1106424"/>
          </a:xfrm>
          <a:prstGeom prst="rect">
            <a:avLst/>
          </a:prstGeom>
          <a:noFill/>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6" name="Rectangle 126"/>
          <p:cNvSpPr/>
          <p:nvPr/>
        </p:nvSpPr>
        <p:spPr>
          <a:xfrm>
            <a:off x="929944" y="840233"/>
            <a:ext cx="10506659" cy="3748975"/>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L’obiettivo è di promuovere la diversificazione produttiva dell’indotto, soprattutto quello di secondo livello, migliorando la competitività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delle</a:t>
            </a:r>
            <a:r>
              <a:rPr kumimoji="0" lang="it-IT" sz="1200" b="0" i="0" u="none" strike="noStrike" kern="0" cap="none" spc="17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impres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oinvolt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untando</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ulla</a:t>
            </a:r>
            <a:r>
              <a:rPr kumimoji="0" lang="it-IT" sz="1200" b="0" i="0" u="none" strike="noStrike" kern="0" cap="none" spc="17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pecializzazione</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roduttiva,</a:t>
            </a:r>
            <a:r>
              <a:rPr kumimoji="0" lang="it-IT" sz="1200" b="0" i="0" u="none" strike="noStrike" kern="0" cap="none" spc="201" normalizeH="0" baseline="0" noProof="0" dirty="0">
                <a:ln>
                  <a:noFill/>
                </a:ln>
                <a:solidFill>
                  <a:schemeClr val="bg1"/>
                </a:solidFill>
                <a:effectLst/>
                <a:uLnTx/>
                <a:uFillTx/>
                <a:latin typeface="Verdana"/>
              </a:rPr>
              <a:t> </a:t>
            </a:r>
            <a:r>
              <a:rPr kumimoji="0" lang="it-IT" sz="1200" b="1" i="0" u="none" strike="noStrike" kern="0" cap="none" spc="0" normalizeH="0" baseline="0" noProof="0" dirty="0">
                <a:ln>
                  <a:noFill/>
                </a:ln>
                <a:solidFill>
                  <a:schemeClr val="bg1"/>
                </a:solidFill>
                <a:effectLst/>
                <a:uLnTx/>
                <a:uFillTx/>
                <a:latin typeface="Verdana-Bold"/>
              </a:rPr>
              <a:t>senza</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trascurare</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però</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gli</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altri</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settori</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produttivi</a:t>
            </a:r>
            <a:r>
              <a:rPr kumimoji="0" lang="it-IT" sz="1200" b="1" i="0" u="none" strike="noStrike" kern="0" cap="none" spc="189" normalizeH="0" baseline="0" noProof="0" dirty="0">
                <a:ln>
                  <a:noFill/>
                </a:ln>
                <a:solidFill>
                  <a:schemeClr val="bg1"/>
                </a:solidFill>
                <a:effectLst/>
                <a:uLnTx/>
                <a:uFillTx/>
                <a:latin typeface="Verdana-Bold"/>
              </a:rPr>
              <a:t> </a:t>
            </a:r>
            <a:r>
              <a:rPr kumimoji="0" lang="it-IT" sz="1200" b="1" i="0" u="none" strike="noStrike" kern="0" cap="none" spc="0" normalizeH="0" baseline="0" noProof="0" dirty="0">
                <a:ln>
                  <a:noFill/>
                </a:ln>
                <a:solidFill>
                  <a:schemeClr val="bg1"/>
                </a:solidFill>
                <a:effectLst/>
                <a:uLnTx/>
                <a:uFillTx/>
                <a:latin typeface="Verdana-Bold"/>
              </a:rPr>
              <a:t>rilevanti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2" b="1" i="0" u="none" strike="noStrike" kern="0" cap="none" spc="0" normalizeH="0" baseline="0" noProof="0" dirty="0">
                <a:ln>
                  <a:noFill/>
                </a:ln>
                <a:solidFill>
                  <a:schemeClr val="bg1"/>
                </a:solidFill>
                <a:effectLst/>
                <a:uLnTx/>
                <a:uFillTx/>
                <a:latin typeface="Verdana-Bold"/>
              </a:rPr>
              <a:t>dell’area quali in primis quelli dell’agroindustria</a:t>
            </a:r>
            <a:r>
              <a:rPr kumimoji="0" lang="it-IT" sz="1202" b="0" i="0" u="none" strike="noStrike" kern="0" cap="none" spc="0" normalizeH="0" baseline="0" noProof="0" dirty="0">
                <a:ln>
                  <a:noFill/>
                </a:ln>
                <a:solidFill>
                  <a:schemeClr val="bg1"/>
                </a:solidFill>
                <a:effectLst/>
                <a:uLnTx/>
                <a:uFillTx/>
                <a:latin typeface="Verdana"/>
              </a:rPr>
              <a:t> e della meccanica di precisione.</a:t>
            </a:r>
          </a:p>
          <a:p>
            <a:pPr marL="0" marR="0" lvl="0" indent="0" defTabSz="914400" eaLnBrk="1" fontAlgn="auto" latinLnBrk="0" hangingPunct="1">
              <a:lnSpc>
                <a:spcPts val="3145"/>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In questo contesto vanno sicuramente aggiunte tutte le specializzazioni regionali trasversali collegate che coinvolgono gli organismi di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ricerca</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presenti</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ul</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territorio</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Università</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420"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Basilicata,</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nea,</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nr)</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che</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i</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rticolano</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ulle</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tematiche</a:t>
            </a:r>
            <a:r>
              <a:rPr kumimoji="0" lang="it-IT" sz="1200" b="0" i="0" u="none" strike="noStrike" kern="0" cap="none" spc="393"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legate</a:t>
            </a:r>
            <a:r>
              <a:rPr kumimoji="0" lang="it-IT" sz="1200" b="0" i="0" u="none" strike="noStrike" kern="0" cap="none" spc="41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la</a:t>
            </a:r>
            <a:r>
              <a:rPr kumimoji="0" lang="it-IT" sz="1200" b="0" i="0" u="none" strike="noStrike" kern="0" cap="none" spc="393"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ottimizzazione </a:t>
            </a:r>
          </a:p>
          <a:p>
            <a:pPr marL="0" marR="0" lvl="0" indent="0" defTabSz="914400" eaLnBrk="1" fontAlgn="auto" latinLnBrk="0" hangingPunct="1">
              <a:lnSpc>
                <a:spcPts val="2161"/>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produttiva, alla logistica, all</a:t>
            </a:r>
            <a:r>
              <a:rPr kumimoji="0" lang="it-IT" sz="1200" b="0" i="0" u="none" strike="noStrike" kern="0" cap="none" spc="459" normalizeH="0" baseline="0" noProof="0" dirty="0">
                <a:ln>
                  <a:noFill/>
                </a:ln>
                <a:solidFill>
                  <a:schemeClr val="bg1"/>
                </a:solidFill>
                <a:effectLst/>
                <a:uLnTx/>
                <a:uFillTx/>
                <a:latin typeface="Verdana"/>
              </a:rPr>
              <a:t>a</a:t>
            </a:r>
            <a:r>
              <a:rPr kumimoji="0" lang="it-IT" sz="1200" b="0" i="0" u="none" strike="noStrike" kern="0" cap="none" spc="0" normalizeH="0" baseline="0" noProof="0" dirty="0">
                <a:ln>
                  <a:noFill/>
                </a:ln>
                <a:solidFill>
                  <a:schemeClr val="bg1"/>
                </a:solidFill>
                <a:effectLst/>
                <a:uLnTx/>
                <a:uFillTx/>
                <a:latin typeface="Verdana"/>
              </a:rPr>
              <a:t>supply chain, ai sistemi di propulsione ad alta efficienza e basse emissioni, alle metodologie avanzate di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0" b="0" i="0" u="none" strike="noStrike" kern="0" cap="none" spc="0" normalizeH="0" baseline="0" noProof="0" dirty="0">
                <a:ln>
                  <a:noFill/>
                </a:ln>
                <a:solidFill>
                  <a:schemeClr val="bg1"/>
                </a:solidFill>
                <a:effectLst/>
                <a:uLnTx/>
                <a:uFillTx/>
                <a:latin typeface="Verdana"/>
              </a:rPr>
              <a:t>combustione,</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recupero</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nergetico</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la</a:t>
            </a:r>
            <a:r>
              <a:rPr kumimoji="0" lang="it-IT" sz="1200" b="0" i="0" u="none" strike="noStrike" kern="0" cap="none" spc="348"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riduzione</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321"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inquinanti</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ovuti</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le</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missioni</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ei</a:t>
            </a:r>
            <a:r>
              <a:rPr kumimoji="0" lang="it-IT" sz="1200" b="0" i="0" u="none" strike="noStrike" kern="0" cap="none" spc="348"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gas</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di</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scarico,</a:t>
            </a:r>
            <a:r>
              <a:rPr kumimoji="0" lang="it-IT" sz="1200" b="0" i="0" u="none" strike="noStrike" kern="0" cap="none" spc="347"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la</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robotica</a:t>
            </a:r>
            <a:r>
              <a:rPr kumimoji="0" lang="it-IT" sz="1200" b="0" i="0" u="none" strike="noStrike" kern="0" cap="none" spc="345"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e</a:t>
            </a:r>
            <a:r>
              <a:rPr kumimoji="0" lang="it-IT" sz="1200" b="0" i="0" u="none" strike="noStrike" kern="0" cap="none" spc="348" normalizeH="0" baseline="0" noProof="0" dirty="0">
                <a:ln>
                  <a:noFill/>
                </a:ln>
                <a:solidFill>
                  <a:schemeClr val="bg1"/>
                </a:solidFill>
                <a:effectLst/>
                <a:uLnTx/>
                <a:uFillTx/>
                <a:latin typeface="Verdana"/>
              </a:rPr>
              <a:t> </a:t>
            </a:r>
            <a:r>
              <a:rPr kumimoji="0" lang="it-IT" sz="1200" b="0" i="0" u="none" strike="noStrike" kern="0" cap="none" spc="0" normalizeH="0" baseline="0" noProof="0" dirty="0">
                <a:ln>
                  <a:noFill/>
                </a:ln>
                <a:solidFill>
                  <a:schemeClr val="bg1"/>
                </a:solidFill>
                <a:effectLst/>
                <a:uLnTx/>
                <a:uFillTx/>
                <a:latin typeface="Verdana"/>
              </a:rPr>
              <a:t>alla </a:t>
            </a:r>
          </a:p>
          <a:p>
            <a:pPr marL="0" marR="0" lvl="0" indent="0" defTabSz="914400" eaLnBrk="1" fontAlgn="auto" latinLnBrk="0" hangingPunct="1">
              <a:lnSpc>
                <a:spcPts val="2160"/>
              </a:lnSpc>
              <a:spcBef>
                <a:spcPts val="0"/>
              </a:spcBef>
              <a:spcAft>
                <a:spcPts val="0"/>
              </a:spcAft>
              <a:buClrTx/>
              <a:buSzTx/>
              <a:buFontTx/>
              <a:buNone/>
              <a:tabLst/>
              <a:defRPr/>
            </a:pPr>
            <a:r>
              <a:rPr kumimoji="0" lang="it-IT" sz="1202" b="0" i="0" u="none" strike="noStrike" kern="0" cap="none" spc="0" normalizeH="0" baseline="0" noProof="0" dirty="0">
                <a:ln>
                  <a:noFill/>
                </a:ln>
                <a:solidFill>
                  <a:schemeClr val="bg1"/>
                </a:solidFill>
                <a:effectLst/>
                <a:uLnTx/>
                <a:uFillTx/>
                <a:latin typeface="Verdana"/>
              </a:rPr>
              <a:t>meccatronica e che rappresentano un alto valore aggiunto per l’attrazione degli investimenti dell’area </a:t>
            </a:r>
          </a:p>
          <a:p>
            <a:pPr marL="0" marR="0" lvl="0" indent="0" defTabSz="914400" eaLnBrk="1" fontAlgn="auto" latinLnBrk="0" hangingPunct="1">
              <a:lnSpc>
                <a:spcPts val="2594"/>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PARAMETRI URBANISTICI</a:t>
            </a:r>
          </a:p>
          <a:p>
            <a:pPr marL="0" marR="0" lvl="0" indent="0" defTabSz="914400" eaLnBrk="1" fontAlgn="auto" latinLnBrk="0" hangingPunct="1">
              <a:lnSpc>
                <a:spcPts val="2308"/>
              </a:lnSpc>
              <a:spcBef>
                <a:spcPts val="0"/>
              </a:spcBef>
              <a:spcAft>
                <a:spcPts val="0"/>
              </a:spcAft>
              <a:buClrTx/>
              <a:buSzTx/>
              <a:buFontTx/>
              <a:buNone/>
              <a:tabLst>
                <a:tab pos="228600" algn="l"/>
              </a:tabLst>
              <a:defRPr/>
            </a:pPr>
            <a:r>
              <a:rPr kumimoji="0" lang="it-IT" sz="1202" b="0" i="0" u="none" strike="noStrike" kern="0" cap="none" spc="0" normalizeH="0" baseline="0" noProof="0" dirty="0">
                <a:ln>
                  <a:noFill/>
                </a:ln>
                <a:solidFill>
                  <a:schemeClr val="bg1"/>
                </a:solidFill>
                <a:effectLst/>
                <a:uLnTx/>
                <a:uFillTx/>
                <a:latin typeface="ArialMT"/>
              </a:rPr>
              <a:t>•	</a:t>
            </a:r>
            <a:r>
              <a:rPr kumimoji="0" lang="it-IT" sz="1202" b="0" i="0" u="none" strike="noStrike" kern="0" cap="none" spc="0" normalizeH="0" baseline="0" noProof="0" dirty="0">
                <a:ln>
                  <a:noFill/>
                </a:ln>
                <a:solidFill>
                  <a:schemeClr val="bg1"/>
                </a:solidFill>
                <a:effectLst/>
                <a:uLnTx/>
                <a:uFillTx/>
                <a:latin typeface="Verdana"/>
              </a:rPr>
              <a:t>Indice di copertura: 1/3 – Distanza confini 8 mt per lotti inferiori a 10 ha;</a:t>
            </a:r>
          </a:p>
          <a:p>
            <a:pPr marL="0" marR="0" lvl="0" indent="0" defTabSz="914400" eaLnBrk="1" fontAlgn="auto" latinLnBrk="0" hangingPunct="1">
              <a:lnSpc>
                <a:spcPts val="2281"/>
              </a:lnSpc>
              <a:spcBef>
                <a:spcPts val="0"/>
              </a:spcBef>
              <a:spcAft>
                <a:spcPts val="0"/>
              </a:spcAft>
              <a:buClrTx/>
              <a:buSzTx/>
              <a:buFontTx/>
              <a:buNone/>
              <a:tabLst>
                <a:tab pos="228600" algn="l"/>
              </a:tabLst>
              <a:defRPr/>
            </a:pPr>
            <a:r>
              <a:rPr kumimoji="0" lang="it-IT" sz="1200" b="0" i="0" u="none" strike="noStrike" kern="0" cap="none" spc="0" normalizeH="0" baseline="0" noProof="0" dirty="0">
                <a:ln>
                  <a:noFill/>
                </a:ln>
                <a:solidFill>
                  <a:schemeClr val="bg1"/>
                </a:solidFill>
                <a:effectLst/>
                <a:uLnTx/>
                <a:uFillTx/>
                <a:latin typeface="ArialMT"/>
              </a:rPr>
              <a:t>•	</a:t>
            </a:r>
            <a:r>
              <a:rPr kumimoji="0" lang="it-IT" sz="1200" b="0" i="0" u="none" strike="noStrike" kern="0" cap="none" spc="0" normalizeH="0" baseline="0" noProof="0" dirty="0">
                <a:ln>
                  <a:noFill/>
                </a:ln>
                <a:solidFill>
                  <a:schemeClr val="bg1"/>
                </a:solidFill>
                <a:effectLst/>
                <a:uLnTx/>
                <a:uFillTx/>
                <a:latin typeface="Verdana"/>
              </a:rPr>
              <a:t>Indice di copertura: 1/2 – Distanza confini 10 mt per lotti superiori a 10 ha;</a:t>
            </a:r>
          </a:p>
          <a:p>
            <a:pPr marL="0" marR="0" lvl="0" indent="0" defTabSz="914400" eaLnBrk="1" fontAlgn="auto" latinLnBrk="0" hangingPunct="1">
              <a:lnSpc>
                <a:spcPts val="2303"/>
              </a:lnSpc>
              <a:spcBef>
                <a:spcPts val="0"/>
              </a:spcBef>
              <a:spcAft>
                <a:spcPts val="0"/>
              </a:spcAft>
              <a:buClrTx/>
              <a:buSzTx/>
              <a:buFontTx/>
              <a:buNone/>
              <a:tabLst>
                <a:tab pos="228600" algn="l"/>
              </a:tabLst>
              <a:defRPr/>
            </a:pPr>
            <a:r>
              <a:rPr kumimoji="0" lang="it-IT" sz="1200" b="0" i="0" u="none" strike="noStrike" kern="0" cap="none" spc="0" normalizeH="0" baseline="0" noProof="0" dirty="0">
                <a:ln>
                  <a:noFill/>
                </a:ln>
                <a:solidFill>
                  <a:schemeClr val="bg1"/>
                </a:solidFill>
                <a:effectLst/>
                <a:uLnTx/>
                <a:uFillTx/>
                <a:latin typeface="ArialMT"/>
              </a:rPr>
              <a:t>•	</a:t>
            </a:r>
            <a:r>
              <a:rPr kumimoji="0" lang="it-IT" sz="1200" b="0" i="0" u="none" strike="noStrike" kern="0" cap="none" spc="0" normalizeH="0" baseline="0" noProof="0" dirty="0">
                <a:ln>
                  <a:noFill/>
                </a:ln>
                <a:solidFill>
                  <a:schemeClr val="bg1"/>
                </a:solidFill>
                <a:effectLst/>
                <a:uLnTx/>
                <a:uFillTx/>
                <a:latin typeface="Verdana"/>
              </a:rPr>
              <a:t>Indice di fabbricabilità</a:t>
            </a:r>
            <a:r>
              <a:rPr kumimoji="0" lang="it-IT" sz="1200" b="0" i="0" u="none" strike="noStrike" kern="0" cap="none" spc="775" normalizeH="0" baseline="0" noProof="0" dirty="0">
                <a:ln>
                  <a:noFill/>
                </a:ln>
                <a:solidFill>
                  <a:schemeClr val="bg1"/>
                </a:solidFill>
                <a:effectLst/>
                <a:uLnTx/>
                <a:uFillTx/>
                <a:latin typeface="Verdana"/>
              </a:rPr>
              <a:t>:</a:t>
            </a:r>
            <a:r>
              <a:rPr kumimoji="0" lang="it-IT" sz="1200" b="0" i="0" u="none" strike="noStrike" kern="0" cap="none" spc="0" normalizeH="0" baseline="0" noProof="0" dirty="0">
                <a:ln>
                  <a:noFill/>
                </a:ln>
                <a:solidFill>
                  <a:schemeClr val="bg1"/>
                </a:solidFill>
                <a:effectLst/>
                <a:uLnTx/>
                <a:uFillTx/>
                <a:latin typeface="Verdana"/>
              </a:rPr>
              <a:t>2mc/mq per aree servizi;</a:t>
            </a:r>
          </a:p>
          <a:p>
            <a:pPr marL="0" marR="0" lvl="0" indent="0" defTabSz="914400" eaLnBrk="1" fontAlgn="auto" latinLnBrk="0" hangingPunct="1">
              <a:lnSpc>
                <a:spcPts val="2307"/>
              </a:lnSpc>
              <a:spcBef>
                <a:spcPts val="0"/>
              </a:spcBef>
              <a:spcAft>
                <a:spcPts val="0"/>
              </a:spcAft>
              <a:buClrTx/>
              <a:buSzTx/>
              <a:buFontTx/>
              <a:buNone/>
              <a:tabLst>
                <a:tab pos="228600" algn="l"/>
              </a:tabLst>
              <a:defRPr/>
            </a:pPr>
            <a:r>
              <a:rPr kumimoji="0" lang="it-IT" sz="1200" b="0" i="0" u="none" strike="noStrike" kern="0" cap="none" spc="0" normalizeH="0" baseline="0" noProof="0" dirty="0">
                <a:ln>
                  <a:noFill/>
                </a:ln>
                <a:solidFill>
                  <a:schemeClr val="bg1"/>
                </a:solidFill>
                <a:effectLst/>
                <a:uLnTx/>
                <a:uFillTx/>
                <a:latin typeface="ArialMT"/>
              </a:rPr>
              <a:t>•	</a:t>
            </a:r>
            <a:r>
              <a:rPr kumimoji="0" lang="it-IT" sz="1200" b="0" i="0" u="none" strike="noStrike" kern="0" cap="none" spc="0" normalizeH="0" baseline="0" noProof="0" dirty="0">
                <a:ln>
                  <a:noFill/>
                </a:ln>
                <a:solidFill>
                  <a:schemeClr val="bg1"/>
                </a:solidFill>
                <a:effectLst/>
                <a:uLnTx/>
                <a:uFillTx/>
                <a:latin typeface="Verdana"/>
              </a:rPr>
              <a:t>Altezza massima 15 mt;</a:t>
            </a:r>
          </a:p>
        </p:txBody>
      </p:sp>
      <p:sp>
        <p:nvSpPr>
          <p:cNvPr id="129" name="Rectangle 129"/>
          <p:cNvSpPr/>
          <p:nvPr/>
        </p:nvSpPr>
        <p:spPr>
          <a:xfrm>
            <a:off x="929944" y="4965394"/>
            <a:ext cx="5961312" cy="733086"/>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2" b="1" i="0" u="none" strike="noStrike" kern="0" cap="none" spc="0" normalizeH="0" baseline="0" noProof="0" dirty="0">
                <a:ln>
                  <a:noFill/>
                </a:ln>
                <a:solidFill>
                  <a:schemeClr val="bg1"/>
                </a:solidFill>
                <a:effectLst/>
                <a:uLnTx/>
                <a:uFillTx/>
                <a:latin typeface="Verdana-Bold"/>
              </a:rPr>
              <a:t>COSTO SUOLO €/mq 32,40</a:t>
            </a:r>
          </a:p>
          <a:p>
            <a:pPr marL="0" marR="0" lvl="0" indent="0" defTabSz="914400" eaLnBrk="1" fontAlgn="auto" latinLnBrk="0" hangingPunct="1">
              <a:lnSpc>
                <a:spcPts val="2305"/>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NORME TECNICHE ATTUATIVE</a:t>
            </a:r>
            <a:r>
              <a:rPr kumimoji="0" lang="it-IT" sz="1200" b="0" i="0" u="none" strike="noStrike" kern="0" cap="none" spc="403" normalizeH="0" baseline="0" noProof="0" dirty="0">
                <a:ln>
                  <a:noFill/>
                </a:ln>
                <a:solidFill>
                  <a:schemeClr val="bg1"/>
                </a:solidFill>
                <a:effectLst/>
                <a:uLnTx/>
                <a:uFillTx/>
                <a:latin typeface="Verdana"/>
              </a:rPr>
              <a:t>.</a:t>
            </a:r>
            <a:r>
              <a:rPr kumimoji="0" lang="it-IT" sz="1200" b="0" i="0" u="sng" strike="noStrike" kern="0" cap="none" spc="0" normalizeH="0" baseline="0" noProof="0" dirty="0">
                <a:ln>
                  <a:noFill/>
                </a:ln>
                <a:solidFill>
                  <a:srgbClr val="0000FF"/>
                </a:solidFill>
                <a:effectLst/>
                <a:uLnTx/>
                <a:uFillTx/>
                <a:latin typeface="Verdana"/>
                <a:hlinkClick r:id="rId2">
                  <a:extLst>
                    <a:ext uri="{A12FA001-AC4F-418D-AE19-62706E023703}">
                      <ahyp:hlinkClr xmlns:ahyp="http://schemas.microsoft.com/office/drawing/2018/hyperlinkcolor" val="tx"/>
                    </a:ext>
                  </a:extLst>
                </a:hlinkClick>
              </a:rPr>
              <a:t>clicca qui</a:t>
            </a:r>
          </a:p>
          <a:p>
            <a:pPr marL="0" marR="0" lvl="0" indent="0" defTabSz="914400" eaLnBrk="1" fontAlgn="auto" latinLnBrk="0" hangingPunct="1">
              <a:lnSpc>
                <a:spcPts val="2279"/>
              </a:lnSpc>
              <a:spcBef>
                <a:spcPts val="0"/>
              </a:spcBef>
              <a:spcAft>
                <a:spcPts val="0"/>
              </a:spcAft>
              <a:buClrTx/>
              <a:buSzTx/>
              <a:buFontTx/>
              <a:buNone/>
              <a:tabLst/>
              <a:defRPr/>
            </a:pPr>
            <a:r>
              <a:rPr kumimoji="0" lang="it-IT" sz="1200" b="1" i="0" u="none" strike="noStrike" kern="0" cap="none" spc="0" normalizeH="0" baseline="0" noProof="0" dirty="0">
                <a:ln>
                  <a:noFill/>
                </a:ln>
                <a:solidFill>
                  <a:schemeClr val="bg1"/>
                </a:solidFill>
                <a:effectLst/>
                <a:uLnTx/>
                <a:uFillTx/>
                <a:latin typeface="Verdana-Bold"/>
              </a:rPr>
              <a:t>NORME TECNICHE ATTUATIVE PIANO PARTICOLAREGGIAT</a:t>
            </a:r>
            <a:r>
              <a:rPr kumimoji="0" lang="it-IT" sz="1200" b="1" i="0" u="none" strike="noStrike" kern="0" cap="none" spc="423" normalizeH="0" baseline="0" noProof="0" dirty="0">
                <a:ln>
                  <a:noFill/>
                </a:ln>
                <a:solidFill>
                  <a:schemeClr val="bg1"/>
                </a:solidFill>
                <a:effectLst/>
                <a:uLnTx/>
                <a:uFillTx/>
                <a:latin typeface="Verdana-Bold"/>
              </a:rPr>
              <a:t>O</a:t>
            </a:r>
            <a:r>
              <a:rPr kumimoji="0" lang="it-IT" sz="1200" b="0" i="0" u="sng" strike="noStrike" kern="0" cap="none" spc="0" normalizeH="0" baseline="0" noProof="0" dirty="0">
                <a:ln>
                  <a:noFill/>
                </a:ln>
                <a:solidFill>
                  <a:srgbClr val="0000FF"/>
                </a:solidFill>
                <a:effectLst/>
                <a:uLnTx/>
                <a:uFillTx/>
                <a:latin typeface="Verdana"/>
                <a:hlinkClick r:id="rId3">
                  <a:extLst>
                    <a:ext uri="{A12FA001-AC4F-418D-AE19-62706E023703}">
                      <ahyp:hlinkClr xmlns:ahyp="http://schemas.microsoft.com/office/drawing/2018/hyperlinkcolor" val="tx"/>
                    </a:ext>
                  </a:extLst>
                </a:hlinkClick>
              </a:rPr>
              <a:t>clicca qui</a:t>
            </a:r>
          </a:p>
        </p:txBody>
      </p:sp>
      <p:pic>
        <p:nvPicPr>
          <p:cNvPr id="2" name="Picture 103">
            <a:extLst>
              <a:ext uri="{FF2B5EF4-FFF2-40B4-BE49-F238E27FC236}">
                <a16:creationId xmlns:a16="http://schemas.microsoft.com/office/drawing/2014/main" id="{D748B9E8-F53F-F4D2-4A04-582BEB1CCAD6}"/>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32" name="Picture 13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758951" y="804673"/>
            <a:ext cx="10741152" cy="4459223"/>
          </a:xfrm>
          <a:prstGeom prst="rect">
            <a:avLst/>
          </a:prstGeom>
          <a:noFill/>
        </p:spPr>
      </p:pic>
      <p:sp>
        <p:nvSpPr>
          <p:cNvPr id="133" name="Rectangle 133"/>
          <p:cNvSpPr/>
          <p:nvPr/>
        </p:nvSpPr>
        <p:spPr>
          <a:xfrm>
            <a:off x="850391" y="5854294"/>
            <a:ext cx="3868699" cy="1524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srgbClr val="000000"/>
                </a:solidFill>
                <a:effectLst/>
                <a:uLnTx/>
                <a:uFillTx/>
                <a:latin typeface="Calibri"/>
                <a:hlinkClick r:id="rId3"/>
              </a:rPr>
              <a:t>https://www.apibas.it/wp-content/uploads/2022/11/Melfi.pdf</a:t>
            </a:r>
          </a:p>
        </p:txBody>
      </p:sp>
      <p:pic>
        <p:nvPicPr>
          <p:cNvPr id="2" name="Picture 103">
            <a:extLst>
              <a:ext uri="{FF2B5EF4-FFF2-40B4-BE49-F238E27FC236}">
                <a16:creationId xmlns:a16="http://schemas.microsoft.com/office/drawing/2014/main" id="{85F515CA-A069-387C-A3BF-4DD624A28A25}"/>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37" name="Picture 13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737616" y="975360"/>
            <a:ext cx="10856976" cy="4300728"/>
          </a:xfrm>
          <a:prstGeom prst="rect">
            <a:avLst/>
          </a:prstGeom>
          <a:noFill/>
        </p:spPr>
      </p:pic>
      <p:sp>
        <p:nvSpPr>
          <p:cNvPr id="138" name="Rectangle 138"/>
          <p:cNvSpPr/>
          <p:nvPr/>
        </p:nvSpPr>
        <p:spPr>
          <a:xfrm>
            <a:off x="828141" y="5747919"/>
            <a:ext cx="4444491" cy="152400"/>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srgbClr val="000000"/>
                </a:solidFill>
                <a:effectLst/>
                <a:uLnTx/>
                <a:uFillTx/>
                <a:latin typeface="Calibri"/>
                <a:hlinkClick r:id="rId3"/>
              </a:rPr>
              <a:t>https://www.apibas.it/wp-content/uploads/2022/11/Melfi_Viabilita.pdf</a:t>
            </a:r>
          </a:p>
        </p:txBody>
      </p:sp>
      <p:pic>
        <p:nvPicPr>
          <p:cNvPr id="2" name="Picture 103">
            <a:extLst>
              <a:ext uri="{FF2B5EF4-FFF2-40B4-BE49-F238E27FC236}">
                <a16:creationId xmlns:a16="http://schemas.microsoft.com/office/drawing/2014/main" id="{1720C819-847E-5B37-A487-0957AEC130E2}"/>
              </a:ext>
            </a:extLst>
          </p:cNvPr>
          <p:cNvPicPr>
            <a:picLocks noChangeArrowheads="1"/>
          </p:cNvPicPr>
          <p:nvPr/>
        </p:nvPicPr>
        <p:blipFill>
          <a:blip r:embed="rId4"/>
          <a:srcRect/>
          <a:stretch/>
        </p:blipFill>
        <p:spPr>
          <a:xfrm>
            <a:off x="10304687" y="5638799"/>
            <a:ext cx="1650167" cy="1106424"/>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h9_cLZi7icEpEJek1K2sQ"/>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vTia7dIOdBhlhb.PsOg1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no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2_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4.xml><?xml version="1.0" encoding="utf-8"?>
<a:theme xmlns:a="http://schemas.openxmlformats.org/drawingml/2006/main" name="2_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PowerPoint Onscreen (Widescreen).potx" id="{594BB250-CEB6-45BF-96D2-1C05E1F833BE}" vid="{04D0A437-3E2B-4C70-8039-2BDF06D04C4D}"/>
    </a:ext>
  </a:extLst>
</a:theme>
</file>

<file path=ppt/theme/theme5.xml><?xml version="1.0" encoding="utf-8"?>
<a:theme xmlns:a="http://schemas.openxmlformats.org/drawingml/2006/main" name="3_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6.xml><?xml version="1.0" encoding="utf-8"?>
<a:theme xmlns:a="http://schemas.openxmlformats.org/drawingml/2006/main" name="4_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7.xml><?xml version="1.0" encoding="utf-8"?>
<a:theme xmlns:a="http://schemas.openxmlformats.org/drawingml/2006/main" name="5_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majorFont>
      <a:minorFont>
        <a:latin typeface="Calibri"/>
        <a:ea typeface=""/>
        <a:cs typeface=""/>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noFill/>
        <a:pattFill/>
        <a:grpFill/>
      </a:fillStyleLst>
      <a:lnStyleLst>
        <a:ln w="9525" cap="flat" cmpd="sng" algn="ctr">
          <a:solidFill>
            <a:schemeClr val="phClr">
              <a:shade val="95000"/>
              <a:satMod val="105000"/>
            </a:schemeClr>
          </a:solidFill>
          <a:prstDash val="solid"/>
        </a:ln>
        <a:ln w="9525" cap="flat" cmpd="sng" algn="ctr">
          <a:solidFill>
            <a:schemeClr val="phClr">
              <a:shade val="95000"/>
              <a:satMod val="105000"/>
            </a:schemeClr>
          </a:solidFill>
          <a:prstDash val="solid"/>
        </a:ln>
        <a:ln w="9525" cap="flat" cmpd="sng" algn="ctr">
          <a:solidFill>
            <a:schemeClr val="phClr">
              <a:shade val="95000"/>
              <a:satMod val="105000"/>
            </a:scheme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0000" dir="5400000" rotWithShape="0">
              <a:srgbClr val="000000">
                <a:alpha val="38000"/>
              </a:srgbClr>
            </a:outerShdw>
          </a:effectLst>
        </a:effectStyle>
        <a:effectStyle>
          <a:effectLst>
            <a:outerShdw blurRad="40000" dist="20000" dir="5400000" rotWithShape="0">
              <a:srgbClr val="000000">
                <a:alpha val="38000"/>
              </a:srgbClr>
            </a:outerShdw>
          </a:effectLst>
        </a:effectStyle>
      </a:effectStyleLst>
      <a:bgFillStyleLst>
        <a:solidFill>
          <a:schemeClr val="phClr"/>
        </a:solidFill>
        <a:gradFill>
          <a:gsLst>
            <a:gs pos="0">
              <a:schemeClr val="phClr">
                <a:tint val="50000"/>
                <a:satMod val="300000"/>
              </a:schemeClr>
            </a:gs>
            <a:gs pos="0">
              <a:schemeClr val="phClr">
                <a:tint val="50000"/>
                <a:satMod val="300000"/>
              </a:schemeClr>
            </a:gs>
            <a:gs pos="0">
              <a:schemeClr val="phClr">
                <a:tint val="50000"/>
                <a:satMod val="300000"/>
              </a:schemeClr>
            </a:gs>
          </a:gsLst>
          <a:lin ang="16200000" scaled="1"/>
        </a:gradFill>
        <a:gradFill>
          <a:gsLst>
            <a:gs pos="0">
              <a:schemeClr val="phClr">
                <a:tint val="50000"/>
                <a:satMod val="300000"/>
              </a:schemeClr>
            </a:gs>
            <a:gs pos="0">
              <a:schemeClr val="phClr">
                <a:tint val="50000"/>
                <a:satMod val="300000"/>
              </a:schemeClr>
            </a:gs>
          </a:gsLst>
          <a:lin ang="16200000" scaled="1"/>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8907BB52FF413E4DB3E94F1F1167C4E5" ma:contentTypeVersion="20" ma:contentTypeDescription="Creare un nuovo documento." ma:contentTypeScope="" ma:versionID="9d4cde3cfa7ee5f406eb0dd142088f9e">
  <xsd:schema xmlns:xsd="http://www.w3.org/2001/XMLSchema" xmlns:xs="http://www.w3.org/2001/XMLSchema" xmlns:p="http://schemas.microsoft.com/office/2006/metadata/properties" xmlns:ns2="81db0453-7a2d-4b7a-9c96-4e4233531d33" xmlns:ns3="14e361db-33aa-42f6-ba69-543f6a14d7e8" targetNamespace="http://schemas.microsoft.com/office/2006/metadata/properties" ma:root="true" ma:fieldsID="cd7c4db1a60e836413104df9c9bbc8bb" ns2:_="" ns3:_="">
    <xsd:import namespace="81db0453-7a2d-4b7a-9c96-4e4233531d33"/>
    <xsd:import namespace="14e361db-33aa-42f6-ba69-543f6a14d7e8"/>
    <xsd:element name="properties">
      <xsd:complexType>
        <xsd:sequence>
          <xsd:element name="documentManagement">
            <xsd:complexType>
              <xsd:all>
                <xsd:element ref="ns2:Elementi" minOccurs="0"/>
                <xsd:element ref="ns3:SharedWithUsers" minOccurs="0"/>
                <xsd:element ref="ns3:SharedWithDetails" minOccurs="0"/>
                <xsd:element ref="ns2:MediaServiceMetadata" minOccurs="0"/>
                <xsd:element ref="ns2:MediaServiceFastMetadata" minOccurs="0"/>
                <xsd:element ref="ns2:MediaLengthInSecond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db0453-7a2d-4b7a-9c96-4e4233531d33" elementFormDefault="qualified">
    <xsd:import namespace="http://schemas.microsoft.com/office/2006/documentManagement/types"/>
    <xsd:import namespace="http://schemas.microsoft.com/office/infopath/2007/PartnerControls"/>
    <xsd:element name="Elementi" ma:index="5" nillable="true" ma:displayName="Elementi" ma:internalName="Elementi" ma:readOnly="false" ma:percentage="FALSE">
      <xsd:simpleType>
        <xsd:restriction base="dms:Number"/>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description="" ma:indexed="true"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e361db-33aa-42f6-ba69-543f6a14d7e8"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2a722ff0-3055-4c4d-9875-94969b5755a5}" ma:internalName="TaxCatchAll" ma:showField="CatchAllData" ma:web="14e361db-33aa-42f6-ba69-543f6a14d7e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Elementi xmlns="81db0453-7a2d-4b7a-9c96-4e4233531d33" xsi:nil="true"/>
    <lcf76f155ced4ddcb4097134ff3c332f xmlns="81db0453-7a2d-4b7a-9c96-4e4233531d33">
      <Terms xmlns="http://schemas.microsoft.com/office/infopath/2007/PartnerControls"/>
    </lcf76f155ced4ddcb4097134ff3c332f>
    <TaxCatchAll xmlns="14e361db-33aa-42f6-ba69-543f6a14d7e8" xsi:nil="true"/>
  </documentManagement>
</p:properties>
</file>

<file path=customXml/itemProps1.xml><?xml version="1.0" encoding="utf-8"?>
<ds:datastoreItem xmlns:ds="http://schemas.openxmlformats.org/officeDocument/2006/customXml" ds:itemID="{1CC158E9-E431-4B90-90CA-30993E0CB2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db0453-7a2d-4b7a-9c96-4e4233531d33"/>
    <ds:schemaRef ds:uri="14e361db-33aa-42f6-ba69-543f6a14d7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4A62ACE-9097-40ED-8BD3-A91AF208BFFC}">
  <ds:schemaRefs>
    <ds:schemaRef ds:uri="http://schemas.microsoft.com/sharepoint/v3/contenttype/forms"/>
  </ds:schemaRefs>
</ds:datastoreItem>
</file>

<file path=customXml/itemProps3.xml><?xml version="1.0" encoding="utf-8"?>
<ds:datastoreItem xmlns:ds="http://schemas.openxmlformats.org/officeDocument/2006/customXml" ds:itemID="{77EB5CCD-D938-442F-A28E-43168B3D3253}">
  <ds:schemaRef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14e361db-33aa-42f6-ba69-543f6a14d7e8"/>
    <ds:schemaRef ds:uri="81db0453-7a2d-4b7a-9c96-4e4233531d3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42</TotalTime>
  <Words>4919</Words>
  <Application>Microsoft Office PowerPoint</Application>
  <PresentationFormat>Widescreen</PresentationFormat>
  <Paragraphs>505</Paragraphs>
  <Slides>46</Slides>
  <Notes>3</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2</vt:i4>
      </vt:variant>
      <vt:variant>
        <vt:lpstr>Slide Titles</vt:lpstr>
      </vt:variant>
      <vt:variant>
        <vt:i4>46</vt:i4>
      </vt:variant>
    </vt:vector>
  </HeadingPairs>
  <TitlesOfParts>
    <vt:vector size="71" baseType="lpstr">
      <vt:lpstr>Arial</vt:lpstr>
      <vt:lpstr>ArialMT</vt:lpstr>
      <vt:lpstr>Calibri</vt:lpstr>
      <vt:lpstr>Calibri-Bold</vt:lpstr>
      <vt:lpstr>EYInterstate</vt:lpstr>
      <vt:lpstr>EYInterstate </vt:lpstr>
      <vt:lpstr>EYInterstate Light</vt:lpstr>
      <vt:lpstr>EYInterstate-LightItalic</vt:lpstr>
      <vt:lpstr>Georgia</vt:lpstr>
      <vt:lpstr>Tahoma</vt:lpstr>
      <vt:lpstr>Tahoma-Bold</vt:lpstr>
      <vt:lpstr>Verdana</vt:lpstr>
      <vt:lpstr>Verdana-Bold</vt:lpstr>
      <vt:lpstr>Verdana-BoldItalic</vt:lpstr>
      <vt:lpstr>Wingdings</vt:lpstr>
      <vt:lpstr>1_EY dark background</vt:lpstr>
      <vt:lpstr>EY dark background</vt:lpstr>
      <vt:lpstr>2_EY dark background</vt:lpstr>
      <vt:lpstr>2_EY dark projection</vt:lpstr>
      <vt:lpstr>3_EY dark background</vt:lpstr>
      <vt:lpstr>4_EY dark background</vt:lpstr>
      <vt:lpstr>5_EY dark background</vt:lpstr>
      <vt:lpstr>Office Theme</vt:lpstr>
      <vt:lpstr>think-cell Slide</vt:lpstr>
      <vt:lpstr>think-cell Folie</vt:lpstr>
      <vt:lpstr>EY Smart Funding e Confindustria Basilicata Bando Legge 181/89 </vt:lpstr>
      <vt:lpstr>EY Smart Funding e Confindustria Basilicata | Bando Legge 181/89 “Progetto di riconversione e riqualificazione industriale dell’area di crisi industriale complessa dei sistemi locali del lavoro di Melfi, Potenza e Rionero in Vulture“</vt:lpstr>
      <vt:lpstr>EY Smart Funding e Confindustria Basilicata | Bando Legge 181/89 “Progetto di riconversione e riqualificazione industriale dell’area di crisi industriale complessa dei sistemi locali del lavoro di Melfi, Potenza e Rionero in Vul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Y Smart Funding e Confindustria Basilicata | Bando Legge 181/89 “Progetto di riconversione e riqualificazione industriale dell’area di crisi industriale complessa dei sistemi locali del lavoro di Melfi, Potenza e Rionero in Vulture“</vt:lpstr>
      <vt:lpstr>Legge 181/89 – Area di crisi Melfi Overview</vt:lpstr>
      <vt:lpstr>Legge 181/89 – Area di crisi Melfi Focus beneficiari</vt:lpstr>
      <vt:lpstr>Legge 181/89 – Area di crisi Melfi Focus investimenti ammissibili</vt:lpstr>
      <vt:lpstr>Legge 181/89 – Area di crisi Melfi Focus spese ammissibili</vt:lpstr>
      <vt:lpstr>Legge 181/89 – Area di crisi Melfi Focus agevolazione</vt:lpstr>
      <vt:lpstr>Legge 181/89 – Area di crisi Melfi Focus presentazione della domanda</vt:lpstr>
      <vt:lpstr>Legge 181/89 – Area di crisi Melfi Focus graduatoria di ammissione alla fase di valutazione istruttoria</vt:lpstr>
      <vt:lpstr>Legge 181/89 – Area di crisi Melfi Focus iter di valutazione</vt:lpstr>
      <vt:lpstr>EY Smart Funding e Confindustria Basilicata | Bando Legge 181/89 “Progetto di riconversione e riqualificazione industriale dell’area di crisi industriale complessa dei sistemi locali del lavoro di Melfi, Potenza e Rionero in Vultur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rbara Buonfiglioli</dc:creator>
  <cp:lastModifiedBy>Deborah Walter</cp:lastModifiedBy>
  <cp:revision>3</cp:revision>
  <cp:lastPrinted>2019-12-08T21:51:59Z</cp:lastPrinted>
  <dcterms:modified xsi:type="dcterms:W3CDTF">2024-05-22T08:2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1-06-29T14:02:09Z</vt:filetime>
  </property>
  <property fmtid="{D5CDD505-2E9C-101B-9397-08002B2CF9AE}" pid="12" name="ContentTypeId">
    <vt:lpwstr>0x0101008907BB52FF413E4DB3E94F1F1167C4E5</vt:lpwstr>
  </property>
  <property fmtid="{D5CDD505-2E9C-101B-9397-08002B2CF9AE}" pid="13" name="MediaServiceImageTags">
    <vt:lpwstr/>
  </property>
  <property fmtid="{D5CDD505-2E9C-101B-9397-08002B2CF9AE}" pid="14" name="_ExtendedDescription">
    <vt:lpwstr/>
  </property>
</Properties>
</file>